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3.xml" ContentType="application/vnd.openxmlformats-officedocument.presentationml.tags+xml"/>
  <Override PartName="/ppt/notesSlides/notesSlide16.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tags/tag3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9.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tags/tag35.xml" ContentType="application/vnd.openxmlformats-officedocument.presentationml.tags+xml"/>
  <Override PartName="/ppt/notesSlides/notesSlide20.xml" ContentType="application/vnd.openxmlformats-officedocument.presentationml.notesSlide+xml"/>
  <Override PartName="/ppt/tags/tag36.xml" ContentType="application/vnd.openxmlformats-officedocument.presentationml.tags+xml"/>
  <Override PartName="/ppt/notesSlides/notesSlide21.xml" ContentType="application/vnd.openxmlformats-officedocument.presentationml.notesSlide+xml"/>
  <Override PartName="/ppt/tags/tag37.xml" ContentType="application/vnd.openxmlformats-officedocument.presentationml.tags+xml"/>
  <Override PartName="/ppt/notesSlides/notesSlide22.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38.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39.xml" ContentType="application/vnd.openxmlformats-officedocument.presentationml.tags+xml"/>
  <Override PartName="/ppt/notesSlides/notesSlide24.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tags/tag40.xml" ContentType="application/vnd.openxmlformats-officedocument.presentationml.tags+xml"/>
  <Override PartName="/ppt/notesSlides/notesSlide25.xml" ContentType="application/vnd.openxmlformats-officedocument.presentationml.notesSlide+xml"/>
  <Override PartName="/ppt/tags/tag41.xml" ContentType="application/vnd.openxmlformats-officedocument.presentationml.tags+xml"/>
  <Override PartName="/ppt/notesSlides/notesSlide2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ags/tag42.xml" ContentType="application/vnd.openxmlformats-officedocument.presentationml.tags+xml"/>
  <Override PartName="/ppt/notesSlides/notesSlide2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65.xml" ContentType="application/vnd.openxmlformats-officedocument.presentationml.tags+xml"/>
  <Override PartName="/ppt/notesSlides/notesSlide29.xml" ContentType="application/vnd.openxmlformats-officedocument.presentationml.notesSlide+xml"/>
  <Override PartName="/ppt/tags/tag66.xml" ContentType="application/vnd.openxmlformats-officedocument.presentationml.tags+xml"/>
  <Override PartName="/ppt/notesSlides/notesSlide30.xml" ContentType="application/vnd.openxmlformats-officedocument.presentationml.notesSlide+xml"/>
  <Override PartName="/ppt/tags/tag67.xml" ContentType="application/vnd.openxmlformats-officedocument.presentationml.tags+xml"/>
  <Override PartName="/ppt/notesSlides/notesSlide31.xml" ContentType="application/vnd.openxmlformats-officedocument.presentationml.notesSlide+xml"/>
  <Override PartName="/ppt/tags/tag68.xml" ContentType="application/vnd.openxmlformats-officedocument.presentationml.tags+xml"/>
  <Override PartName="/ppt/notesSlides/notesSlide3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33.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83.xml" ContentType="application/vnd.openxmlformats-officedocument.presentationml.tags+xml"/>
  <Override PartName="/ppt/notesSlides/notesSlide34.xml" ContentType="application/vnd.openxmlformats-officedocument.presentationml.notesSlide+xml"/>
  <Override PartName="/ppt/tags/tag84.xml" ContentType="application/vnd.openxmlformats-officedocument.presentationml.tags+xml"/>
  <Override PartName="/ppt/notesSlides/notesSlide35.xml" ContentType="application/vnd.openxmlformats-officedocument.presentationml.notesSlide+xml"/>
  <Override PartName="/ppt/tags/tag85.xml" ContentType="application/vnd.openxmlformats-officedocument.presentationml.tags+xml"/>
  <Override PartName="/ppt/notesSlides/notesSlide36.xml" ContentType="application/vnd.openxmlformats-officedocument.presentationml.notesSlide+xml"/>
  <Override PartName="/ppt/tags/tag86.xml" ContentType="application/vnd.openxmlformats-officedocument.presentationml.tags+xml"/>
  <Override PartName="/ppt/notesSlides/notesSlide37.xml" ContentType="application/vnd.openxmlformats-officedocument.presentationml.notesSlide+xml"/>
  <Override PartName="/ppt/tags/tag87.xml" ContentType="application/vnd.openxmlformats-officedocument.presentationml.tags+xml"/>
  <Override PartName="/ppt/notesSlides/notesSlide38.xml" ContentType="application/vnd.openxmlformats-officedocument.presentationml.notesSlide+xml"/>
  <Override PartName="/ppt/tags/tag88.xml" ContentType="application/vnd.openxmlformats-officedocument.presentationml.tags+xml"/>
  <Override PartName="/ppt/notesSlides/notesSlide3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4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93.xml" ContentType="application/vnd.openxmlformats-officedocument.presentationml.tags+xml"/>
  <Override PartName="/ppt/notesSlides/notesSlide43.xml" ContentType="application/vnd.openxmlformats-officedocument.presentationml.notesSlide+xml"/>
  <Override PartName="/ppt/tags/tag94.xml" ContentType="application/vnd.openxmlformats-officedocument.presentationml.tags+xml"/>
  <Override PartName="/ppt/notesSlides/notesSlide44.xml" ContentType="application/vnd.openxmlformats-officedocument.presentationml.notesSlide+xml"/>
  <Override PartName="/ppt/tags/tag95.xml" ContentType="application/vnd.openxmlformats-officedocument.presentationml.tags+xml"/>
  <Override PartName="/ppt/notesSlides/notesSlide45.xml" ContentType="application/vnd.openxmlformats-officedocument.presentationml.notesSlide+xml"/>
  <Override PartName="/ppt/tags/tag96.xml" ContentType="application/vnd.openxmlformats-officedocument.presentationml.tags+xml"/>
  <Override PartName="/ppt/notesSlides/notesSlide46.xml" ContentType="application/vnd.openxmlformats-officedocument.presentationml.notesSlide+xml"/>
  <Override PartName="/ppt/tags/tag97.xml" ContentType="application/vnd.openxmlformats-officedocument.presentationml.tags+xml"/>
  <Override PartName="/ppt/notesSlides/notesSlide47.xml" ContentType="application/vnd.openxmlformats-officedocument.presentationml.notesSlide+xml"/>
  <Override PartName="/ppt/tags/tag98.xml" ContentType="application/vnd.openxmlformats-officedocument.presentationml.tags+xml"/>
  <Override PartName="/ppt/notesSlides/notesSlide48.xml" ContentType="application/vnd.openxmlformats-officedocument.presentationml.notesSlide+xml"/>
  <Override PartName="/ppt/tags/tag99.xml" ContentType="application/vnd.openxmlformats-officedocument.presentationml.tags+xml"/>
  <Override PartName="/ppt/notesSlides/notesSlide49.xml" ContentType="application/vnd.openxmlformats-officedocument.presentationml.notesSlide+xml"/>
  <Override PartName="/ppt/tags/tag100.xml" ContentType="application/vnd.openxmlformats-officedocument.presentationml.tags+xml"/>
  <Override PartName="/ppt/notesSlides/notesSlide50.xml" ContentType="application/vnd.openxmlformats-officedocument.presentationml.notesSlide+xml"/>
  <Override PartName="/ppt/tags/tag101.xml" ContentType="application/vnd.openxmlformats-officedocument.presentationml.tags+xml"/>
  <Override PartName="/ppt/notesSlides/notesSlide51.xml" ContentType="application/vnd.openxmlformats-officedocument.presentationml.notesSlide+xml"/>
  <Override PartName="/ppt/tags/tag102.xml" ContentType="application/vnd.openxmlformats-officedocument.presentationml.tags+xml"/>
  <Override PartName="/ppt/notesSlides/notesSlide52.xml" ContentType="application/vnd.openxmlformats-officedocument.presentationml.notesSlide+xml"/>
  <Override PartName="/ppt/tags/tag103.xml" ContentType="application/vnd.openxmlformats-officedocument.presentationml.tags+xml"/>
  <Override PartName="/ppt/notesSlides/notesSlide53.xml" ContentType="application/vnd.openxmlformats-officedocument.presentationml.notesSlide+xml"/>
  <Override PartName="/ppt/tags/tag104.xml" ContentType="application/vnd.openxmlformats-officedocument.presentationml.tags+xml"/>
  <Override PartName="/ppt/notesSlides/notesSlide54.xml" ContentType="application/vnd.openxmlformats-officedocument.presentationml.notesSlide+xml"/>
  <Override PartName="/ppt/tags/tag105.xml" ContentType="application/vnd.openxmlformats-officedocument.presentationml.tags+xml"/>
  <Override PartName="/ppt/notesSlides/notesSlide55.xml" ContentType="application/vnd.openxmlformats-officedocument.presentationml.notesSlide+xml"/>
  <Override PartName="/ppt/tags/tag106.xml" ContentType="application/vnd.openxmlformats-officedocument.presentationml.tags+xml"/>
  <Override PartName="/ppt/notesSlides/notesSlide56.xml" ContentType="application/vnd.openxmlformats-officedocument.presentationml.notesSlide+xml"/>
  <Override PartName="/ppt/tags/tag107.xml" ContentType="application/vnd.openxmlformats-officedocument.presentationml.tags+xml"/>
  <Override PartName="/ppt/notesSlides/notesSlide57.xml" ContentType="application/vnd.openxmlformats-officedocument.presentationml.notesSlide+xml"/>
  <Override PartName="/ppt/tags/tag108.xml" ContentType="application/vnd.openxmlformats-officedocument.presentationml.tags+xml"/>
  <Override PartName="/ppt/notesSlides/notesSlide58.xml" ContentType="application/vnd.openxmlformats-officedocument.presentationml.notesSlide+xml"/>
  <Override PartName="/ppt/tags/tag109.xml" ContentType="application/vnd.openxmlformats-officedocument.presentationml.tags+xml"/>
  <Override PartName="/ppt/notesSlides/notesSlide59.xml" ContentType="application/vnd.openxmlformats-officedocument.presentationml.notesSlide+xml"/>
  <Override PartName="/ppt/tags/tag110.xml" ContentType="application/vnd.openxmlformats-officedocument.presentationml.tags+xml"/>
  <Override PartName="/ppt/notesSlides/notesSlide60.xml" ContentType="application/vnd.openxmlformats-officedocument.presentationml.notesSlide+xml"/>
  <Override PartName="/ppt/tags/tag111.xml" ContentType="application/vnd.openxmlformats-officedocument.presentationml.tags+xml"/>
  <Override PartName="/ppt/notesSlides/notesSlide61.xml" ContentType="application/vnd.openxmlformats-officedocument.presentationml.notesSlide+xml"/>
  <Override PartName="/ppt/tags/tag112.xml" ContentType="application/vnd.openxmlformats-officedocument.presentationml.tags+xml"/>
  <Override PartName="/ppt/notesSlides/notesSlide62.xml" ContentType="application/vnd.openxmlformats-officedocument.presentationml.notesSlide+xml"/>
  <Override PartName="/ppt/tags/tag113.xml" ContentType="application/vnd.openxmlformats-officedocument.presentationml.tags+xml"/>
  <Override PartName="/ppt/notesSlides/notesSlide63.xml" ContentType="application/vnd.openxmlformats-officedocument.presentationml.notesSlide+xml"/>
  <Override PartName="/ppt/tags/tag114.xml" ContentType="application/vnd.openxmlformats-officedocument.presentationml.tags+xml"/>
  <Override PartName="/ppt/notesSlides/notesSlide64.xml" ContentType="application/vnd.openxmlformats-officedocument.presentationml.notesSlide+xml"/>
  <Override PartName="/ppt/tags/tag115.xml" ContentType="application/vnd.openxmlformats-officedocument.presentationml.tags+xml"/>
  <Override PartName="/ppt/notesSlides/notesSlide65.xml" ContentType="application/vnd.openxmlformats-officedocument.presentationml.notesSlide+xml"/>
  <Override PartName="/ppt/tags/tag116.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117.xml" ContentType="application/vnd.openxmlformats-officedocument.presentationml.tags+xml"/>
  <Override PartName="/ppt/notesSlides/notesSlide6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Lst>
  <p:notesMasterIdLst>
    <p:notesMasterId r:id="rId76"/>
  </p:notesMasterIdLst>
  <p:handoutMasterIdLst>
    <p:handoutMasterId r:id="rId77"/>
  </p:handoutMasterIdLst>
  <p:sldIdLst>
    <p:sldId id="2147480363" r:id="rId5"/>
    <p:sldId id="2147480390" r:id="rId6"/>
    <p:sldId id="2147480351" r:id="rId7"/>
    <p:sldId id="2147480383" r:id="rId8"/>
    <p:sldId id="2147480389" r:id="rId9"/>
    <p:sldId id="2147474778" r:id="rId10"/>
    <p:sldId id="2147480282" r:id="rId11"/>
    <p:sldId id="2147480304" r:id="rId12"/>
    <p:sldId id="2147480300" r:id="rId13"/>
    <p:sldId id="2147480299" r:id="rId14"/>
    <p:sldId id="2147480212" r:id="rId15"/>
    <p:sldId id="2147474801" r:id="rId16"/>
    <p:sldId id="2147480269" r:id="rId17"/>
    <p:sldId id="2147480335" r:id="rId18"/>
    <p:sldId id="2147476061" r:id="rId19"/>
    <p:sldId id="2147476064" r:id="rId20"/>
    <p:sldId id="2147480472" r:id="rId21"/>
    <p:sldId id="2147476071" r:id="rId22"/>
    <p:sldId id="2147476073" r:id="rId23"/>
    <p:sldId id="343" r:id="rId24"/>
    <p:sldId id="2147476001" r:id="rId25"/>
    <p:sldId id="2147476037" r:id="rId26"/>
    <p:sldId id="2147476000" r:id="rId27"/>
    <p:sldId id="2147476084" r:id="rId28"/>
    <p:sldId id="2147480473" r:id="rId29"/>
    <p:sldId id="355" r:id="rId30"/>
    <p:sldId id="2147474861" r:id="rId31"/>
    <p:sldId id="2147480331" r:id="rId32"/>
    <p:sldId id="2147475755" r:id="rId33"/>
    <p:sldId id="2147480336" r:id="rId34"/>
    <p:sldId id="2147480249" r:id="rId35"/>
    <p:sldId id="2147480261" r:id="rId36"/>
    <p:sldId id="2147480158" r:id="rId37"/>
    <p:sldId id="2147480489" r:id="rId38"/>
    <p:sldId id="2147480457" r:id="rId39"/>
    <p:sldId id="258" r:id="rId40"/>
    <p:sldId id="2147480493" r:id="rId41"/>
    <p:sldId id="2147480512" r:id="rId42"/>
    <p:sldId id="2147480490" r:id="rId43"/>
    <p:sldId id="2147480498" r:id="rId44"/>
    <p:sldId id="2147480341" r:id="rId45"/>
    <p:sldId id="2147480461" r:id="rId46"/>
    <p:sldId id="2147480347" r:id="rId47"/>
    <p:sldId id="307" r:id="rId48"/>
    <p:sldId id="2147480458" r:id="rId49"/>
    <p:sldId id="2147480492" r:id="rId50"/>
    <p:sldId id="2147480454" r:id="rId51"/>
    <p:sldId id="2147480448" r:id="rId52"/>
    <p:sldId id="2147480513" r:id="rId53"/>
    <p:sldId id="2147480501" r:id="rId54"/>
    <p:sldId id="2147480499" r:id="rId55"/>
    <p:sldId id="2147480516" r:id="rId56"/>
    <p:sldId id="2147480477" r:id="rId57"/>
    <p:sldId id="2147480500" r:id="rId58"/>
    <p:sldId id="2147480502" r:id="rId59"/>
    <p:sldId id="2147480503" r:id="rId60"/>
    <p:sldId id="2147480504" r:id="rId61"/>
    <p:sldId id="2147480505" r:id="rId62"/>
    <p:sldId id="2147480506" r:id="rId63"/>
    <p:sldId id="2147480507" r:id="rId64"/>
    <p:sldId id="2147480508" r:id="rId65"/>
    <p:sldId id="2147480509" r:id="rId66"/>
    <p:sldId id="2147480510" r:id="rId67"/>
    <p:sldId id="2147480511" r:id="rId68"/>
    <p:sldId id="2147480514" r:id="rId69"/>
    <p:sldId id="2147480515" r:id="rId70"/>
    <p:sldId id="2147480471" r:id="rId71"/>
    <p:sldId id="2147480488" r:id="rId72"/>
    <p:sldId id="260" r:id="rId73"/>
    <p:sldId id="2147480497" r:id="rId74"/>
    <p:sldId id="2147480495" r:id="rId75"/>
  </p:sldIdLst>
  <p:sldSz cx="12192000" cy="6858000"/>
  <p:notesSz cx="6858000" cy="9144000"/>
  <p:embeddedFontLst>
    <p:embeddedFont>
      <p:font typeface="Calibri" panose="020F0502020204030204" pitchFamily="34" charset="0"/>
      <p:regular r:id="rId78"/>
      <p:bold r:id="rId79"/>
      <p:italic r:id="rId80"/>
      <p:boldItalic r:id="rId81"/>
    </p:embeddedFont>
    <p:embeddedFont>
      <p:font typeface="MMC Display Condensed" panose="020B0606020203020204" pitchFamily="34" charset="0"/>
      <p:regular r:id="rId82"/>
      <p:bold r:id="rId83"/>
    </p:embeddedFont>
  </p:embeddedFontLst>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EEFF"/>
    <a:srgbClr val="CAE9D3"/>
    <a:srgbClr val="FFFFFF"/>
    <a:srgbClr val="EBEAEF"/>
    <a:srgbClr val="E7F8FF"/>
    <a:srgbClr val="E4F4E9"/>
    <a:srgbClr val="F2F2F2"/>
    <a:srgbClr val="E2F6FF"/>
    <a:srgbClr val="FFF2B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FF1D89-E885-4441-9CAE-A2070226168E}" v="175" dt="2023-12-06T00:30:55.086"/>
  </p1510:revLst>
</p1510:revInfo>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prstClr val="black"/>
        </a:fontRef>
        <a:schemeClr val="tx1"/>
      </a:tcTxStyle>
      <a:tcStyle>
        <a:tcBdr>
          <a:left>
            <a:ln>
              <a:noFill/>
            </a:ln>
          </a:left>
          <a:right>
            <a:ln>
              <a:noFill/>
            </a:ln>
          </a:right>
          <a:top>
            <a:ln>
              <a:noFill/>
            </a:ln>
          </a:top>
          <a:bottom>
            <a:ln w="9525" cmpd="sng">
              <a:solidFill>
                <a:schemeClr val="tx1"/>
              </a:solidFill>
            </a:ln>
          </a:bottom>
          <a:insideH>
            <a:ln w="9525" cmpd="sng">
              <a:solidFill>
                <a:schemeClr val="tx1"/>
              </a:solidFill>
            </a:ln>
          </a:insideH>
          <a:insideV>
            <a:ln>
              <a:noFill/>
            </a:ln>
          </a:insideV>
        </a:tcBdr>
        <a:fill>
          <a:noFill/>
        </a:fill>
      </a:tcStyle>
    </a:wholeTbl>
    <a:lastCol>
      <a:tcTxStyle b="on">
        <a:fontRef idx="minor">
          <a:prstClr val="black"/>
        </a:fontRef>
      </a:tcTxStyle>
      <a:tcStyle>
        <a:tcBdr/>
      </a:tcStyle>
    </a:lastCol>
    <a:firstCol>
      <a:tcTxStyle b="on">
        <a:fontRef idx="minor">
          <a:prstClr val="black"/>
        </a:fontRef>
      </a:tcTxStyle>
      <a:tcStyle>
        <a:tcBdr/>
      </a:tcStyle>
    </a:firstCol>
    <a:lastRow>
      <a:tcTxStyle b="on">
        <a:fontRef idx="minor">
          <a:prstClr val="black"/>
        </a:fontRef>
      </a:tcTxStyle>
      <a:tcStyle>
        <a:tcBdr/>
        <a:fill>
          <a:noFill/>
        </a:fill>
      </a:tcStyle>
    </a:lastRow>
    <a:firstRow>
      <a:tcTxStyle b="on">
        <a:fontRef idx="minor">
          <a:prstClr val="black"/>
        </a:fontRef>
      </a:tcTxStyle>
      <a:tcStyle>
        <a:tcBdr>
          <a:bottom>
            <a:ln w="9525"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8" d="100"/>
          <a:sy n="88" d="100"/>
        </p:scale>
        <p:origin x="394" y="2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ags" Target="tags/tag1.xml"/><Relationship Id="rId89" Type="http://schemas.microsoft.com/office/2016/11/relationships/changesInfo" Target="changesInfos/changesInfo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font" Target="fonts/font2.fntdata"/><Relationship Id="rId5" Type="http://schemas.openxmlformats.org/officeDocument/2006/relationships/slide" Target="slides/slide1.xml"/><Relationship Id="rId90" Type="http://schemas.microsoft.com/office/2015/10/relationships/revisionInfo" Target="revisionInfo.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font" Target="fonts/font3.fntdata"/><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font" Target="fonts/font6.fntdata"/><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font" Target="fonts/font1.fntdata"/><Relationship Id="rId81" Type="http://schemas.openxmlformats.org/officeDocument/2006/relationships/font" Target="fonts/font4.fntdata"/><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font" Target="fonts/font5.fntdata"/><Relationship Id="rId19" Type="http://schemas.openxmlformats.org/officeDocument/2006/relationships/slide" Target="slides/slide1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n, Eric" userId="da1798d5-7e4e-4152-b071-9c427090fd02" providerId="ADAL" clId="{0CB52E55-A7F4-43FC-97BB-3CB551981824}"/>
    <pc:docChg chg="undo custSel modSld">
      <pc:chgData name="Tan, Eric" userId="da1798d5-7e4e-4152-b071-9c427090fd02" providerId="ADAL" clId="{0CB52E55-A7F4-43FC-97BB-3CB551981824}" dt="2023-12-04T09:13:50.539" v="32" actId="1035"/>
      <pc:docMkLst>
        <pc:docMk/>
      </pc:docMkLst>
      <pc:sldChg chg="addSp delSp modSp mod">
        <pc:chgData name="Tan, Eric" userId="da1798d5-7e4e-4152-b071-9c427090fd02" providerId="ADAL" clId="{0CB52E55-A7F4-43FC-97BB-3CB551981824}" dt="2023-12-04T09:13:50.539" v="32" actId="1035"/>
        <pc:sldMkLst>
          <pc:docMk/>
          <pc:sldMk cId="4247001212" sldId="2147480390"/>
        </pc:sldMkLst>
        <pc:spChg chg="mod">
          <ac:chgData name="Tan, Eric" userId="da1798d5-7e4e-4152-b071-9c427090fd02" providerId="ADAL" clId="{0CB52E55-A7F4-43FC-97BB-3CB551981824}" dt="2023-12-04T09:11:57.703" v="2" actId="571"/>
          <ac:spMkLst>
            <pc:docMk/>
            <pc:sldMk cId="4247001212" sldId="2147480390"/>
            <ac:spMk id="6" creationId="{3C71AEF6-9DE6-2996-2AC1-9D248D3B9EB4}"/>
          </ac:spMkLst>
        </pc:spChg>
        <pc:grpChg chg="add del mod">
          <ac:chgData name="Tan, Eric" userId="da1798d5-7e4e-4152-b071-9c427090fd02" providerId="ADAL" clId="{0CB52E55-A7F4-43FC-97BB-3CB551981824}" dt="2023-12-04T09:12:51.528" v="13" actId="478"/>
          <ac:grpSpMkLst>
            <pc:docMk/>
            <pc:sldMk cId="4247001212" sldId="2147480390"/>
            <ac:grpSpMk id="5" creationId="{C2B52157-9C82-E9A5-C4AD-06716A3162B9}"/>
          </ac:grpSpMkLst>
        </pc:grpChg>
        <pc:picChg chg="add del">
          <ac:chgData name="Tan, Eric" userId="da1798d5-7e4e-4152-b071-9c427090fd02" providerId="ADAL" clId="{0CB52E55-A7F4-43FC-97BB-3CB551981824}" dt="2023-12-04T09:11:52.798" v="1" actId="21"/>
          <ac:picMkLst>
            <pc:docMk/>
            <pc:sldMk cId="4247001212" sldId="2147480390"/>
            <ac:picMk id="4" creationId="{FD408C1D-CD94-5674-8A05-F9B6323859EA}"/>
          </ac:picMkLst>
        </pc:picChg>
        <pc:picChg chg="mod">
          <ac:chgData name="Tan, Eric" userId="da1798d5-7e4e-4152-b071-9c427090fd02" providerId="ADAL" clId="{0CB52E55-A7F4-43FC-97BB-3CB551981824}" dt="2023-12-04T09:11:57.703" v="2" actId="571"/>
          <ac:picMkLst>
            <pc:docMk/>
            <pc:sldMk cId="4247001212" sldId="2147480390"/>
            <ac:picMk id="15" creationId="{25F5A60A-EF02-FA7E-B641-2E5D29DF5128}"/>
          </ac:picMkLst>
        </pc:picChg>
        <pc:picChg chg="del">
          <ac:chgData name="Tan, Eric" userId="da1798d5-7e4e-4152-b071-9c427090fd02" providerId="ADAL" clId="{0CB52E55-A7F4-43FC-97BB-3CB551981824}" dt="2023-12-04T09:13:27.011" v="26" actId="478"/>
          <ac:picMkLst>
            <pc:docMk/>
            <pc:sldMk cId="4247001212" sldId="2147480390"/>
            <ac:picMk id="16" creationId="{1672408C-81DC-5F2E-381E-9BF7ED95749B}"/>
          </ac:picMkLst>
        </pc:picChg>
        <pc:picChg chg="add del">
          <ac:chgData name="Tan, Eric" userId="da1798d5-7e4e-4152-b071-9c427090fd02" providerId="ADAL" clId="{0CB52E55-A7F4-43FC-97BB-3CB551981824}" dt="2023-12-04T09:12:01.561" v="4"/>
          <ac:picMkLst>
            <pc:docMk/>
            <pc:sldMk cId="4247001212" sldId="2147480390"/>
            <ac:picMk id="16" creationId="{799EE4FB-30CB-BAF8-504A-6DAA552B2747}"/>
          </ac:picMkLst>
        </pc:picChg>
        <pc:picChg chg="add del">
          <ac:chgData name="Tan, Eric" userId="da1798d5-7e4e-4152-b071-9c427090fd02" providerId="ADAL" clId="{0CB52E55-A7F4-43FC-97BB-3CB551981824}" dt="2023-12-04T09:12:07.919" v="7"/>
          <ac:picMkLst>
            <pc:docMk/>
            <pc:sldMk cId="4247001212" sldId="2147480390"/>
            <ac:picMk id="17" creationId="{FBDD3138-F85C-120F-3228-4833F01B32B5}"/>
          </ac:picMkLst>
        </pc:picChg>
        <pc:picChg chg="add del mod">
          <ac:chgData name="Tan, Eric" userId="da1798d5-7e4e-4152-b071-9c427090fd02" providerId="ADAL" clId="{0CB52E55-A7F4-43FC-97BB-3CB551981824}" dt="2023-12-04T09:12:12.665" v="9" actId="21"/>
          <ac:picMkLst>
            <pc:docMk/>
            <pc:sldMk cId="4247001212" sldId="2147480390"/>
            <ac:picMk id="19" creationId="{02D292B1-0D58-2029-5E48-CA997148D043}"/>
          </ac:picMkLst>
        </pc:picChg>
        <pc:picChg chg="add del mod">
          <ac:chgData name="Tan, Eric" userId="da1798d5-7e4e-4152-b071-9c427090fd02" providerId="ADAL" clId="{0CB52E55-A7F4-43FC-97BB-3CB551981824}" dt="2023-12-04T09:13:19.583" v="23" actId="478"/>
          <ac:picMkLst>
            <pc:docMk/>
            <pc:sldMk cId="4247001212" sldId="2147480390"/>
            <ac:picMk id="25" creationId="{668A44E4-5F44-41B9-00A6-7F3F51DA0352}"/>
          </ac:picMkLst>
        </pc:picChg>
        <pc:picChg chg="add del mod">
          <ac:chgData name="Tan, Eric" userId="da1798d5-7e4e-4152-b071-9c427090fd02" providerId="ADAL" clId="{0CB52E55-A7F4-43FC-97BB-3CB551981824}" dt="2023-12-04T09:13:25.551" v="25" actId="21"/>
          <ac:picMkLst>
            <pc:docMk/>
            <pc:sldMk cId="4247001212" sldId="2147480390"/>
            <ac:picMk id="26" creationId="{2F123A72-A64B-E1CE-A654-5824097D08F4}"/>
          </ac:picMkLst>
        </pc:picChg>
        <pc:picChg chg="add mod modCrop">
          <ac:chgData name="Tan, Eric" userId="da1798d5-7e4e-4152-b071-9c427090fd02" providerId="ADAL" clId="{0CB52E55-A7F4-43FC-97BB-3CB551981824}" dt="2023-12-04T09:13:50.539" v="32" actId="1035"/>
          <ac:picMkLst>
            <pc:docMk/>
            <pc:sldMk cId="4247001212" sldId="2147480390"/>
            <ac:picMk id="27" creationId="{1ED818B9-13CD-FEA3-399B-694EB38E0F21}"/>
          </ac:picMkLst>
        </pc:picChg>
      </pc:sldChg>
    </pc:docChg>
  </pc:docChgLst>
  <pc:docChgLst>
    <pc:chgData name="Cuvillier, Nicolas" userId="c7f17e95-5c3e-462b-8857-a61ca2f84f6f" providerId="ADAL" clId="{421FC56B-1DFC-468F-8ADB-554CD8D34B85}"/>
    <pc:docChg chg="undo custSel addSld delSld modSld sldOrd replTag">
      <pc:chgData name="Cuvillier, Nicolas" userId="c7f17e95-5c3e-462b-8857-a61ca2f84f6f" providerId="ADAL" clId="{421FC56B-1DFC-468F-8ADB-554CD8D34B85}" dt="2023-12-04T19:28:14.775" v="11465" actId="6549"/>
      <pc:docMkLst>
        <pc:docMk/>
      </pc:docMkLst>
      <pc:sldChg chg="del">
        <pc:chgData name="Cuvillier, Nicolas" userId="c7f17e95-5c3e-462b-8857-a61ca2f84f6f" providerId="ADAL" clId="{421FC56B-1DFC-468F-8ADB-554CD8D34B85}" dt="2023-12-04T08:03:38.775" v="86" actId="47"/>
        <pc:sldMkLst>
          <pc:docMk/>
          <pc:sldMk cId="3134895580" sldId="2147480361"/>
        </pc:sldMkLst>
      </pc:sldChg>
      <pc:sldChg chg="modSp mod">
        <pc:chgData name="Cuvillier, Nicolas" userId="c7f17e95-5c3e-462b-8857-a61ca2f84f6f" providerId="ADAL" clId="{421FC56B-1DFC-468F-8ADB-554CD8D34B85}" dt="2023-12-04T09:17:40.675" v="425" actId="6549"/>
        <pc:sldMkLst>
          <pc:docMk/>
          <pc:sldMk cId="2584302768" sldId="2147480383"/>
        </pc:sldMkLst>
        <pc:spChg chg="mod">
          <ac:chgData name="Cuvillier, Nicolas" userId="c7f17e95-5c3e-462b-8857-a61ca2f84f6f" providerId="ADAL" clId="{421FC56B-1DFC-468F-8ADB-554CD8D34B85}" dt="2023-12-04T09:17:40.675" v="425" actId="6549"/>
          <ac:spMkLst>
            <pc:docMk/>
            <pc:sldMk cId="2584302768" sldId="2147480383"/>
            <ac:spMk id="12" creationId="{74AAE2D2-A366-AC03-BFEA-9A2719B42BC2}"/>
          </ac:spMkLst>
        </pc:spChg>
      </pc:sldChg>
      <pc:sldChg chg="addSp delSp modSp mod">
        <pc:chgData name="Cuvillier, Nicolas" userId="c7f17e95-5c3e-462b-8857-a61ca2f84f6f" providerId="ADAL" clId="{421FC56B-1DFC-468F-8ADB-554CD8D34B85}" dt="2023-12-04T09:12:55.925" v="421" actId="478"/>
        <pc:sldMkLst>
          <pc:docMk/>
          <pc:sldMk cId="4247001212" sldId="2147480390"/>
        </pc:sldMkLst>
        <pc:spChg chg="mod">
          <ac:chgData name="Cuvillier, Nicolas" userId="c7f17e95-5c3e-462b-8857-a61ca2f84f6f" providerId="ADAL" clId="{421FC56B-1DFC-468F-8ADB-554CD8D34B85}" dt="2023-12-04T08:01:30.599" v="73"/>
          <ac:spMkLst>
            <pc:docMk/>
            <pc:sldMk cId="4247001212" sldId="2147480390"/>
            <ac:spMk id="5" creationId="{F7EC1B60-5F11-8D27-EEA6-3E58580221B5}"/>
          </ac:spMkLst>
        </pc:spChg>
        <pc:spChg chg="add del mod ord">
          <ac:chgData name="Cuvillier, Nicolas" userId="c7f17e95-5c3e-462b-8857-a61ca2f84f6f" providerId="ADAL" clId="{421FC56B-1DFC-468F-8ADB-554CD8D34B85}" dt="2023-12-04T09:12:55.925" v="421" actId="478"/>
          <ac:spMkLst>
            <pc:docMk/>
            <pc:sldMk cId="4247001212" sldId="2147480390"/>
            <ac:spMk id="13" creationId="{8CDD5841-27C3-B851-BF52-33E2A01F9819}"/>
          </ac:spMkLst>
        </pc:spChg>
        <pc:grpChg chg="add del mod ord">
          <ac:chgData name="Cuvillier, Nicolas" userId="c7f17e95-5c3e-462b-8857-a61ca2f84f6f" providerId="ADAL" clId="{421FC56B-1DFC-468F-8ADB-554CD8D34B85}" dt="2023-12-04T08:01:31.584" v="84" actId="478"/>
          <ac:grpSpMkLst>
            <pc:docMk/>
            <pc:sldMk cId="4247001212" sldId="2147480390"/>
            <ac:grpSpMk id="4" creationId="{54EBC167-ACE4-D759-9CE0-69D4442C60F2}"/>
          </ac:grpSpMkLst>
        </pc:grpChg>
        <pc:grpChg chg="mod">
          <ac:chgData name="Cuvillier, Nicolas" userId="c7f17e95-5c3e-462b-8857-a61ca2f84f6f" providerId="ADAL" clId="{421FC56B-1DFC-468F-8ADB-554CD8D34B85}" dt="2023-12-04T08:00:26.608" v="28" actId="1076"/>
          <ac:grpSpMkLst>
            <pc:docMk/>
            <pc:sldMk cId="4247001212" sldId="2147480390"/>
            <ac:grpSpMk id="18" creationId="{5806812B-5035-FC65-E6E8-2D8CED6E7727}"/>
          </ac:grpSpMkLst>
        </pc:grpChg>
        <pc:graphicFrameChg chg="mod">
          <ac:chgData name="Cuvillier, Nicolas" userId="c7f17e95-5c3e-462b-8857-a61ca2f84f6f" providerId="ADAL" clId="{421FC56B-1DFC-468F-8ADB-554CD8D34B85}" dt="2023-12-04T08:00:21.367" v="26" actId="1076"/>
          <ac:graphicFrameMkLst>
            <pc:docMk/>
            <pc:sldMk cId="4247001212" sldId="2147480390"/>
            <ac:graphicFrameMk id="8" creationId="{1B01C44B-AF37-9709-92B0-745CE284324A}"/>
          </ac:graphicFrameMkLst>
        </pc:graphicFrameChg>
        <pc:graphicFrameChg chg="add mod modGraphic">
          <ac:chgData name="Cuvillier, Nicolas" userId="c7f17e95-5c3e-462b-8857-a61ca2f84f6f" providerId="ADAL" clId="{421FC56B-1DFC-468F-8ADB-554CD8D34B85}" dt="2023-12-04T08:00:37.486" v="38" actId="20577"/>
          <ac:graphicFrameMkLst>
            <pc:docMk/>
            <pc:sldMk cId="4247001212" sldId="2147480390"/>
            <ac:graphicFrameMk id="12" creationId="{EDF18FF1-C695-2323-0407-ED4F09AABE53}"/>
          </ac:graphicFrameMkLst>
        </pc:graphicFrameChg>
        <pc:graphicFrameChg chg="mod">
          <ac:chgData name="Cuvillier, Nicolas" userId="c7f17e95-5c3e-462b-8857-a61ca2f84f6f" providerId="ADAL" clId="{421FC56B-1DFC-468F-8ADB-554CD8D34B85}" dt="2023-12-04T08:00:23.678" v="27" actId="1076"/>
          <ac:graphicFrameMkLst>
            <pc:docMk/>
            <pc:sldMk cId="4247001212" sldId="2147480390"/>
            <ac:graphicFrameMk id="22" creationId="{ADE7D8A2-0DD0-2F6B-F600-B2D8BC1B318D}"/>
          </ac:graphicFrameMkLst>
        </pc:graphicFrameChg>
        <pc:graphicFrameChg chg="mod">
          <ac:chgData name="Cuvillier, Nicolas" userId="c7f17e95-5c3e-462b-8857-a61ca2f84f6f" providerId="ADAL" clId="{421FC56B-1DFC-468F-8ADB-554CD8D34B85}" dt="2023-12-04T08:00:29.207" v="29" actId="1076"/>
          <ac:graphicFrameMkLst>
            <pc:docMk/>
            <pc:sldMk cId="4247001212" sldId="2147480390"/>
            <ac:graphicFrameMk id="23" creationId="{30B4ED9D-1BF5-487E-1294-DC18870CBB4A}"/>
          </ac:graphicFrameMkLst>
        </pc:graphicFrameChg>
        <pc:picChg chg="mod">
          <ac:chgData name="Cuvillier, Nicolas" userId="c7f17e95-5c3e-462b-8857-a61ca2f84f6f" providerId="ADAL" clId="{421FC56B-1DFC-468F-8ADB-554CD8D34B85}" dt="2023-12-04T08:01:30.599" v="73"/>
          <ac:picMkLst>
            <pc:docMk/>
            <pc:sldMk cId="4247001212" sldId="2147480390"/>
            <ac:picMk id="6" creationId="{EC9B0260-CAB0-18D5-B561-2A5B408ECB77}"/>
          </ac:picMkLst>
        </pc:picChg>
        <pc:picChg chg="mod">
          <ac:chgData name="Cuvillier, Nicolas" userId="c7f17e95-5c3e-462b-8857-a61ca2f84f6f" providerId="ADAL" clId="{421FC56B-1DFC-468F-8ADB-554CD8D34B85}" dt="2023-12-04T08:00:19.161" v="25" actId="1038"/>
          <ac:picMkLst>
            <pc:docMk/>
            <pc:sldMk cId="4247001212" sldId="2147480390"/>
            <ac:picMk id="9" creationId="{45B6EDE5-2936-CE59-9444-1B0CCA1B85A6}"/>
          </ac:picMkLst>
        </pc:picChg>
        <pc:picChg chg="mod">
          <ac:chgData name="Cuvillier, Nicolas" userId="c7f17e95-5c3e-462b-8857-a61ca2f84f6f" providerId="ADAL" clId="{421FC56B-1DFC-468F-8ADB-554CD8D34B85}" dt="2023-12-04T08:00:16.096" v="17" actId="1037"/>
          <ac:picMkLst>
            <pc:docMk/>
            <pc:sldMk cId="4247001212" sldId="2147480390"/>
            <ac:picMk id="10" creationId="{E8C72F24-50B2-0B57-CB95-137D5D600516}"/>
          </ac:picMkLst>
        </pc:picChg>
        <pc:picChg chg="add mod ord">
          <ac:chgData name="Cuvillier, Nicolas" userId="c7f17e95-5c3e-462b-8857-a61ca2f84f6f" providerId="ADAL" clId="{421FC56B-1DFC-468F-8ADB-554CD8D34B85}" dt="2023-12-04T09:12:54.853" v="416"/>
          <ac:picMkLst>
            <pc:docMk/>
            <pc:sldMk cId="4247001212" sldId="2147480390"/>
            <ac:picMk id="16" creationId="{1672408C-81DC-5F2E-381E-9BF7ED95749B}"/>
          </ac:picMkLst>
        </pc:picChg>
      </pc:sldChg>
      <pc:sldChg chg="addSp delSp modSp mod ord">
        <pc:chgData name="Cuvillier, Nicolas" userId="c7f17e95-5c3e-462b-8857-a61ca2f84f6f" providerId="ADAL" clId="{421FC56B-1DFC-468F-8ADB-554CD8D34B85}" dt="2023-12-04T19:27:58.725" v="11451" actId="6549"/>
        <pc:sldMkLst>
          <pc:docMk/>
          <pc:sldMk cId="2395143433" sldId="2147480477"/>
        </pc:sldMkLst>
        <pc:spChg chg="mod">
          <ac:chgData name="Cuvillier, Nicolas" userId="c7f17e95-5c3e-462b-8857-a61ca2f84f6f" providerId="ADAL" clId="{421FC56B-1DFC-468F-8ADB-554CD8D34B85}" dt="2023-12-04T14:26:24.483" v="4231" actId="1076"/>
          <ac:spMkLst>
            <pc:docMk/>
            <pc:sldMk cId="2395143433" sldId="2147480477"/>
            <ac:spMk id="2" creationId="{89DCFF1A-7B82-2C4D-9C86-B39644F76A89}"/>
          </ac:spMkLst>
        </pc:spChg>
        <pc:spChg chg="add del mod modVis">
          <ac:chgData name="Cuvillier, Nicolas" userId="c7f17e95-5c3e-462b-8857-a61ca2f84f6f" providerId="ADAL" clId="{421FC56B-1DFC-468F-8ADB-554CD8D34B85}" dt="2023-12-04T12:56:21.096" v="945"/>
          <ac:spMkLst>
            <pc:docMk/>
            <pc:sldMk cId="2395143433" sldId="2147480477"/>
            <ac:spMk id="3" creationId="{70B3102E-50A3-21D2-64E9-1C1E58DDBCC1}"/>
          </ac:spMkLst>
        </pc:spChg>
        <pc:spChg chg="mod">
          <ac:chgData name="Cuvillier, Nicolas" userId="c7f17e95-5c3e-462b-8857-a61ca2f84f6f" providerId="ADAL" clId="{421FC56B-1DFC-468F-8ADB-554CD8D34B85}" dt="2023-12-04T14:26:24.483" v="4231" actId="1076"/>
          <ac:spMkLst>
            <pc:docMk/>
            <pc:sldMk cId="2395143433" sldId="2147480477"/>
            <ac:spMk id="4" creationId="{DF884FB3-6C01-F685-77F6-4D1FA5C1E1B5}"/>
          </ac:spMkLst>
        </pc:spChg>
        <pc:spChg chg="mod">
          <ac:chgData name="Cuvillier, Nicolas" userId="c7f17e95-5c3e-462b-8857-a61ca2f84f6f" providerId="ADAL" clId="{421FC56B-1DFC-468F-8ADB-554CD8D34B85}" dt="2023-12-04T14:26:24.483" v="4231" actId="1076"/>
          <ac:spMkLst>
            <pc:docMk/>
            <pc:sldMk cId="2395143433" sldId="2147480477"/>
            <ac:spMk id="7" creationId="{DA28DF84-7415-DB6D-9B4D-2F4E5DBAC434}"/>
          </ac:spMkLst>
        </pc:spChg>
        <pc:spChg chg="add del mod">
          <ac:chgData name="Cuvillier, Nicolas" userId="c7f17e95-5c3e-462b-8857-a61ca2f84f6f" providerId="ADAL" clId="{421FC56B-1DFC-468F-8ADB-554CD8D34B85}" dt="2023-12-04T14:26:19.862" v="4226" actId="478"/>
          <ac:spMkLst>
            <pc:docMk/>
            <pc:sldMk cId="2395143433" sldId="2147480477"/>
            <ac:spMk id="9" creationId="{A8954981-F95C-655B-B60F-A25138C13BC4}"/>
          </ac:spMkLst>
        </pc:spChg>
        <pc:spChg chg="mod">
          <ac:chgData name="Cuvillier, Nicolas" userId="c7f17e95-5c3e-462b-8857-a61ca2f84f6f" providerId="ADAL" clId="{421FC56B-1DFC-468F-8ADB-554CD8D34B85}" dt="2023-12-04T14:26:24.483" v="4231" actId="1076"/>
          <ac:spMkLst>
            <pc:docMk/>
            <pc:sldMk cId="2395143433" sldId="2147480477"/>
            <ac:spMk id="14" creationId="{EC347EB2-A17C-9756-6F8A-FA325CAB65BB}"/>
          </ac:spMkLst>
        </pc:spChg>
        <pc:spChg chg="mod">
          <ac:chgData name="Cuvillier, Nicolas" userId="c7f17e95-5c3e-462b-8857-a61ca2f84f6f" providerId="ADAL" clId="{421FC56B-1DFC-468F-8ADB-554CD8D34B85}" dt="2023-12-04T14:26:24.483" v="4231" actId="1076"/>
          <ac:spMkLst>
            <pc:docMk/>
            <pc:sldMk cId="2395143433" sldId="2147480477"/>
            <ac:spMk id="17" creationId="{3119BBCB-5A35-97C6-C2D5-DDB2A67858B4}"/>
          </ac:spMkLst>
        </pc:spChg>
        <pc:spChg chg="mod">
          <ac:chgData name="Cuvillier, Nicolas" userId="c7f17e95-5c3e-462b-8857-a61ca2f84f6f" providerId="ADAL" clId="{421FC56B-1DFC-468F-8ADB-554CD8D34B85}" dt="2023-12-04T14:26:24.483" v="4231" actId="1076"/>
          <ac:spMkLst>
            <pc:docMk/>
            <pc:sldMk cId="2395143433" sldId="2147480477"/>
            <ac:spMk id="21" creationId="{42205D9C-ADE6-DA19-CECA-2D7F23653BCC}"/>
          </ac:spMkLst>
        </pc:spChg>
        <pc:spChg chg="del mod">
          <ac:chgData name="Cuvillier, Nicolas" userId="c7f17e95-5c3e-462b-8857-a61ca2f84f6f" providerId="ADAL" clId="{421FC56B-1DFC-468F-8ADB-554CD8D34B85}" dt="2023-12-04T14:26:18.674" v="4221" actId="478"/>
          <ac:spMkLst>
            <pc:docMk/>
            <pc:sldMk cId="2395143433" sldId="2147480477"/>
            <ac:spMk id="22" creationId="{23413B08-5FEA-6306-84D4-A9BCC06F2A31}"/>
          </ac:spMkLst>
        </pc:spChg>
        <pc:spChg chg="mod">
          <ac:chgData name="Cuvillier, Nicolas" userId="c7f17e95-5c3e-462b-8857-a61ca2f84f6f" providerId="ADAL" clId="{421FC56B-1DFC-468F-8ADB-554CD8D34B85}" dt="2023-12-04T14:26:24.483" v="4231" actId="1076"/>
          <ac:spMkLst>
            <pc:docMk/>
            <pc:sldMk cId="2395143433" sldId="2147480477"/>
            <ac:spMk id="23" creationId="{60597E66-83FC-AF81-6604-C1DB01380F18}"/>
          </ac:spMkLst>
        </pc:spChg>
        <pc:spChg chg="mod">
          <ac:chgData name="Cuvillier, Nicolas" userId="c7f17e95-5c3e-462b-8857-a61ca2f84f6f" providerId="ADAL" clId="{421FC56B-1DFC-468F-8ADB-554CD8D34B85}" dt="2023-12-04T14:26:24.483" v="4231" actId="1076"/>
          <ac:spMkLst>
            <pc:docMk/>
            <pc:sldMk cId="2395143433" sldId="2147480477"/>
            <ac:spMk id="24" creationId="{D5173955-0A5F-1F86-E19C-0100540A9836}"/>
          </ac:spMkLst>
        </pc:spChg>
        <pc:spChg chg="mod">
          <ac:chgData name="Cuvillier, Nicolas" userId="c7f17e95-5c3e-462b-8857-a61ca2f84f6f" providerId="ADAL" clId="{421FC56B-1DFC-468F-8ADB-554CD8D34B85}" dt="2023-12-04T19:27:58.725" v="11451" actId="6549"/>
          <ac:spMkLst>
            <pc:docMk/>
            <pc:sldMk cId="2395143433" sldId="2147480477"/>
            <ac:spMk id="25" creationId="{958D2966-7E7D-9813-B536-FF656F5DC453}"/>
          </ac:spMkLst>
        </pc:spChg>
        <pc:spChg chg="del">
          <ac:chgData name="Cuvillier, Nicolas" userId="c7f17e95-5c3e-462b-8857-a61ca2f84f6f" providerId="ADAL" clId="{421FC56B-1DFC-468F-8ADB-554CD8D34B85}" dt="2023-12-04T14:26:18.674" v="4221" actId="478"/>
          <ac:spMkLst>
            <pc:docMk/>
            <pc:sldMk cId="2395143433" sldId="2147480477"/>
            <ac:spMk id="26" creationId="{49C9CE68-3076-3846-BDBC-BA436D8237D3}"/>
          </ac:spMkLst>
        </pc:spChg>
        <pc:spChg chg="mod">
          <ac:chgData name="Cuvillier, Nicolas" userId="c7f17e95-5c3e-462b-8857-a61ca2f84f6f" providerId="ADAL" clId="{421FC56B-1DFC-468F-8ADB-554CD8D34B85}" dt="2023-12-04T18:53:39.487" v="9875" actId="20577"/>
          <ac:spMkLst>
            <pc:docMk/>
            <pc:sldMk cId="2395143433" sldId="2147480477"/>
            <ac:spMk id="27" creationId="{E1366F96-29C8-F300-6344-34F16AE85E10}"/>
          </ac:spMkLst>
        </pc:spChg>
        <pc:spChg chg="mod">
          <ac:chgData name="Cuvillier, Nicolas" userId="c7f17e95-5c3e-462b-8857-a61ca2f84f6f" providerId="ADAL" clId="{421FC56B-1DFC-468F-8ADB-554CD8D34B85}" dt="2023-12-04T14:26:24.483" v="4231" actId="1076"/>
          <ac:spMkLst>
            <pc:docMk/>
            <pc:sldMk cId="2395143433" sldId="2147480477"/>
            <ac:spMk id="35" creationId="{4D3F7C0A-B149-1D73-324F-73B6CC4231CD}"/>
          </ac:spMkLst>
        </pc:spChg>
        <pc:spChg chg="mod">
          <ac:chgData name="Cuvillier, Nicolas" userId="c7f17e95-5c3e-462b-8857-a61ca2f84f6f" providerId="ADAL" clId="{421FC56B-1DFC-468F-8ADB-554CD8D34B85}" dt="2023-12-04T14:26:24.483" v="4231" actId="1076"/>
          <ac:spMkLst>
            <pc:docMk/>
            <pc:sldMk cId="2395143433" sldId="2147480477"/>
            <ac:spMk id="37" creationId="{334ADF48-30AE-4246-8BEE-2FDDBB4368CB}"/>
          </ac:spMkLst>
        </pc:spChg>
        <pc:spChg chg="mod">
          <ac:chgData name="Cuvillier, Nicolas" userId="c7f17e95-5c3e-462b-8857-a61ca2f84f6f" providerId="ADAL" clId="{421FC56B-1DFC-468F-8ADB-554CD8D34B85}" dt="2023-12-04T14:26:24.483" v="4231" actId="1076"/>
          <ac:spMkLst>
            <pc:docMk/>
            <pc:sldMk cId="2395143433" sldId="2147480477"/>
            <ac:spMk id="38" creationId="{D2D970F1-37BA-0616-2151-DCC1AEF77E1D}"/>
          </ac:spMkLst>
        </pc:spChg>
        <pc:spChg chg="mod">
          <ac:chgData name="Cuvillier, Nicolas" userId="c7f17e95-5c3e-462b-8857-a61ca2f84f6f" providerId="ADAL" clId="{421FC56B-1DFC-468F-8ADB-554CD8D34B85}" dt="2023-12-04T14:26:29.942" v="4232" actId="1076"/>
          <ac:spMkLst>
            <pc:docMk/>
            <pc:sldMk cId="2395143433" sldId="2147480477"/>
            <ac:spMk id="42" creationId="{485BE980-4CAE-546A-8B7B-9AA67914D615}"/>
          </ac:spMkLst>
        </pc:spChg>
        <pc:spChg chg="mod">
          <ac:chgData name="Cuvillier, Nicolas" userId="c7f17e95-5c3e-462b-8857-a61ca2f84f6f" providerId="ADAL" clId="{421FC56B-1DFC-468F-8ADB-554CD8D34B85}" dt="2023-12-04T14:26:29.942" v="4232" actId="1076"/>
          <ac:spMkLst>
            <pc:docMk/>
            <pc:sldMk cId="2395143433" sldId="2147480477"/>
            <ac:spMk id="43" creationId="{767A204F-B82D-9B45-C891-CB44AC007AB1}"/>
          </ac:spMkLst>
        </pc:spChg>
        <pc:spChg chg="mod">
          <ac:chgData name="Cuvillier, Nicolas" userId="c7f17e95-5c3e-462b-8857-a61ca2f84f6f" providerId="ADAL" clId="{421FC56B-1DFC-468F-8ADB-554CD8D34B85}" dt="2023-12-04T14:26:29.942" v="4232" actId="1076"/>
          <ac:spMkLst>
            <pc:docMk/>
            <pc:sldMk cId="2395143433" sldId="2147480477"/>
            <ac:spMk id="44" creationId="{07C25CD7-A67D-4B58-563E-085B732B6674}"/>
          </ac:spMkLst>
        </pc:spChg>
        <pc:grpChg chg="mod">
          <ac:chgData name="Cuvillier, Nicolas" userId="c7f17e95-5c3e-462b-8857-a61ca2f84f6f" providerId="ADAL" clId="{421FC56B-1DFC-468F-8ADB-554CD8D34B85}" dt="2023-12-04T14:26:24.483" v="4231" actId="1076"/>
          <ac:grpSpMkLst>
            <pc:docMk/>
            <pc:sldMk cId="2395143433" sldId="2147480477"/>
            <ac:grpSpMk id="13" creationId="{D8292D40-362E-55F5-8A84-1B9683FCC623}"/>
          </ac:grpSpMkLst>
        </pc:grpChg>
        <pc:graphicFrameChg chg="mod">
          <ac:chgData name="Cuvillier, Nicolas" userId="c7f17e95-5c3e-462b-8857-a61ca2f84f6f" providerId="ADAL" clId="{421FC56B-1DFC-468F-8ADB-554CD8D34B85}" dt="2023-12-04T14:26:20.368" v="4230"/>
          <ac:graphicFrameMkLst>
            <pc:docMk/>
            <pc:sldMk cId="2395143433" sldId="2147480477"/>
            <ac:graphicFrameMk id="6" creationId="{1532DC8D-EF10-C559-FE82-D80CBE53E380}"/>
          </ac:graphicFrameMkLst>
        </pc:graphicFrameChg>
        <pc:picChg chg="mod">
          <ac:chgData name="Cuvillier, Nicolas" userId="c7f17e95-5c3e-462b-8857-a61ca2f84f6f" providerId="ADAL" clId="{421FC56B-1DFC-468F-8ADB-554CD8D34B85}" dt="2023-12-04T14:26:24.483" v="4231" actId="1076"/>
          <ac:picMkLst>
            <pc:docMk/>
            <pc:sldMk cId="2395143433" sldId="2147480477"/>
            <ac:picMk id="5" creationId="{AD8C3515-AF2C-9985-6CBF-B2D736D5544D}"/>
          </ac:picMkLst>
        </pc:picChg>
        <pc:picChg chg="mod">
          <ac:chgData name="Cuvillier, Nicolas" userId="c7f17e95-5c3e-462b-8857-a61ca2f84f6f" providerId="ADAL" clId="{421FC56B-1DFC-468F-8ADB-554CD8D34B85}" dt="2023-12-04T14:26:24.483" v="4231" actId="1076"/>
          <ac:picMkLst>
            <pc:docMk/>
            <pc:sldMk cId="2395143433" sldId="2147480477"/>
            <ac:picMk id="10" creationId="{20A60503-C6A2-0BC9-53C1-87CF2991C1A8}"/>
          </ac:picMkLst>
        </pc:picChg>
        <pc:picChg chg="add mod">
          <ac:chgData name="Cuvillier, Nicolas" userId="c7f17e95-5c3e-462b-8857-a61ca2f84f6f" providerId="ADAL" clId="{421FC56B-1DFC-468F-8ADB-554CD8D34B85}" dt="2023-12-04T14:32:39.035" v="4879"/>
          <ac:picMkLst>
            <pc:docMk/>
            <pc:sldMk cId="2395143433" sldId="2147480477"/>
            <ac:picMk id="11" creationId="{9167FEB3-88A0-926C-0EEA-0C670DEBFD1B}"/>
          </ac:picMkLst>
        </pc:picChg>
        <pc:picChg chg="mod">
          <ac:chgData name="Cuvillier, Nicolas" userId="c7f17e95-5c3e-462b-8857-a61ca2f84f6f" providerId="ADAL" clId="{421FC56B-1DFC-468F-8ADB-554CD8D34B85}" dt="2023-12-04T14:26:24.483" v="4231" actId="1076"/>
          <ac:picMkLst>
            <pc:docMk/>
            <pc:sldMk cId="2395143433" sldId="2147480477"/>
            <ac:picMk id="12" creationId="{A266D571-E312-6BAA-2FF6-F2F94089E5AA}"/>
          </ac:picMkLst>
        </pc:picChg>
        <pc:picChg chg="mod">
          <ac:chgData name="Cuvillier, Nicolas" userId="c7f17e95-5c3e-462b-8857-a61ca2f84f6f" providerId="ADAL" clId="{421FC56B-1DFC-468F-8ADB-554CD8D34B85}" dt="2023-12-04T14:26:24.483" v="4231" actId="1076"/>
          <ac:picMkLst>
            <pc:docMk/>
            <pc:sldMk cId="2395143433" sldId="2147480477"/>
            <ac:picMk id="15" creationId="{AF564C4A-EF8B-70F1-D2CE-AB7250F7CF5D}"/>
          </ac:picMkLst>
        </pc:picChg>
        <pc:picChg chg="mod">
          <ac:chgData name="Cuvillier, Nicolas" userId="c7f17e95-5c3e-462b-8857-a61ca2f84f6f" providerId="ADAL" clId="{421FC56B-1DFC-468F-8ADB-554CD8D34B85}" dt="2023-12-04T14:26:24.483" v="4231" actId="1076"/>
          <ac:picMkLst>
            <pc:docMk/>
            <pc:sldMk cId="2395143433" sldId="2147480477"/>
            <ac:picMk id="30" creationId="{70AF88D3-D5BC-BD5E-331A-63ECD9B0817B}"/>
          </ac:picMkLst>
        </pc:picChg>
        <pc:picChg chg="del mod">
          <ac:chgData name="Cuvillier, Nicolas" userId="c7f17e95-5c3e-462b-8857-a61ca2f84f6f" providerId="ADAL" clId="{421FC56B-1DFC-468F-8ADB-554CD8D34B85}" dt="2023-12-04T14:31:22.457" v="4760" actId="478"/>
          <ac:picMkLst>
            <pc:docMk/>
            <pc:sldMk cId="2395143433" sldId="2147480477"/>
            <ac:picMk id="39" creationId="{52C83BD0-11B4-F38F-F21C-6C0D3C37DA4B}"/>
          </ac:picMkLst>
        </pc:picChg>
        <pc:picChg chg="mod">
          <ac:chgData name="Cuvillier, Nicolas" userId="c7f17e95-5c3e-462b-8857-a61ca2f84f6f" providerId="ADAL" clId="{421FC56B-1DFC-468F-8ADB-554CD8D34B85}" dt="2023-12-04T14:26:24.483" v="4231" actId="1076"/>
          <ac:picMkLst>
            <pc:docMk/>
            <pc:sldMk cId="2395143433" sldId="2147480477"/>
            <ac:picMk id="45" creationId="{D1448623-626A-2AAE-3D98-A749B6240C05}"/>
          </ac:picMkLst>
        </pc:picChg>
        <pc:picChg chg="mod">
          <ac:chgData name="Cuvillier, Nicolas" userId="c7f17e95-5c3e-462b-8857-a61ca2f84f6f" providerId="ADAL" clId="{421FC56B-1DFC-468F-8ADB-554CD8D34B85}" dt="2023-12-04T14:26:24.483" v="4231" actId="1076"/>
          <ac:picMkLst>
            <pc:docMk/>
            <pc:sldMk cId="2395143433" sldId="2147480477"/>
            <ac:picMk id="47" creationId="{189AA276-AF58-1AD3-4754-6A5C89FB3CA1}"/>
          </ac:picMkLst>
        </pc:picChg>
        <pc:picChg chg="mod">
          <ac:chgData name="Cuvillier, Nicolas" userId="c7f17e95-5c3e-462b-8857-a61ca2f84f6f" providerId="ADAL" clId="{421FC56B-1DFC-468F-8ADB-554CD8D34B85}" dt="2023-12-04T14:26:24.483" v="4231" actId="1076"/>
          <ac:picMkLst>
            <pc:docMk/>
            <pc:sldMk cId="2395143433" sldId="2147480477"/>
            <ac:picMk id="1026" creationId="{85E14FD2-B3C4-2BF3-FD6A-B036BE3B0BEF}"/>
          </ac:picMkLst>
        </pc:picChg>
        <pc:picChg chg="mod">
          <ac:chgData name="Cuvillier, Nicolas" userId="c7f17e95-5c3e-462b-8857-a61ca2f84f6f" providerId="ADAL" clId="{421FC56B-1DFC-468F-8ADB-554CD8D34B85}" dt="2023-12-04T14:26:24.483" v="4231" actId="1076"/>
          <ac:picMkLst>
            <pc:docMk/>
            <pc:sldMk cId="2395143433" sldId="2147480477"/>
            <ac:picMk id="1028" creationId="{28BCC23A-0F0E-20E9-747A-9C9A79A2599C}"/>
          </ac:picMkLst>
        </pc:picChg>
        <pc:cxnChg chg="mod">
          <ac:chgData name="Cuvillier, Nicolas" userId="c7f17e95-5c3e-462b-8857-a61ca2f84f6f" providerId="ADAL" clId="{421FC56B-1DFC-468F-8ADB-554CD8D34B85}" dt="2023-12-04T14:26:24.483" v="4231" actId="1076"/>
          <ac:cxnSpMkLst>
            <pc:docMk/>
            <pc:sldMk cId="2395143433" sldId="2147480477"/>
            <ac:cxnSpMk id="33" creationId="{F5C95BDB-741F-6CC0-4E35-B93CB66E3E1B}"/>
          </ac:cxnSpMkLst>
        </pc:cxnChg>
        <pc:cxnChg chg="mod">
          <ac:chgData name="Cuvillier, Nicolas" userId="c7f17e95-5c3e-462b-8857-a61ca2f84f6f" providerId="ADAL" clId="{421FC56B-1DFC-468F-8ADB-554CD8D34B85}" dt="2023-12-04T14:26:24.483" v="4231" actId="1076"/>
          <ac:cxnSpMkLst>
            <pc:docMk/>
            <pc:sldMk cId="2395143433" sldId="2147480477"/>
            <ac:cxnSpMk id="34" creationId="{9E3CB111-6AD5-83E5-8626-AAEFD279ABC7}"/>
          </ac:cxnSpMkLst>
        </pc:cxnChg>
      </pc:sldChg>
      <pc:sldChg chg="ord">
        <pc:chgData name="Cuvillier, Nicolas" userId="c7f17e95-5c3e-462b-8857-a61ca2f84f6f" providerId="ADAL" clId="{421FC56B-1DFC-468F-8ADB-554CD8D34B85}" dt="2023-12-04T08:01:54.374" v="85"/>
        <pc:sldMkLst>
          <pc:docMk/>
          <pc:sldMk cId="2681425436" sldId="2147480495"/>
        </pc:sldMkLst>
      </pc:sldChg>
      <pc:sldChg chg="addSp delSp modSp mod ord">
        <pc:chgData name="Cuvillier, Nicolas" userId="c7f17e95-5c3e-462b-8857-a61ca2f84f6f" providerId="ADAL" clId="{421FC56B-1DFC-468F-8ADB-554CD8D34B85}" dt="2023-12-04T19:27:55.134" v="11449" actId="6549"/>
        <pc:sldMkLst>
          <pc:docMk/>
          <pc:sldMk cId="869033062" sldId="2147480499"/>
        </pc:sldMkLst>
        <pc:spChg chg="add del mod modVis">
          <ac:chgData name="Cuvillier, Nicolas" userId="c7f17e95-5c3e-462b-8857-a61ca2f84f6f" providerId="ADAL" clId="{421FC56B-1DFC-468F-8ADB-554CD8D34B85}" dt="2023-12-04T12:56:18.760" v="916"/>
          <ac:spMkLst>
            <pc:docMk/>
            <pc:sldMk cId="869033062" sldId="2147480499"/>
            <ac:spMk id="2" creationId="{0BB3D998-22D7-9094-6B45-3DC69A4737DB}"/>
          </ac:spMkLst>
        </pc:spChg>
        <pc:spChg chg="mod">
          <ac:chgData name="Cuvillier, Nicolas" userId="c7f17e95-5c3e-462b-8857-a61ca2f84f6f" providerId="ADAL" clId="{421FC56B-1DFC-468F-8ADB-554CD8D34B85}" dt="2023-12-04T14:25:22.188" v="4185" actId="1076"/>
          <ac:spMkLst>
            <pc:docMk/>
            <pc:sldMk cId="869033062" sldId="2147480499"/>
            <ac:spMk id="4" creationId="{DF884FB3-6C01-F685-77F6-4D1FA5C1E1B5}"/>
          </ac:spMkLst>
        </pc:spChg>
        <pc:spChg chg="mod">
          <ac:chgData name="Cuvillier, Nicolas" userId="c7f17e95-5c3e-462b-8857-a61ca2f84f6f" providerId="ADAL" clId="{421FC56B-1DFC-468F-8ADB-554CD8D34B85}" dt="2023-12-04T14:25:22.188" v="4185" actId="1076"/>
          <ac:spMkLst>
            <pc:docMk/>
            <pc:sldMk cId="869033062" sldId="2147480499"/>
            <ac:spMk id="7" creationId="{DA28DF84-7415-DB6D-9B4D-2F4E5DBAC434}"/>
          </ac:spMkLst>
        </pc:spChg>
        <pc:spChg chg="add del mod">
          <ac:chgData name="Cuvillier, Nicolas" userId="c7f17e95-5c3e-462b-8857-a61ca2f84f6f" providerId="ADAL" clId="{421FC56B-1DFC-468F-8ADB-554CD8D34B85}" dt="2023-12-04T14:25:24.408" v="4191" actId="478"/>
          <ac:spMkLst>
            <pc:docMk/>
            <pc:sldMk cId="869033062" sldId="2147480499"/>
            <ac:spMk id="9" creationId="{E33D66F9-B8C1-AA82-823D-03183872932A}"/>
          </ac:spMkLst>
        </pc:spChg>
        <pc:spChg chg="mod">
          <ac:chgData name="Cuvillier, Nicolas" userId="c7f17e95-5c3e-462b-8857-a61ca2f84f6f" providerId="ADAL" clId="{421FC56B-1DFC-468F-8ADB-554CD8D34B85}" dt="2023-12-04T14:25:40.059" v="4199" actId="1076"/>
          <ac:spMkLst>
            <pc:docMk/>
            <pc:sldMk cId="869033062" sldId="2147480499"/>
            <ac:spMk id="16" creationId="{9ED70E17-D43A-EB34-683C-DBE41182BC60}"/>
          </ac:spMkLst>
        </pc:spChg>
        <pc:spChg chg="mod">
          <ac:chgData name="Cuvillier, Nicolas" userId="c7f17e95-5c3e-462b-8857-a61ca2f84f6f" providerId="ADAL" clId="{421FC56B-1DFC-468F-8ADB-554CD8D34B85}" dt="2023-12-04T14:25:22.188" v="4185" actId="1076"/>
          <ac:spMkLst>
            <pc:docMk/>
            <pc:sldMk cId="869033062" sldId="2147480499"/>
            <ac:spMk id="17" creationId="{3119BBCB-5A35-97C6-C2D5-DDB2A67858B4}"/>
          </ac:spMkLst>
        </pc:spChg>
        <pc:spChg chg="mod">
          <ac:chgData name="Cuvillier, Nicolas" userId="c7f17e95-5c3e-462b-8857-a61ca2f84f6f" providerId="ADAL" clId="{421FC56B-1DFC-468F-8ADB-554CD8D34B85}" dt="2023-12-04T14:25:22.188" v="4185" actId="1076"/>
          <ac:spMkLst>
            <pc:docMk/>
            <pc:sldMk cId="869033062" sldId="2147480499"/>
            <ac:spMk id="18" creationId="{6AC1AD2F-9FF5-8AC4-BA39-F62002030A9B}"/>
          </ac:spMkLst>
        </pc:spChg>
        <pc:spChg chg="mod">
          <ac:chgData name="Cuvillier, Nicolas" userId="c7f17e95-5c3e-462b-8857-a61ca2f84f6f" providerId="ADAL" clId="{421FC56B-1DFC-468F-8ADB-554CD8D34B85}" dt="2023-12-04T14:25:22.188" v="4185" actId="1076"/>
          <ac:spMkLst>
            <pc:docMk/>
            <pc:sldMk cId="869033062" sldId="2147480499"/>
            <ac:spMk id="21" creationId="{42205D9C-ADE6-DA19-CECA-2D7F23653BCC}"/>
          </ac:spMkLst>
        </pc:spChg>
        <pc:spChg chg="del mod">
          <ac:chgData name="Cuvillier, Nicolas" userId="c7f17e95-5c3e-462b-8857-a61ca2f84f6f" providerId="ADAL" clId="{421FC56B-1DFC-468F-8ADB-554CD8D34B85}" dt="2023-12-04T14:25:23.420" v="4186" actId="478"/>
          <ac:spMkLst>
            <pc:docMk/>
            <pc:sldMk cId="869033062" sldId="2147480499"/>
            <ac:spMk id="22" creationId="{23413B08-5FEA-6306-84D4-A9BCC06F2A31}"/>
          </ac:spMkLst>
        </pc:spChg>
        <pc:spChg chg="mod">
          <ac:chgData name="Cuvillier, Nicolas" userId="c7f17e95-5c3e-462b-8857-a61ca2f84f6f" providerId="ADAL" clId="{421FC56B-1DFC-468F-8ADB-554CD8D34B85}" dt="2023-12-04T14:25:22.188" v="4185" actId="1076"/>
          <ac:spMkLst>
            <pc:docMk/>
            <pc:sldMk cId="869033062" sldId="2147480499"/>
            <ac:spMk id="23" creationId="{60597E66-83FC-AF81-6604-C1DB01380F18}"/>
          </ac:spMkLst>
        </pc:spChg>
        <pc:spChg chg="mod">
          <ac:chgData name="Cuvillier, Nicolas" userId="c7f17e95-5c3e-462b-8857-a61ca2f84f6f" providerId="ADAL" clId="{421FC56B-1DFC-468F-8ADB-554CD8D34B85}" dt="2023-12-04T14:25:22.188" v="4185" actId="1076"/>
          <ac:spMkLst>
            <pc:docMk/>
            <pc:sldMk cId="869033062" sldId="2147480499"/>
            <ac:spMk id="24" creationId="{D5173955-0A5F-1F86-E19C-0100540A9836}"/>
          </ac:spMkLst>
        </pc:spChg>
        <pc:spChg chg="mod">
          <ac:chgData name="Cuvillier, Nicolas" userId="c7f17e95-5c3e-462b-8857-a61ca2f84f6f" providerId="ADAL" clId="{421FC56B-1DFC-468F-8ADB-554CD8D34B85}" dt="2023-12-04T19:27:55.134" v="11449" actId="6549"/>
          <ac:spMkLst>
            <pc:docMk/>
            <pc:sldMk cId="869033062" sldId="2147480499"/>
            <ac:spMk id="25" creationId="{958D2966-7E7D-9813-B536-FF656F5DC453}"/>
          </ac:spMkLst>
        </pc:spChg>
        <pc:spChg chg="del">
          <ac:chgData name="Cuvillier, Nicolas" userId="c7f17e95-5c3e-462b-8857-a61ca2f84f6f" providerId="ADAL" clId="{421FC56B-1DFC-468F-8ADB-554CD8D34B85}" dt="2023-12-04T14:25:25.724" v="4196" actId="478"/>
          <ac:spMkLst>
            <pc:docMk/>
            <pc:sldMk cId="869033062" sldId="2147480499"/>
            <ac:spMk id="26" creationId="{49C9CE68-3076-3846-BDBC-BA436D8237D3}"/>
          </ac:spMkLst>
        </pc:spChg>
        <pc:spChg chg="mod">
          <ac:chgData name="Cuvillier, Nicolas" userId="c7f17e95-5c3e-462b-8857-a61ca2f84f6f" providerId="ADAL" clId="{421FC56B-1DFC-468F-8ADB-554CD8D34B85}" dt="2023-12-04T18:47:56.933" v="9621" actId="20577"/>
          <ac:spMkLst>
            <pc:docMk/>
            <pc:sldMk cId="869033062" sldId="2147480499"/>
            <ac:spMk id="27" creationId="{E1366F96-29C8-F300-6344-34F16AE85E10}"/>
          </ac:spMkLst>
        </pc:spChg>
        <pc:spChg chg="mod">
          <ac:chgData name="Cuvillier, Nicolas" userId="c7f17e95-5c3e-462b-8857-a61ca2f84f6f" providerId="ADAL" clId="{421FC56B-1DFC-468F-8ADB-554CD8D34B85}" dt="2023-12-04T14:25:22.188" v="4185" actId="1076"/>
          <ac:spMkLst>
            <pc:docMk/>
            <pc:sldMk cId="869033062" sldId="2147480499"/>
            <ac:spMk id="35" creationId="{4D3F7C0A-B149-1D73-324F-73B6CC4231CD}"/>
          </ac:spMkLst>
        </pc:spChg>
        <pc:spChg chg="mod">
          <ac:chgData name="Cuvillier, Nicolas" userId="c7f17e95-5c3e-462b-8857-a61ca2f84f6f" providerId="ADAL" clId="{421FC56B-1DFC-468F-8ADB-554CD8D34B85}" dt="2023-12-04T16:32:59.007" v="5195" actId="20577"/>
          <ac:spMkLst>
            <pc:docMk/>
            <pc:sldMk cId="869033062" sldId="2147480499"/>
            <ac:spMk id="37" creationId="{334ADF48-30AE-4246-8BEE-2FDDBB4368CB}"/>
          </ac:spMkLst>
        </pc:spChg>
        <pc:spChg chg="mod">
          <ac:chgData name="Cuvillier, Nicolas" userId="c7f17e95-5c3e-462b-8857-a61ca2f84f6f" providerId="ADAL" clId="{421FC56B-1DFC-468F-8ADB-554CD8D34B85}" dt="2023-12-04T14:25:22.188" v="4185" actId="1076"/>
          <ac:spMkLst>
            <pc:docMk/>
            <pc:sldMk cId="869033062" sldId="2147480499"/>
            <ac:spMk id="38" creationId="{D2D970F1-37BA-0616-2151-DCC1AEF77E1D}"/>
          </ac:spMkLst>
        </pc:spChg>
        <pc:spChg chg="mod">
          <ac:chgData name="Cuvillier, Nicolas" userId="c7f17e95-5c3e-462b-8857-a61ca2f84f6f" providerId="ADAL" clId="{421FC56B-1DFC-468F-8ADB-554CD8D34B85}" dt="2023-12-04T14:25:40.059" v="4199" actId="1076"/>
          <ac:spMkLst>
            <pc:docMk/>
            <pc:sldMk cId="869033062" sldId="2147480499"/>
            <ac:spMk id="42" creationId="{485BE980-4CAE-546A-8B7B-9AA67914D615}"/>
          </ac:spMkLst>
        </pc:spChg>
        <pc:spChg chg="mod">
          <ac:chgData name="Cuvillier, Nicolas" userId="c7f17e95-5c3e-462b-8857-a61ca2f84f6f" providerId="ADAL" clId="{421FC56B-1DFC-468F-8ADB-554CD8D34B85}" dt="2023-12-04T14:25:40.059" v="4199" actId="1076"/>
          <ac:spMkLst>
            <pc:docMk/>
            <pc:sldMk cId="869033062" sldId="2147480499"/>
            <ac:spMk id="43" creationId="{767A204F-B82D-9B45-C891-CB44AC007AB1}"/>
          </ac:spMkLst>
        </pc:spChg>
        <pc:spChg chg="del">
          <ac:chgData name="Cuvillier, Nicolas" userId="c7f17e95-5c3e-462b-8857-a61ca2f84f6f" providerId="ADAL" clId="{421FC56B-1DFC-468F-8ADB-554CD8D34B85}" dt="2023-12-04T13:22:49.934" v="2674" actId="478"/>
          <ac:spMkLst>
            <pc:docMk/>
            <pc:sldMk cId="869033062" sldId="2147480499"/>
            <ac:spMk id="44" creationId="{07C25CD7-A67D-4B58-563E-085B732B6674}"/>
          </ac:spMkLst>
        </pc:spChg>
        <pc:grpChg chg="mod">
          <ac:chgData name="Cuvillier, Nicolas" userId="c7f17e95-5c3e-462b-8857-a61ca2f84f6f" providerId="ADAL" clId="{421FC56B-1DFC-468F-8ADB-554CD8D34B85}" dt="2023-12-04T14:25:22.188" v="4185" actId="1076"/>
          <ac:grpSpMkLst>
            <pc:docMk/>
            <pc:sldMk cId="869033062" sldId="2147480499"/>
            <ac:grpSpMk id="13" creationId="{D8292D40-362E-55F5-8A84-1B9683FCC623}"/>
          </ac:grpSpMkLst>
        </pc:grpChg>
        <pc:graphicFrameChg chg="mod">
          <ac:chgData name="Cuvillier, Nicolas" userId="c7f17e95-5c3e-462b-8857-a61ca2f84f6f" providerId="ADAL" clId="{421FC56B-1DFC-468F-8ADB-554CD8D34B85}" dt="2023-12-04T14:25:24.913" v="4195"/>
          <ac:graphicFrameMkLst>
            <pc:docMk/>
            <pc:sldMk cId="869033062" sldId="2147480499"/>
            <ac:graphicFrameMk id="6" creationId="{1532DC8D-EF10-C559-FE82-D80CBE53E380}"/>
          </ac:graphicFrameMkLst>
        </pc:graphicFrameChg>
        <pc:picChg chg="mod">
          <ac:chgData name="Cuvillier, Nicolas" userId="c7f17e95-5c3e-462b-8857-a61ca2f84f6f" providerId="ADAL" clId="{421FC56B-1DFC-468F-8ADB-554CD8D34B85}" dt="2023-12-04T14:25:22.188" v="4185" actId="1076"/>
          <ac:picMkLst>
            <pc:docMk/>
            <pc:sldMk cId="869033062" sldId="2147480499"/>
            <ac:picMk id="5" creationId="{AD8C3515-AF2C-9985-6CBF-B2D736D5544D}"/>
          </ac:picMkLst>
        </pc:picChg>
        <pc:picChg chg="mod">
          <ac:chgData name="Cuvillier, Nicolas" userId="c7f17e95-5c3e-462b-8857-a61ca2f84f6f" providerId="ADAL" clId="{421FC56B-1DFC-468F-8ADB-554CD8D34B85}" dt="2023-12-04T14:25:22.188" v="4185" actId="1076"/>
          <ac:picMkLst>
            <pc:docMk/>
            <pc:sldMk cId="869033062" sldId="2147480499"/>
            <ac:picMk id="8" creationId="{E8D48B78-D60D-020F-8B11-804329944DD8}"/>
          </ac:picMkLst>
        </pc:picChg>
        <pc:picChg chg="add mod">
          <ac:chgData name="Cuvillier, Nicolas" userId="c7f17e95-5c3e-462b-8857-a61ca2f84f6f" providerId="ADAL" clId="{421FC56B-1DFC-468F-8ADB-554CD8D34B85}" dt="2023-12-04T14:32:27.158" v="4861"/>
          <ac:picMkLst>
            <pc:docMk/>
            <pc:sldMk cId="869033062" sldId="2147480499"/>
            <ac:picMk id="10" creationId="{7AC208AB-A291-6A5B-8389-6276E8E41C94}"/>
          </ac:picMkLst>
        </pc:picChg>
        <pc:picChg chg="mod">
          <ac:chgData name="Cuvillier, Nicolas" userId="c7f17e95-5c3e-462b-8857-a61ca2f84f6f" providerId="ADAL" clId="{421FC56B-1DFC-468F-8ADB-554CD8D34B85}" dt="2023-12-04T14:25:22.188" v="4185" actId="1076"/>
          <ac:picMkLst>
            <pc:docMk/>
            <pc:sldMk cId="869033062" sldId="2147480499"/>
            <ac:picMk id="11" creationId="{D1CBAEE9-5569-B1E2-1768-E91B0E3128C7}"/>
          </ac:picMkLst>
        </pc:picChg>
        <pc:picChg chg="mod">
          <ac:chgData name="Cuvillier, Nicolas" userId="c7f17e95-5c3e-462b-8857-a61ca2f84f6f" providerId="ADAL" clId="{421FC56B-1DFC-468F-8ADB-554CD8D34B85}" dt="2023-12-04T14:25:22.188" v="4185" actId="1076"/>
          <ac:picMkLst>
            <pc:docMk/>
            <pc:sldMk cId="869033062" sldId="2147480499"/>
            <ac:picMk id="12" creationId="{A266D571-E312-6BAA-2FF6-F2F94089E5AA}"/>
          </ac:picMkLst>
        </pc:picChg>
        <pc:picChg chg="mod">
          <ac:chgData name="Cuvillier, Nicolas" userId="c7f17e95-5c3e-462b-8857-a61ca2f84f6f" providerId="ADAL" clId="{421FC56B-1DFC-468F-8ADB-554CD8D34B85}" dt="2023-12-04T14:25:22.188" v="4185" actId="1076"/>
          <ac:picMkLst>
            <pc:docMk/>
            <pc:sldMk cId="869033062" sldId="2147480499"/>
            <ac:picMk id="30" creationId="{70AF88D3-D5BC-BD5E-331A-63ECD9B0817B}"/>
          </ac:picMkLst>
        </pc:picChg>
        <pc:picChg chg="del mod">
          <ac:chgData name="Cuvillier, Nicolas" userId="c7f17e95-5c3e-462b-8857-a61ca2f84f6f" providerId="ADAL" clId="{421FC56B-1DFC-468F-8ADB-554CD8D34B85}" dt="2023-12-04T14:31:19.572" v="4758" actId="478"/>
          <ac:picMkLst>
            <pc:docMk/>
            <pc:sldMk cId="869033062" sldId="2147480499"/>
            <ac:picMk id="39" creationId="{52C83BD0-11B4-F38F-F21C-6C0D3C37DA4B}"/>
          </ac:picMkLst>
        </pc:picChg>
        <pc:picChg chg="mod">
          <ac:chgData name="Cuvillier, Nicolas" userId="c7f17e95-5c3e-462b-8857-a61ca2f84f6f" providerId="ADAL" clId="{421FC56B-1DFC-468F-8ADB-554CD8D34B85}" dt="2023-12-04T14:25:22.188" v="4185" actId="1076"/>
          <ac:picMkLst>
            <pc:docMk/>
            <pc:sldMk cId="869033062" sldId="2147480499"/>
            <ac:picMk id="45" creationId="{D1448623-626A-2AAE-3D98-A749B6240C05}"/>
          </ac:picMkLst>
        </pc:picChg>
        <pc:picChg chg="mod">
          <ac:chgData name="Cuvillier, Nicolas" userId="c7f17e95-5c3e-462b-8857-a61ca2f84f6f" providerId="ADAL" clId="{421FC56B-1DFC-468F-8ADB-554CD8D34B85}" dt="2023-12-04T14:25:22.188" v="4185" actId="1076"/>
          <ac:picMkLst>
            <pc:docMk/>
            <pc:sldMk cId="869033062" sldId="2147480499"/>
            <ac:picMk id="47" creationId="{189AA276-AF58-1AD3-4754-6A5C89FB3CA1}"/>
          </ac:picMkLst>
        </pc:picChg>
        <pc:cxnChg chg="mod">
          <ac:chgData name="Cuvillier, Nicolas" userId="c7f17e95-5c3e-462b-8857-a61ca2f84f6f" providerId="ADAL" clId="{421FC56B-1DFC-468F-8ADB-554CD8D34B85}" dt="2023-12-04T14:25:22.188" v="4185" actId="1076"/>
          <ac:cxnSpMkLst>
            <pc:docMk/>
            <pc:sldMk cId="869033062" sldId="2147480499"/>
            <ac:cxnSpMk id="19" creationId="{3F177DEA-56A9-E13A-E6BB-8DB89A89B8D0}"/>
          </ac:cxnSpMkLst>
        </pc:cxnChg>
        <pc:cxnChg chg="mod">
          <ac:chgData name="Cuvillier, Nicolas" userId="c7f17e95-5c3e-462b-8857-a61ca2f84f6f" providerId="ADAL" clId="{421FC56B-1DFC-468F-8ADB-554CD8D34B85}" dt="2023-12-04T14:25:22.188" v="4185" actId="1076"/>
          <ac:cxnSpMkLst>
            <pc:docMk/>
            <pc:sldMk cId="869033062" sldId="2147480499"/>
            <ac:cxnSpMk id="34" creationId="{9E3CB111-6AD5-83E5-8626-AAEFD279ABC7}"/>
          </ac:cxnSpMkLst>
        </pc:cxnChg>
      </pc:sldChg>
      <pc:sldChg chg="addSp delSp modSp mod ord">
        <pc:chgData name="Cuvillier, Nicolas" userId="c7f17e95-5c3e-462b-8857-a61ca2f84f6f" providerId="ADAL" clId="{421FC56B-1DFC-468F-8ADB-554CD8D34B85}" dt="2023-12-04T19:27:59.818" v="11452" actId="6549"/>
        <pc:sldMkLst>
          <pc:docMk/>
          <pc:sldMk cId="1364795187" sldId="2147480500"/>
        </pc:sldMkLst>
        <pc:spChg chg="add del mod modVis">
          <ac:chgData name="Cuvillier, Nicolas" userId="c7f17e95-5c3e-462b-8857-a61ca2f84f6f" providerId="ADAL" clId="{421FC56B-1DFC-468F-8ADB-554CD8D34B85}" dt="2023-12-04T12:56:23.515" v="974"/>
          <ac:spMkLst>
            <pc:docMk/>
            <pc:sldMk cId="1364795187" sldId="2147480500"/>
            <ac:spMk id="2" creationId="{9360707D-F310-EF01-BB10-BB6E5F49263B}"/>
          </ac:spMkLst>
        </pc:spChg>
        <pc:spChg chg="mod">
          <ac:chgData name="Cuvillier, Nicolas" userId="c7f17e95-5c3e-462b-8857-a61ca2f84f6f" providerId="ADAL" clId="{421FC56B-1DFC-468F-8ADB-554CD8D34B85}" dt="2023-12-04T18:56:45.990" v="10057" actId="20577"/>
          <ac:spMkLst>
            <pc:docMk/>
            <pc:sldMk cId="1364795187" sldId="2147480500"/>
            <ac:spMk id="4" creationId="{DF884FB3-6C01-F685-77F6-4D1FA5C1E1B5}"/>
          </ac:spMkLst>
        </pc:spChg>
        <pc:spChg chg="mod">
          <ac:chgData name="Cuvillier, Nicolas" userId="c7f17e95-5c3e-462b-8857-a61ca2f84f6f" providerId="ADAL" clId="{421FC56B-1DFC-468F-8ADB-554CD8D34B85}" dt="2023-12-04T14:26:39.422" v="4244" actId="1076"/>
          <ac:spMkLst>
            <pc:docMk/>
            <pc:sldMk cId="1364795187" sldId="2147480500"/>
            <ac:spMk id="7" creationId="{DA28DF84-7415-DB6D-9B4D-2F4E5DBAC434}"/>
          </ac:spMkLst>
        </pc:spChg>
        <pc:spChg chg="add del mod">
          <ac:chgData name="Cuvillier, Nicolas" userId="c7f17e95-5c3e-462b-8857-a61ca2f84f6f" providerId="ADAL" clId="{421FC56B-1DFC-468F-8ADB-554CD8D34B85}" dt="2023-12-04T14:26:33.568" v="4238" actId="478"/>
          <ac:spMkLst>
            <pc:docMk/>
            <pc:sldMk cId="1364795187" sldId="2147480500"/>
            <ac:spMk id="8" creationId="{C27DCFA1-5658-D3E0-DFB0-C73B1CDBA4B4}"/>
          </ac:spMkLst>
        </pc:spChg>
        <pc:spChg chg="mod">
          <ac:chgData name="Cuvillier, Nicolas" userId="c7f17e95-5c3e-462b-8857-a61ca2f84f6f" providerId="ADAL" clId="{421FC56B-1DFC-468F-8ADB-554CD8D34B85}" dt="2023-12-04T18:54:57.490" v="9884" actId="20577"/>
          <ac:spMkLst>
            <pc:docMk/>
            <pc:sldMk cId="1364795187" sldId="2147480500"/>
            <ac:spMk id="14" creationId="{EC347EB2-A17C-9756-6F8A-FA325CAB65BB}"/>
          </ac:spMkLst>
        </pc:spChg>
        <pc:spChg chg="mod">
          <ac:chgData name="Cuvillier, Nicolas" userId="c7f17e95-5c3e-462b-8857-a61ca2f84f6f" providerId="ADAL" clId="{421FC56B-1DFC-468F-8ADB-554CD8D34B85}" dt="2023-12-04T14:26:43.405" v="4245" actId="1076"/>
          <ac:spMkLst>
            <pc:docMk/>
            <pc:sldMk cId="1364795187" sldId="2147480500"/>
            <ac:spMk id="16" creationId="{9ED70E17-D43A-EB34-683C-DBE41182BC60}"/>
          </ac:spMkLst>
        </pc:spChg>
        <pc:spChg chg="mod">
          <ac:chgData name="Cuvillier, Nicolas" userId="c7f17e95-5c3e-462b-8857-a61ca2f84f6f" providerId="ADAL" clId="{421FC56B-1DFC-468F-8ADB-554CD8D34B85}" dt="2023-12-04T14:26:39.422" v="4244" actId="1076"/>
          <ac:spMkLst>
            <pc:docMk/>
            <pc:sldMk cId="1364795187" sldId="2147480500"/>
            <ac:spMk id="17" creationId="{3119BBCB-5A35-97C6-C2D5-DDB2A67858B4}"/>
          </ac:spMkLst>
        </pc:spChg>
        <pc:spChg chg="mod">
          <ac:chgData name="Cuvillier, Nicolas" userId="c7f17e95-5c3e-462b-8857-a61ca2f84f6f" providerId="ADAL" clId="{421FC56B-1DFC-468F-8ADB-554CD8D34B85}" dt="2023-12-04T14:26:39.422" v="4244" actId="1076"/>
          <ac:spMkLst>
            <pc:docMk/>
            <pc:sldMk cId="1364795187" sldId="2147480500"/>
            <ac:spMk id="21" creationId="{42205D9C-ADE6-DA19-CECA-2D7F23653BCC}"/>
          </ac:spMkLst>
        </pc:spChg>
        <pc:spChg chg="del mod">
          <ac:chgData name="Cuvillier, Nicolas" userId="c7f17e95-5c3e-462b-8857-a61ca2f84f6f" providerId="ADAL" clId="{421FC56B-1DFC-468F-8ADB-554CD8D34B85}" dt="2023-12-04T14:26:32.705" v="4233" actId="478"/>
          <ac:spMkLst>
            <pc:docMk/>
            <pc:sldMk cId="1364795187" sldId="2147480500"/>
            <ac:spMk id="22" creationId="{23413B08-5FEA-6306-84D4-A9BCC06F2A31}"/>
          </ac:spMkLst>
        </pc:spChg>
        <pc:spChg chg="mod">
          <ac:chgData name="Cuvillier, Nicolas" userId="c7f17e95-5c3e-462b-8857-a61ca2f84f6f" providerId="ADAL" clId="{421FC56B-1DFC-468F-8ADB-554CD8D34B85}" dt="2023-12-04T14:26:39.422" v="4244" actId="1076"/>
          <ac:spMkLst>
            <pc:docMk/>
            <pc:sldMk cId="1364795187" sldId="2147480500"/>
            <ac:spMk id="23" creationId="{60597E66-83FC-AF81-6604-C1DB01380F18}"/>
          </ac:spMkLst>
        </pc:spChg>
        <pc:spChg chg="mod">
          <ac:chgData name="Cuvillier, Nicolas" userId="c7f17e95-5c3e-462b-8857-a61ca2f84f6f" providerId="ADAL" clId="{421FC56B-1DFC-468F-8ADB-554CD8D34B85}" dt="2023-12-04T14:26:39.422" v="4244" actId="1076"/>
          <ac:spMkLst>
            <pc:docMk/>
            <pc:sldMk cId="1364795187" sldId="2147480500"/>
            <ac:spMk id="24" creationId="{D5173955-0A5F-1F86-E19C-0100540A9836}"/>
          </ac:spMkLst>
        </pc:spChg>
        <pc:spChg chg="mod">
          <ac:chgData name="Cuvillier, Nicolas" userId="c7f17e95-5c3e-462b-8857-a61ca2f84f6f" providerId="ADAL" clId="{421FC56B-1DFC-468F-8ADB-554CD8D34B85}" dt="2023-12-04T19:27:59.818" v="11452" actId="6549"/>
          <ac:spMkLst>
            <pc:docMk/>
            <pc:sldMk cId="1364795187" sldId="2147480500"/>
            <ac:spMk id="25" creationId="{958D2966-7E7D-9813-B536-FF656F5DC453}"/>
          </ac:spMkLst>
        </pc:spChg>
        <pc:spChg chg="del">
          <ac:chgData name="Cuvillier, Nicolas" userId="c7f17e95-5c3e-462b-8857-a61ca2f84f6f" providerId="ADAL" clId="{421FC56B-1DFC-468F-8ADB-554CD8D34B85}" dt="2023-12-04T14:26:34.972" v="4243" actId="478"/>
          <ac:spMkLst>
            <pc:docMk/>
            <pc:sldMk cId="1364795187" sldId="2147480500"/>
            <ac:spMk id="26" creationId="{49C9CE68-3076-3846-BDBC-BA436D8237D3}"/>
          </ac:spMkLst>
        </pc:spChg>
        <pc:spChg chg="mod">
          <ac:chgData name="Cuvillier, Nicolas" userId="c7f17e95-5c3e-462b-8857-a61ca2f84f6f" providerId="ADAL" clId="{421FC56B-1DFC-468F-8ADB-554CD8D34B85}" dt="2023-12-04T18:49:18.008" v="9640" actId="20577"/>
          <ac:spMkLst>
            <pc:docMk/>
            <pc:sldMk cId="1364795187" sldId="2147480500"/>
            <ac:spMk id="27" creationId="{E1366F96-29C8-F300-6344-34F16AE85E10}"/>
          </ac:spMkLst>
        </pc:spChg>
        <pc:spChg chg="mod">
          <ac:chgData name="Cuvillier, Nicolas" userId="c7f17e95-5c3e-462b-8857-a61ca2f84f6f" providerId="ADAL" clId="{421FC56B-1DFC-468F-8ADB-554CD8D34B85}" dt="2023-12-04T14:26:39.422" v="4244" actId="1076"/>
          <ac:spMkLst>
            <pc:docMk/>
            <pc:sldMk cId="1364795187" sldId="2147480500"/>
            <ac:spMk id="28" creationId="{91C85F53-0BAC-0392-CDB8-86024CC7523A}"/>
          </ac:spMkLst>
        </pc:spChg>
        <pc:spChg chg="mod">
          <ac:chgData name="Cuvillier, Nicolas" userId="c7f17e95-5c3e-462b-8857-a61ca2f84f6f" providerId="ADAL" clId="{421FC56B-1DFC-468F-8ADB-554CD8D34B85}" dt="2023-12-04T14:26:39.422" v="4244" actId="1076"/>
          <ac:spMkLst>
            <pc:docMk/>
            <pc:sldMk cId="1364795187" sldId="2147480500"/>
            <ac:spMk id="35" creationId="{4D3F7C0A-B149-1D73-324F-73B6CC4231CD}"/>
          </ac:spMkLst>
        </pc:spChg>
        <pc:spChg chg="mod">
          <ac:chgData name="Cuvillier, Nicolas" userId="c7f17e95-5c3e-462b-8857-a61ca2f84f6f" providerId="ADAL" clId="{421FC56B-1DFC-468F-8ADB-554CD8D34B85}" dt="2023-12-04T14:26:39.422" v="4244" actId="1076"/>
          <ac:spMkLst>
            <pc:docMk/>
            <pc:sldMk cId="1364795187" sldId="2147480500"/>
            <ac:spMk id="37" creationId="{334ADF48-30AE-4246-8BEE-2FDDBB4368CB}"/>
          </ac:spMkLst>
        </pc:spChg>
        <pc:spChg chg="mod">
          <ac:chgData name="Cuvillier, Nicolas" userId="c7f17e95-5c3e-462b-8857-a61ca2f84f6f" providerId="ADAL" clId="{421FC56B-1DFC-468F-8ADB-554CD8D34B85}" dt="2023-12-04T14:26:39.422" v="4244" actId="1076"/>
          <ac:spMkLst>
            <pc:docMk/>
            <pc:sldMk cId="1364795187" sldId="2147480500"/>
            <ac:spMk id="38" creationId="{D2D970F1-37BA-0616-2151-DCC1AEF77E1D}"/>
          </ac:spMkLst>
        </pc:spChg>
        <pc:spChg chg="mod">
          <ac:chgData name="Cuvillier, Nicolas" userId="c7f17e95-5c3e-462b-8857-a61ca2f84f6f" providerId="ADAL" clId="{421FC56B-1DFC-468F-8ADB-554CD8D34B85}" dt="2023-12-04T14:26:43.405" v="4245" actId="1076"/>
          <ac:spMkLst>
            <pc:docMk/>
            <pc:sldMk cId="1364795187" sldId="2147480500"/>
            <ac:spMk id="42" creationId="{485BE980-4CAE-546A-8B7B-9AA67914D615}"/>
          </ac:spMkLst>
        </pc:spChg>
        <pc:spChg chg="mod">
          <ac:chgData name="Cuvillier, Nicolas" userId="c7f17e95-5c3e-462b-8857-a61ca2f84f6f" providerId="ADAL" clId="{421FC56B-1DFC-468F-8ADB-554CD8D34B85}" dt="2023-12-04T14:26:43.405" v="4245" actId="1076"/>
          <ac:spMkLst>
            <pc:docMk/>
            <pc:sldMk cId="1364795187" sldId="2147480500"/>
            <ac:spMk id="43" creationId="{767A204F-B82D-9B45-C891-CB44AC007AB1}"/>
          </ac:spMkLst>
        </pc:spChg>
        <pc:spChg chg="mod">
          <ac:chgData name="Cuvillier, Nicolas" userId="c7f17e95-5c3e-462b-8857-a61ca2f84f6f" providerId="ADAL" clId="{421FC56B-1DFC-468F-8ADB-554CD8D34B85}" dt="2023-12-04T15:28:08.620" v="5066" actId="14100"/>
          <ac:spMkLst>
            <pc:docMk/>
            <pc:sldMk cId="1364795187" sldId="2147480500"/>
            <ac:spMk id="46" creationId="{249DB55A-FAB5-E808-B0E3-2CA04B2D9BC3}"/>
          </ac:spMkLst>
        </pc:spChg>
        <pc:grpChg chg="mod">
          <ac:chgData name="Cuvillier, Nicolas" userId="c7f17e95-5c3e-462b-8857-a61ca2f84f6f" providerId="ADAL" clId="{421FC56B-1DFC-468F-8ADB-554CD8D34B85}" dt="2023-12-04T14:26:39.422" v="4244" actId="1076"/>
          <ac:grpSpMkLst>
            <pc:docMk/>
            <pc:sldMk cId="1364795187" sldId="2147480500"/>
            <ac:grpSpMk id="13" creationId="{D8292D40-362E-55F5-8A84-1B9683FCC623}"/>
          </ac:grpSpMkLst>
        </pc:grpChg>
        <pc:graphicFrameChg chg="mod">
          <ac:chgData name="Cuvillier, Nicolas" userId="c7f17e95-5c3e-462b-8857-a61ca2f84f6f" providerId="ADAL" clId="{421FC56B-1DFC-468F-8ADB-554CD8D34B85}" dt="2023-12-04T14:26:34.073" v="4242"/>
          <ac:graphicFrameMkLst>
            <pc:docMk/>
            <pc:sldMk cId="1364795187" sldId="2147480500"/>
            <ac:graphicFrameMk id="6" creationId="{1532DC8D-EF10-C559-FE82-D80CBE53E380}"/>
          </ac:graphicFrameMkLst>
        </pc:graphicFrameChg>
        <pc:picChg chg="mod">
          <ac:chgData name="Cuvillier, Nicolas" userId="c7f17e95-5c3e-462b-8857-a61ca2f84f6f" providerId="ADAL" clId="{421FC56B-1DFC-468F-8ADB-554CD8D34B85}" dt="2023-12-04T14:26:39.422" v="4244" actId="1076"/>
          <ac:picMkLst>
            <pc:docMk/>
            <pc:sldMk cId="1364795187" sldId="2147480500"/>
            <ac:picMk id="5" creationId="{AD8C3515-AF2C-9985-6CBF-B2D736D5544D}"/>
          </ac:picMkLst>
        </pc:picChg>
        <pc:picChg chg="add mod">
          <ac:chgData name="Cuvillier, Nicolas" userId="c7f17e95-5c3e-462b-8857-a61ca2f84f6f" providerId="ADAL" clId="{421FC56B-1DFC-468F-8ADB-554CD8D34B85}" dt="2023-12-04T14:32:43.696" v="4888"/>
          <ac:picMkLst>
            <pc:docMk/>
            <pc:sldMk cId="1364795187" sldId="2147480500"/>
            <ac:picMk id="9" creationId="{EAB24CCB-CE35-76F7-F8FD-05C2D966BC45}"/>
          </ac:picMkLst>
        </pc:picChg>
        <pc:picChg chg="mod">
          <ac:chgData name="Cuvillier, Nicolas" userId="c7f17e95-5c3e-462b-8857-a61ca2f84f6f" providerId="ADAL" clId="{421FC56B-1DFC-468F-8ADB-554CD8D34B85}" dt="2023-12-04T14:26:39.422" v="4244" actId="1076"/>
          <ac:picMkLst>
            <pc:docMk/>
            <pc:sldMk cId="1364795187" sldId="2147480500"/>
            <ac:picMk id="30" creationId="{70AF88D3-D5BC-BD5E-331A-63ECD9B0817B}"/>
          </ac:picMkLst>
        </pc:picChg>
        <pc:picChg chg="mod">
          <ac:chgData name="Cuvillier, Nicolas" userId="c7f17e95-5c3e-462b-8857-a61ca2f84f6f" providerId="ADAL" clId="{421FC56B-1DFC-468F-8ADB-554CD8D34B85}" dt="2023-12-04T14:26:39.422" v="4244" actId="1076"/>
          <ac:picMkLst>
            <pc:docMk/>
            <pc:sldMk cId="1364795187" sldId="2147480500"/>
            <ac:picMk id="32" creationId="{952CA112-385D-4461-4175-7146BCA7D62E}"/>
          </ac:picMkLst>
        </pc:picChg>
        <pc:picChg chg="mod">
          <ac:chgData name="Cuvillier, Nicolas" userId="c7f17e95-5c3e-462b-8857-a61ca2f84f6f" providerId="ADAL" clId="{421FC56B-1DFC-468F-8ADB-554CD8D34B85}" dt="2023-12-04T14:26:39.422" v="4244" actId="1076"/>
          <ac:picMkLst>
            <pc:docMk/>
            <pc:sldMk cId="1364795187" sldId="2147480500"/>
            <ac:picMk id="36" creationId="{9C2D8DC6-2D1B-CA94-C0A3-C7A549B9CEB8}"/>
          </ac:picMkLst>
        </pc:picChg>
        <pc:picChg chg="del mod">
          <ac:chgData name="Cuvillier, Nicolas" userId="c7f17e95-5c3e-462b-8857-a61ca2f84f6f" providerId="ADAL" clId="{421FC56B-1DFC-468F-8ADB-554CD8D34B85}" dt="2023-12-04T14:31:23.255" v="4761" actId="478"/>
          <ac:picMkLst>
            <pc:docMk/>
            <pc:sldMk cId="1364795187" sldId="2147480500"/>
            <ac:picMk id="39" creationId="{52C83BD0-11B4-F38F-F21C-6C0D3C37DA4B}"/>
          </ac:picMkLst>
        </pc:picChg>
        <pc:picChg chg="mod">
          <ac:chgData name="Cuvillier, Nicolas" userId="c7f17e95-5c3e-462b-8857-a61ca2f84f6f" providerId="ADAL" clId="{421FC56B-1DFC-468F-8ADB-554CD8D34B85}" dt="2023-12-04T14:26:39.422" v="4244" actId="1076"/>
          <ac:picMkLst>
            <pc:docMk/>
            <pc:sldMk cId="1364795187" sldId="2147480500"/>
            <ac:picMk id="40" creationId="{C6DA75DB-CCAA-913C-761F-9BF9C2620783}"/>
          </ac:picMkLst>
        </pc:picChg>
        <pc:picChg chg="mod">
          <ac:chgData name="Cuvillier, Nicolas" userId="c7f17e95-5c3e-462b-8857-a61ca2f84f6f" providerId="ADAL" clId="{421FC56B-1DFC-468F-8ADB-554CD8D34B85}" dt="2023-12-04T14:26:39.422" v="4244" actId="1076"/>
          <ac:picMkLst>
            <pc:docMk/>
            <pc:sldMk cId="1364795187" sldId="2147480500"/>
            <ac:picMk id="45" creationId="{D1448623-626A-2AAE-3D98-A749B6240C05}"/>
          </ac:picMkLst>
        </pc:picChg>
        <pc:picChg chg="mod">
          <ac:chgData name="Cuvillier, Nicolas" userId="c7f17e95-5c3e-462b-8857-a61ca2f84f6f" providerId="ADAL" clId="{421FC56B-1DFC-468F-8ADB-554CD8D34B85}" dt="2023-12-04T14:26:39.422" v="4244" actId="1076"/>
          <ac:picMkLst>
            <pc:docMk/>
            <pc:sldMk cId="1364795187" sldId="2147480500"/>
            <ac:picMk id="47" creationId="{189AA276-AF58-1AD3-4754-6A5C89FB3CA1}"/>
          </ac:picMkLst>
        </pc:picChg>
        <pc:cxnChg chg="mod">
          <ac:chgData name="Cuvillier, Nicolas" userId="c7f17e95-5c3e-462b-8857-a61ca2f84f6f" providerId="ADAL" clId="{421FC56B-1DFC-468F-8ADB-554CD8D34B85}" dt="2023-12-04T14:26:39.422" v="4244" actId="1076"/>
          <ac:cxnSpMkLst>
            <pc:docMk/>
            <pc:sldMk cId="1364795187" sldId="2147480500"/>
            <ac:cxnSpMk id="29" creationId="{3C54040F-052F-1BDA-B90C-98184F9750C7}"/>
          </ac:cxnSpMkLst>
        </pc:cxnChg>
        <pc:cxnChg chg="mod">
          <ac:chgData name="Cuvillier, Nicolas" userId="c7f17e95-5c3e-462b-8857-a61ca2f84f6f" providerId="ADAL" clId="{421FC56B-1DFC-468F-8ADB-554CD8D34B85}" dt="2023-12-04T14:26:39.422" v="4244" actId="1076"/>
          <ac:cxnSpMkLst>
            <pc:docMk/>
            <pc:sldMk cId="1364795187" sldId="2147480500"/>
            <ac:cxnSpMk id="34" creationId="{9E3CB111-6AD5-83E5-8626-AAEFD279ABC7}"/>
          </ac:cxnSpMkLst>
        </pc:cxnChg>
      </pc:sldChg>
      <pc:sldChg chg="addSp delSp modSp mod ord">
        <pc:chgData name="Cuvillier, Nicolas" userId="c7f17e95-5c3e-462b-8857-a61ca2f84f6f" providerId="ADAL" clId="{421FC56B-1DFC-468F-8ADB-554CD8D34B85}" dt="2023-12-04T19:27:53.399" v="11448" actId="6549"/>
        <pc:sldMkLst>
          <pc:docMk/>
          <pc:sldMk cId="928524231" sldId="2147480501"/>
        </pc:sldMkLst>
        <pc:spChg chg="add del mod modVis">
          <ac:chgData name="Cuvillier, Nicolas" userId="c7f17e95-5c3e-462b-8857-a61ca2f84f6f" providerId="ADAL" clId="{421FC56B-1DFC-468F-8ADB-554CD8D34B85}" dt="2023-12-04T12:56:16.378" v="887"/>
          <ac:spMkLst>
            <pc:docMk/>
            <pc:sldMk cId="928524231" sldId="2147480501"/>
            <ac:spMk id="2" creationId="{52A4C5BB-5C33-0D5B-678E-FC5538EC36ED}"/>
          </ac:spMkLst>
        </pc:spChg>
        <pc:spChg chg="mod">
          <ac:chgData name="Cuvillier, Nicolas" userId="c7f17e95-5c3e-462b-8857-a61ca2f84f6f" providerId="ADAL" clId="{421FC56B-1DFC-468F-8ADB-554CD8D34B85}" dt="2023-12-04T17:30:06.541" v="7163" actId="20577"/>
          <ac:spMkLst>
            <pc:docMk/>
            <pc:sldMk cId="928524231" sldId="2147480501"/>
            <ac:spMk id="4" creationId="{DF884FB3-6C01-F685-77F6-4D1FA5C1E1B5}"/>
          </ac:spMkLst>
        </pc:spChg>
        <pc:spChg chg="mod">
          <ac:chgData name="Cuvillier, Nicolas" userId="c7f17e95-5c3e-462b-8857-a61ca2f84f6f" providerId="ADAL" clId="{421FC56B-1DFC-468F-8ADB-554CD8D34B85}" dt="2023-12-04T14:24:13.505" v="4154" actId="1076"/>
          <ac:spMkLst>
            <pc:docMk/>
            <pc:sldMk cId="928524231" sldId="2147480501"/>
            <ac:spMk id="7" creationId="{DA28DF84-7415-DB6D-9B4D-2F4E5DBAC434}"/>
          </ac:spMkLst>
        </pc:spChg>
        <pc:spChg chg="add del mod">
          <ac:chgData name="Cuvillier, Nicolas" userId="c7f17e95-5c3e-462b-8857-a61ca2f84f6f" providerId="ADAL" clId="{421FC56B-1DFC-468F-8ADB-554CD8D34B85}" dt="2023-12-04T14:24:15.352" v="4155" actId="478"/>
          <ac:spMkLst>
            <pc:docMk/>
            <pc:sldMk cId="928524231" sldId="2147480501"/>
            <ac:spMk id="8" creationId="{57386001-5185-25C6-11F7-CDB4FBE2956A}"/>
          </ac:spMkLst>
        </pc:spChg>
        <pc:spChg chg="mod">
          <ac:chgData name="Cuvillier, Nicolas" userId="c7f17e95-5c3e-462b-8857-a61ca2f84f6f" providerId="ADAL" clId="{421FC56B-1DFC-468F-8ADB-554CD8D34B85}" dt="2023-12-04T14:25:45.940" v="4206" actId="1035"/>
          <ac:spMkLst>
            <pc:docMk/>
            <pc:sldMk cId="928524231" sldId="2147480501"/>
            <ac:spMk id="16" creationId="{9ED70E17-D43A-EB34-683C-DBE41182BC60}"/>
          </ac:spMkLst>
        </pc:spChg>
        <pc:spChg chg="mod">
          <ac:chgData name="Cuvillier, Nicolas" userId="c7f17e95-5c3e-462b-8857-a61ca2f84f6f" providerId="ADAL" clId="{421FC56B-1DFC-468F-8ADB-554CD8D34B85}" dt="2023-12-04T14:24:13.505" v="4154" actId="1076"/>
          <ac:spMkLst>
            <pc:docMk/>
            <pc:sldMk cId="928524231" sldId="2147480501"/>
            <ac:spMk id="17" creationId="{3119BBCB-5A35-97C6-C2D5-DDB2A67858B4}"/>
          </ac:spMkLst>
        </pc:spChg>
        <pc:spChg chg="mod">
          <ac:chgData name="Cuvillier, Nicolas" userId="c7f17e95-5c3e-462b-8857-a61ca2f84f6f" providerId="ADAL" clId="{421FC56B-1DFC-468F-8ADB-554CD8D34B85}" dt="2023-12-04T14:24:13.505" v="4154" actId="1076"/>
          <ac:spMkLst>
            <pc:docMk/>
            <pc:sldMk cId="928524231" sldId="2147480501"/>
            <ac:spMk id="19" creationId="{CBE38BAF-A334-B923-B82B-1524DF2F2CCC}"/>
          </ac:spMkLst>
        </pc:spChg>
        <pc:spChg chg="del mod">
          <ac:chgData name="Cuvillier, Nicolas" userId="c7f17e95-5c3e-462b-8857-a61ca2f84f6f" providerId="ADAL" clId="{421FC56B-1DFC-468F-8ADB-554CD8D34B85}" dt="2023-12-04T14:24:07.257" v="4149" actId="478"/>
          <ac:spMkLst>
            <pc:docMk/>
            <pc:sldMk cId="928524231" sldId="2147480501"/>
            <ac:spMk id="22" creationId="{23413B08-5FEA-6306-84D4-A9BCC06F2A31}"/>
          </ac:spMkLst>
        </pc:spChg>
        <pc:spChg chg="mod">
          <ac:chgData name="Cuvillier, Nicolas" userId="c7f17e95-5c3e-462b-8857-a61ca2f84f6f" providerId="ADAL" clId="{421FC56B-1DFC-468F-8ADB-554CD8D34B85}" dt="2023-12-04T14:24:13.505" v="4154" actId="1076"/>
          <ac:spMkLst>
            <pc:docMk/>
            <pc:sldMk cId="928524231" sldId="2147480501"/>
            <ac:spMk id="23" creationId="{60597E66-83FC-AF81-6604-C1DB01380F18}"/>
          </ac:spMkLst>
        </pc:spChg>
        <pc:spChg chg="mod">
          <ac:chgData name="Cuvillier, Nicolas" userId="c7f17e95-5c3e-462b-8857-a61ca2f84f6f" providerId="ADAL" clId="{421FC56B-1DFC-468F-8ADB-554CD8D34B85}" dt="2023-12-04T14:24:13.505" v="4154" actId="1076"/>
          <ac:spMkLst>
            <pc:docMk/>
            <pc:sldMk cId="928524231" sldId="2147480501"/>
            <ac:spMk id="24" creationId="{D5173955-0A5F-1F86-E19C-0100540A9836}"/>
          </ac:spMkLst>
        </pc:spChg>
        <pc:spChg chg="mod">
          <ac:chgData name="Cuvillier, Nicolas" userId="c7f17e95-5c3e-462b-8857-a61ca2f84f6f" providerId="ADAL" clId="{421FC56B-1DFC-468F-8ADB-554CD8D34B85}" dt="2023-12-04T19:27:53.399" v="11448" actId="6549"/>
          <ac:spMkLst>
            <pc:docMk/>
            <pc:sldMk cId="928524231" sldId="2147480501"/>
            <ac:spMk id="25" creationId="{958D2966-7E7D-9813-B536-FF656F5DC453}"/>
          </ac:spMkLst>
        </pc:spChg>
        <pc:spChg chg="del mod">
          <ac:chgData name="Cuvillier, Nicolas" userId="c7f17e95-5c3e-462b-8857-a61ca2f84f6f" providerId="ADAL" clId="{421FC56B-1DFC-468F-8ADB-554CD8D34B85}" dt="2023-12-04T14:24:19.618" v="4161" actId="478"/>
          <ac:spMkLst>
            <pc:docMk/>
            <pc:sldMk cId="928524231" sldId="2147480501"/>
            <ac:spMk id="26" creationId="{49C9CE68-3076-3846-BDBC-BA436D8237D3}"/>
          </ac:spMkLst>
        </pc:spChg>
        <pc:spChg chg="mod">
          <ac:chgData name="Cuvillier, Nicolas" userId="c7f17e95-5c3e-462b-8857-a61ca2f84f6f" providerId="ADAL" clId="{421FC56B-1DFC-468F-8ADB-554CD8D34B85}" dt="2023-12-04T18:14:32.707" v="8338" actId="20577"/>
          <ac:spMkLst>
            <pc:docMk/>
            <pc:sldMk cId="928524231" sldId="2147480501"/>
            <ac:spMk id="27" creationId="{E1366F96-29C8-F300-6344-34F16AE85E10}"/>
          </ac:spMkLst>
        </pc:spChg>
        <pc:spChg chg="mod">
          <ac:chgData name="Cuvillier, Nicolas" userId="c7f17e95-5c3e-462b-8857-a61ca2f84f6f" providerId="ADAL" clId="{421FC56B-1DFC-468F-8ADB-554CD8D34B85}" dt="2023-12-04T14:24:13.505" v="4154" actId="1076"/>
          <ac:spMkLst>
            <pc:docMk/>
            <pc:sldMk cId="928524231" sldId="2147480501"/>
            <ac:spMk id="31" creationId="{740AF070-33B2-1F8C-5853-5DBA2EC215A1}"/>
          </ac:spMkLst>
        </pc:spChg>
        <pc:spChg chg="mod">
          <ac:chgData name="Cuvillier, Nicolas" userId="c7f17e95-5c3e-462b-8857-a61ca2f84f6f" providerId="ADAL" clId="{421FC56B-1DFC-468F-8ADB-554CD8D34B85}" dt="2023-12-04T14:24:13.505" v="4154" actId="1076"/>
          <ac:spMkLst>
            <pc:docMk/>
            <pc:sldMk cId="928524231" sldId="2147480501"/>
            <ac:spMk id="35" creationId="{4D3F7C0A-B149-1D73-324F-73B6CC4231CD}"/>
          </ac:spMkLst>
        </pc:spChg>
        <pc:spChg chg="mod">
          <ac:chgData name="Cuvillier, Nicolas" userId="c7f17e95-5c3e-462b-8857-a61ca2f84f6f" providerId="ADAL" clId="{421FC56B-1DFC-468F-8ADB-554CD8D34B85}" dt="2023-12-04T14:24:13.505" v="4154" actId="1076"/>
          <ac:spMkLst>
            <pc:docMk/>
            <pc:sldMk cId="928524231" sldId="2147480501"/>
            <ac:spMk id="37" creationId="{334ADF48-30AE-4246-8BEE-2FDDBB4368CB}"/>
          </ac:spMkLst>
        </pc:spChg>
        <pc:spChg chg="mod ord">
          <ac:chgData name="Cuvillier, Nicolas" userId="c7f17e95-5c3e-462b-8857-a61ca2f84f6f" providerId="ADAL" clId="{421FC56B-1DFC-468F-8ADB-554CD8D34B85}" dt="2023-12-04T14:32:05.678" v="4815" actId="14100"/>
          <ac:spMkLst>
            <pc:docMk/>
            <pc:sldMk cId="928524231" sldId="2147480501"/>
            <ac:spMk id="38" creationId="{D2D970F1-37BA-0616-2151-DCC1AEF77E1D}"/>
          </ac:spMkLst>
        </pc:spChg>
        <pc:spChg chg="mod">
          <ac:chgData name="Cuvillier, Nicolas" userId="c7f17e95-5c3e-462b-8857-a61ca2f84f6f" providerId="ADAL" clId="{421FC56B-1DFC-468F-8ADB-554CD8D34B85}" dt="2023-12-04T14:25:45.940" v="4206" actId="1035"/>
          <ac:spMkLst>
            <pc:docMk/>
            <pc:sldMk cId="928524231" sldId="2147480501"/>
            <ac:spMk id="42" creationId="{485BE980-4CAE-546A-8B7B-9AA67914D615}"/>
          </ac:spMkLst>
        </pc:spChg>
        <pc:spChg chg="mod">
          <ac:chgData name="Cuvillier, Nicolas" userId="c7f17e95-5c3e-462b-8857-a61ca2f84f6f" providerId="ADAL" clId="{421FC56B-1DFC-468F-8ADB-554CD8D34B85}" dt="2023-12-04T14:25:45.940" v="4206" actId="1035"/>
          <ac:spMkLst>
            <pc:docMk/>
            <pc:sldMk cId="928524231" sldId="2147480501"/>
            <ac:spMk id="43" creationId="{767A204F-B82D-9B45-C891-CB44AC007AB1}"/>
          </ac:spMkLst>
        </pc:spChg>
        <pc:grpChg chg="mod">
          <ac:chgData name="Cuvillier, Nicolas" userId="c7f17e95-5c3e-462b-8857-a61ca2f84f6f" providerId="ADAL" clId="{421FC56B-1DFC-468F-8ADB-554CD8D34B85}" dt="2023-12-04T14:24:13.505" v="4154" actId="1076"/>
          <ac:grpSpMkLst>
            <pc:docMk/>
            <pc:sldMk cId="928524231" sldId="2147480501"/>
            <ac:grpSpMk id="13" creationId="{D8292D40-362E-55F5-8A84-1B9683FCC623}"/>
          </ac:grpSpMkLst>
        </pc:grpChg>
        <pc:graphicFrameChg chg="mod">
          <ac:chgData name="Cuvillier, Nicolas" userId="c7f17e95-5c3e-462b-8857-a61ca2f84f6f" providerId="ADAL" clId="{421FC56B-1DFC-468F-8ADB-554CD8D34B85}" dt="2023-12-04T14:24:15.871" v="4159"/>
          <ac:graphicFrameMkLst>
            <pc:docMk/>
            <pc:sldMk cId="928524231" sldId="2147480501"/>
            <ac:graphicFrameMk id="6" creationId="{1532DC8D-EF10-C559-FE82-D80CBE53E380}"/>
          </ac:graphicFrameMkLst>
        </pc:graphicFrameChg>
        <pc:picChg chg="mod">
          <ac:chgData name="Cuvillier, Nicolas" userId="c7f17e95-5c3e-462b-8857-a61ca2f84f6f" providerId="ADAL" clId="{421FC56B-1DFC-468F-8ADB-554CD8D34B85}" dt="2023-12-04T14:24:13.505" v="4154" actId="1076"/>
          <ac:picMkLst>
            <pc:docMk/>
            <pc:sldMk cId="928524231" sldId="2147480501"/>
            <ac:picMk id="5" creationId="{AD8C3515-AF2C-9985-6CBF-B2D736D5544D}"/>
          </ac:picMkLst>
        </pc:picChg>
        <pc:picChg chg="add mod ord">
          <ac:chgData name="Cuvillier, Nicolas" userId="c7f17e95-5c3e-462b-8857-a61ca2f84f6f" providerId="ADAL" clId="{421FC56B-1DFC-468F-8ADB-554CD8D34B85}" dt="2023-12-04T14:32:16.255" v="4852" actId="14100"/>
          <ac:picMkLst>
            <pc:docMk/>
            <pc:sldMk cId="928524231" sldId="2147480501"/>
            <ac:picMk id="9" creationId="{18F63823-8AED-EB4D-2FD4-A3D12CD35236}"/>
          </ac:picMkLst>
        </pc:picChg>
        <pc:picChg chg="mod">
          <ac:chgData name="Cuvillier, Nicolas" userId="c7f17e95-5c3e-462b-8857-a61ca2f84f6f" providerId="ADAL" clId="{421FC56B-1DFC-468F-8ADB-554CD8D34B85}" dt="2023-12-04T14:24:13.505" v="4154" actId="1076"/>
          <ac:picMkLst>
            <pc:docMk/>
            <pc:sldMk cId="928524231" sldId="2147480501"/>
            <ac:picMk id="11" creationId="{50D176EB-4F36-6827-C273-43F90B6EFB9F}"/>
          </ac:picMkLst>
        </pc:picChg>
        <pc:picChg chg="mod">
          <ac:chgData name="Cuvillier, Nicolas" userId="c7f17e95-5c3e-462b-8857-a61ca2f84f6f" providerId="ADAL" clId="{421FC56B-1DFC-468F-8ADB-554CD8D34B85}" dt="2023-12-04T14:24:13.505" v="4154" actId="1076"/>
          <ac:picMkLst>
            <pc:docMk/>
            <pc:sldMk cId="928524231" sldId="2147480501"/>
            <ac:picMk id="18" creationId="{523F52AA-D6A8-650C-4613-576D461B391B}"/>
          </ac:picMkLst>
        </pc:picChg>
        <pc:picChg chg="mod">
          <ac:chgData name="Cuvillier, Nicolas" userId="c7f17e95-5c3e-462b-8857-a61ca2f84f6f" providerId="ADAL" clId="{421FC56B-1DFC-468F-8ADB-554CD8D34B85}" dt="2023-12-04T14:24:13.505" v="4154" actId="1076"/>
          <ac:picMkLst>
            <pc:docMk/>
            <pc:sldMk cId="928524231" sldId="2147480501"/>
            <ac:picMk id="20" creationId="{154BEF44-625C-CE11-E5B6-8DEA3C4C6DA5}"/>
          </ac:picMkLst>
        </pc:picChg>
        <pc:picChg chg="mod">
          <ac:chgData name="Cuvillier, Nicolas" userId="c7f17e95-5c3e-462b-8857-a61ca2f84f6f" providerId="ADAL" clId="{421FC56B-1DFC-468F-8ADB-554CD8D34B85}" dt="2023-12-04T14:24:13.505" v="4154" actId="1076"/>
          <ac:picMkLst>
            <pc:docMk/>
            <pc:sldMk cId="928524231" sldId="2147480501"/>
            <ac:picMk id="29" creationId="{627249F1-D669-09B0-AAFE-A3C6AD4D2794}"/>
          </ac:picMkLst>
        </pc:picChg>
        <pc:picChg chg="mod">
          <ac:chgData name="Cuvillier, Nicolas" userId="c7f17e95-5c3e-462b-8857-a61ca2f84f6f" providerId="ADAL" clId="{421FC56B-1DFC-468F-8ADB-554CD8D34B85}" dt="2023-12-04T14:24:13.505" v="4154" actId="1076"/>
          <ac:picMkLst>
            <pc:docMk/>
            <pc:sldMk cId="928524231" sldId="2147480501"/>
            <ac:picMk id="30" creationId="{70AF88D3-D5BC-BD5E-331A-63ECD9B0817B}"/>
          </ac:picMkLst>
        </pc:picChg>
        <pc:picChg chg="mod">
          <ac:chgData name="Cuvillier, Nicolas" userId="c7f17e95-5c3e-462b-8857-a61ca2f84f6f" providerId="ADAL" clId="{421FC56B-1DFC-468F-8ADB-554CD8D34B85}" dt="2023-12-04T14:24:13.505" v="4154" actId="1076"/>
          <ac:picMkLst>
            <pc:docMk/>
            <pc:sldMk cId="928524231" sldId="2147480501"/>
            <ac:picMk id="36" creationId="{38E01DB3-94DA-EE4A-182F-E501F7A9E18A}"/>
          </ac:picMkLst>
        </pc:picChg>
        <pc:picChg chg="del mod">
          <ac:chgData name="Cuvillier, Nicolas" userId="c7f17e95-5c3e-462b-8857-a61ca2f84f6f" providerId="ADAL" clId="{421FC56B-1DFC-468F-8ADB-554CD8D34B85}" dt="2023-12-04T14:31:05.426" v="4749" actId="478"/>
          <ac:picMkLst>
            <pc:docMk/>
            <pc:sldMk cId="928524231" sldId="2147480501"/>
            <ac:picMk id="39" creationId="{52C83BD0-11B4-F38F-F21C-6C0D3C37DA4B}"/>
          </ac:picMkLst>
        </pc:picChg>
        <pc:picChg chg="mod">
          <ac:chgData name="Cuvillier, Nicolas" userId="c7f17e95-5c3e-462b-8857-a61ca2f84f6f" providerId="ADAL" clId="{421FC56B-1DFC-468F-8ADB-554CD8D34B85}" dt="2023-12-04T14:24:13.505" v="4154" actId="1076"/>
          <ac:picMkLst>
            <pc:docMk/>
            <pc:sldMk cId="928524231" sldId="2147480501"/>
            <ac:picMk id="45" creationId="{D1448623-626A-2AAE-3D98-A749B6240C05}"/>
          </ac:picMkLst>
        </pc:picChg>
        <pc:picChg chg="mod">
          <ac:chgData name="Cuvillier, Nicolas" userId="c7f17e95-5c3e-462b-8857-a61ca2f84f6f" providerId="ADAL" clId="{421FC56B-1DFC-468F-8ADB-554CD8D34B85}" dt="2023-12-04T14:24:13.505" v="4154" actId="1076"/>
          <ac:picMkLst>
            <pc:docMk/>
            <pc:sldMk cId="928524231" sldId="2147480501"/>
            <ac:picMk id="47" creationId="{189AA276-AF58-1AD3-4754-6A5C89FB3CA1}"/>
          </ac:picMkLst>
        </pc:picChg>
        <pc:cxnChg chg="mod">
          <ac:chgData name="Cuvillier, Nicolas" userId="c7f17e95-5c3e-462b-8857-a61ca2f84f6f" providerId="ADAL" clId="{421FC56B-1DFC-468F-8ADB-554CD8D34B85}" dt="2023-12-04T14:24:13.505" v="4154" actId="1076"/>
          <ac:cxnSpMkLst>
            <pc:docMk/>
            <pc:sldMk cId="928524231" sldId="2147480501"/>
            <ac:cxnSpMk id="28" creationId="{D3A2CA40-6759-04CA-8BFA-9F3A03375EA5}"/>
          </ac:cxnSpMkLst>
        </pc:cxnChg>
        <pc:cxnChg chg="mod">
          <ac:chgData name="Cuvillier, Nicolas" userId="c7f17e95-5c3e-462b-8857-a61ca2f84f6f" providerId="ADAL" clId="{421FC56B-1DFC-468F-8ADB-554CD8D34B85}" dt="2023-12-04T14:24:13.505" v="4154" actId="1076"/>
          <ac:cxnSpMkLst>
            <pc:docMk/>
            <pc:sldMk cId="928524231" sldId="2147480501"/>
            <ac:cxnSpMk id="34" creationId="{9E3CB111-6AD5-83E5-8626-AAEFD279ABC7}"/>
          </ac:cxnSpMkLst>
        </pc:cxnChg>
      </pc:sldChg>
      <pc:sldChg chg="addSp delSp modSp mod ord">
        <pc:chgData name="Cuvillier, Nicolas" userId="c7f17e95-5c3e-462b-8857-a61ca2f84f6f" providerId="ADAL" clId="{421FC56B-1DFC-468F-8ADB-554CD8D34B85}" dt="2023-12-04T19:28:00.936" v="11453" actId="6549"/>
        <pc:sldMkLst>
          <pc:docMk/>
          <pc:sldMk cId="1006052917" sldId="2147480502"/>
        </pc:sldMkLst>
        <pc:spChg chg="add del mod">
          <ac:chgData name="Cuvillier, Nicolas" userId="c7f17e95-5c3e-462b-8857-a61ca2f84f6f" providerId="ADAL" clId="{421FC56B-1DFC-468F-8ADB-554CD8D34B85}" dt="2023-12-04T18:56:06.889" v="9992" actId="478"/>
          <ac:spMkLst>
            <pc:docMk/>
            <pc:sldMk cId="1006052917" sldId="2147480502"/>
            <ac:spMk id="2" creationId="{88C09560-BA47-8529-EDDF-9B130859448B}"/>
          </ac:spMkLst>
        </pc:spChg>
        <pc:spChg chg="add del mod modVis">
          <ac:chgData name="Cuvillier, Nicolas" userId="c7f17e95-5c3e-462b-8857-a61ca2f84f6f" providerId="ADAL" clId="{421FC56B-1DFC-468F-8ADB-554CD8D34B85}" dt="2023-12-04T12:56:25.485" v="1003"/>
          <ac:spMkLst>
            <pc:docMk/>
            <pc:sldMk cId="1006052917" sldId="2147480502"/>
            <ac:spMk id="2" creationId="{B79D93CB-CF71-710B-E63B-6856F06142DC}"/>
          </ac:spMkLst>
        </pc:spChg>
        <pc:spChg chg="mod">
          <ac:chgData name="Cuvillier, Nicolas" userId="c7f17e95-5c3e-462b-8857-a61ca2f84f6f" providerId="ADAL" clId="{421FC56B-1DFC-468F-8ADB-554CD8D34B85}" dt="2023-12-04T14:26:54.314" v="4258" actId="1076"/>
          <ac:spMkLst>
            <pc:docMk/>
            <pc:sldMk cId="1006052917" sldId="2147480502"/>
            <ac:spMk id="4" creationId="{DF884FB3-6C01-F685-77F6-4D1FA5C1E1B5}"/>
          </ac:spMkLst>
        </pc:spChg>
        <pc:spChg chg="mod">
          <ac:chgData name="Cuvillier, Nicolas" userId="c7f17e95-5c3e-462b-8857-a61ca2f84f6f" providerId="ADAL" clId="{421FC56B-1DFC-468F-8ADB-554CD8D34B85}" dt="2023-12-04T18:55:56.496" v="9890" actId="1076"/>
          <ac:spMkLst>
            <pc:docMk/>
            <pc:sldMk cId="1006052917" sldId="2147480502"/>
            <ac:spMk id="7" creationId="{DA28DF84-7415-DB6D-9B4D-2F4E5DBAC434}"/>
          </ac:spMkLst>
        </pc:spChg>
        <pc:spChg chg="add del mod">
          <ac:chgData name="Cuvillier, Nicolas" userId="c7f17e95-5c3e-462b-8857-a61ca2f84f6f" providerId="ADAL" clId="{421FC56B-1DFC-468F-8ADB-554CD8D34B85}" dt="2023-12-04T14:26:48.851" v="4251" actId="478"/>
          <ac:spMkLst>
            <pc:docMk/>
            <pc:sldMk cId="1006052917" sldId="2147480502"/>
            <ac:spMk id="8" creationId="{B5205AAE-6973-8D8A-F613-ED3B81A2F581}"/>
          </ac:spMkLst>
        </pc:spChg>
        <pc:spChg chg="mod">
          <ac:chgData name="Cuvillier, Nicolas" userId="c7f17e95-5c3e-462b-8857-a61ca2f84f6f" providerId="ADAL" clId="{421FC56B-1DFC-468F-8ADB-554CD8D34B85}" dt="2023-12-04T17:37:19.759" v="7219" actId="20577"/>
          <ac:spMkLst>
            <pc:docMk/>
            <pc:sldMk cId="1006052917" sldId="2147480502"/>
            <ac:spMk id="14" creationId="{EC347EB2-A17C-9756-6F8A-FA325CAB65BB}"/>
          </ac:spMkLst>
        </pc:spChg>
        <pc:spChg chg="mod">
          <ac:chgData name="Cuvillier, Nicolas" userId="c7f17e95-5c3e-462b-8857-a61ca2f84f6f" providerId="ADAL" clId="{421FC56B-1DFC-468F-8ADB-554CD8D34B85}" dt="2023-12-04T14:26:54.314" v="4258" actId="1076"/>
          <ac:spMkLst>
            <pc:docMk/>
            <pc:sldMk cId="1006052917" sldId="2147480502"/>
            <ac:spMk id="17" creationId="{3119BBCB-5A35-97C6-C2D5-DDB2A67858B4}"/>
          </ac:spMkLst>
        </pc:spChg>
        <pc:spChg chg="mod">
          <ac:chgData name="Cuvillier, Nicolas" userId="c7f17e95-5c3e-462b-8857-a61ca2f84f6f" providerId="ADAL" clId="{421FC56B-1DFC-468F-8ADB-554CD8D34B85}" dt="2023-12-04T14:26:54.314" v="4258" actId="1076"/>
          <ac:spMkLst>
            <pc:docMk/>
            <pc:sldMk cId="1006052917" sldId="2147480502"/>
            <ac:spMk id="21" creationId="{42205D9C-ADE6-DA19-CECA-2D7F23653BCC}"/>
          </ac:spMkLst>
        </pc:spChg>
        <pc:spChg chg="del mod">
          <ac:chgData name="Cuvillier, Nicolas" userId="c7f17e95-5c3e-462b-8857-a61ca2f84f6f" providerId="ADAL" clId="{421FC56B-1DFC-468F-8ADB-554CD8D34B85}" dt="2023-12-04T14:26:46.134" v="4246" actId="478"/>
          <ac:spMkLst>
            <pc:docMk/>
            <pc:sldMk cId="1006052917" sldId="2147480502"/>
            <ac:spMk id="22" creationId="{23413B08-5FEA-6306-84D4-A9BCC06F2A31}"/>
          </ac:spMkLst>
        </pc:spChg>
        <pc:spChg chg="mod">
          <ac:chgData name="Cuvillier, Nicolas" userId="c7f17e95-5c3e-462b-8857-a61ca2f84f6f" providerId="ADAL" clId="{421FC56B-1DFC-468F-8ADB-554CD8D34B85}" dt="2023-12-04T14:26:54.314" v="4258" actId="1076"/>
          <ac:spMkLst>
            <pc:docMk/>
            <pc:sldMk cId="1006052917" sldId="2147480502"/>
            <ac:spMk id="23" creationId="{60597E66-83FC-AF81-6604-C1DB01380F18}"/>
          </ac:spMkLst>
        </pc:spChg>
        <pc:spChg chg="mod">
          <ac:chgData name="Cuvillier, Nicolas" userId="c7f17e95-5c3e-462b-8857-a61ca2f84f6f" providerId="ADAL" clId="{421FC56B-1DFC-468F-8ADB-554CD8D34B85}" dt="2023-12-04T18:56:12.154" v="10000" actId="12788"/>
          <ac:spMkLst>
            <pc:docMk/>
            <pc:sldMk cId="1006052917" sldId="2147480502"/>
            <ac:spMk id="24" creationId="{D5173955-0A5F-1F86-E19C-0100540A9836}"/>
          </ac:spMkLst>
        </pc:spChg>
        <pc:spChg chg="mod">
          <ac:chgData name="Cuvillier, Nicolas" userId="c7f17e95-5c3e-462b-8857-a61ca2f84f6f" providerId="ADAL" clId="{421FC56B-1DFC-468F-8ADB-554CD8D34B85}" dt="2023-12-04T19:28:00.936" v="11453" actId="6549"/>
          <ac:spMkLst>
            <pc:docMk/>
            <pc:sldMk cId="1006052917" sldId="2147480502"/>
            <ac:spMk id="25" creationId="{958D2966-7E7D-9813-B536-FF656F5DC453}"/>
          </ac:spMkLst>
        </pc:spChg>
        <pc:spChg chg="del mod">
          <ac:chgData name="Cuvillier, Nicolas" userId="c7f17e95-5c3e-462b-8857-a61ca2f84f6f" providerId="ADAL" clId="{421FC56B-1DFC-468F-8ADB-554CD8D34B85}" dt="2023-12-04T14:26:49.711" v="4257" actId="478"/>
          <ac:spMkLst>
            <pc:docMk/>
            <pc:sldMk cId="1006052917" sldId="2147480502"/>
            <ac:spMk id="26" creationId="{49C9CE68-3076-3846-BDBC-BA436D8237D3}"/>
          </ac:spMkLst>
        </pc:spChg>
        <pc:spChg chg="mod">
          <ac:chgData name="Cuvillier, Nicolas" userId="c7f17e95-5c3e-462b-8857-a61ca2f84f6f" providerId="ADAL" clId="{421FC56B-1DFC-468F-8ADB-554CD8D34B85}" dt="2023-12-04T19:11:28.227" v="10672" actId="20577"/>
          <ac:spMkLst>
            <pc:docMk/>
            <pc:sldMk cId="1006052917" sldId="2147480502"/>
            <ac:spMk id="27" creationId="{E1366F96-29C8-F300-6344-34F16AE85E10}"/>
          </ac:spMkLst>
        </pc:spChg>
        <pc:spChg chg="mod">
          <ac:chgData name="Cuvillier, Nicolas" userId="c7f17e95-5c3e-462b-8857-a61ca2f84f6f" providerId="ADAL" clId="{421FC56B-1DFC-468F-8ADB-554CD8D34B85}" dt="2023-12-04T14:26:54.314" v="4258" actId="1076"/>
          <ac:spMkLst>
            <pc:docMk/>
            <pc:sldMk cId="1006052917" sldId="2147480502"/>
            <ac:spMk id="28" creationId="{91C85F53-0BAC-0392-CDB8-86024CC7523A}"/>
          </ac:spMkLst>
        </pc:spChg>
        <pc:spChg chg="mod">
          <ac:chgData name="Cuvillier, Nicolas" userId="c7f17e95-5c3e-462b-8857-a61ca2f84f6f" providerId="ADAL" clId="{421FC56B-1DFC-468F-8ADB-554CD8D34B85}" dt="2023-12-04T14:26:54.314" v="4258" actId="1076"/>
          <ac:spMkLst>
            <pc:docMk/>
            <pc:sldMk cId="1006052917" sldId="2147480502"/>
            <ac:spMk id="35" creationId="{4D3F7C0A-B149-1D73-324F-73B6CC4231CD}"/>
          </ac:spMkLst>
        </pc:spChg>
        <pc:spChg chg="mod">
          <ac:chgData name="Cuvillier, Nicolas" userId="c7f17e95-5c3e-462b-8857-a61ca2f84f6f" providerId="ADAL" clId="{421FC56B-1DFC-468F-8ADB-554CD8D34B85}" dt="2023-12-04T14:26:54.314" v="4258" actId="1076"/>
          <ac:spMkLst>
            <pc:docMk/>
            <pc:sldMk cId="1006052917" sldId="2147480502"/>
            <ac:spMk id="37" creationId="{334ADF48-30AE-4246-8BEE-2FDDBB4368CB}"/>
          </ac:spMkLst>
        </pc:spChg>
        <pc:spChg chg="mod">
          <ac:chgData name="Cuvillier, Nicolas" userId="c7f17e95-5c3e-462b-8857-a61ca2f84f6f" providerId="ADAL" clId="{421FC56B-1DFC-468F-8ADB-554CD8D34B85}" dt="2023-12-04T14:26:54.314" v="4258" actId="1076"/>
          <ac:spMkLst>
            <pc:docMk/>
            <pc:sldMk cId="1006052917" sldId="2147480502"/>
            <ac:spMk id="38" creationId="{D2D970F1-37BA-0616-2151-DCC1AEF77E1D}"/>
          </ac:spMkLst>
        </pc:spChg>
        <pc:spChg chg="mod">
          <ac:chgData name="Cuvillier, Nicolas" userId="c7f17e95-5c3e-462b-8857-a61ca2f84f6f" providerId="ADAL" clId="{421FC56B-1DFC-468F-8ADB-554CD8D34B85}" dt="2023-12-04T14:26:57.743" v="4259" actId="1076"/>
          <ac:spMkLst>
            <pc:docMk/>
            <pc:sldMk cId="1006052917" sldId="2147480502"/>
            <ac:spMk id="42" creationId="{485BE980-4CAE-546A-8B7B-9AA67914D615}"/>
          </ac:spMkLst>
        </pc:spChg>
        <pc:grpChg chg="mod">
          <ac:chgData name="Cuvillier, Nicolas" userId="c7f17e95-5c3e-462b-8857-a61ca2f84f6f" providerId="ADAL" clId="{421FC56B-1DFC-468F-8ADB-554CD8D34B85}" dt="2023-12-04T14:26:54.314" v="4258" actId="1076"/>
          <ac:grpSpMkLst>
            <pc:docMk/>
            <pc:sldMk cId="1006052917" sldId="2147480502"/>
            <ac:grpSpMk id="13" creationId="{D8292D40-362E-55F5-8A84-1B9683FCC623}"/>
          </ac:grpSpMkLst>
        </pc:grpChg>
        <pc:graphicFrameChg chg="mod">
          <ac:chgData name="Cuvillier, Nicolas" userId="c7f17e95-5c3e-462b-8857-a61ca2f84f6f" providerId="ADAL" clId="{421FC56B-1DFC-468F-8ADB-554CD8D34B85}" dt="2023-12-04T14:26:49.353" v="4256"/>
          <ac:graphicFrameMkLst>
            <pc:docMk/>
            <pc:sldMk cId="1006052917" sldId="2147480502"/>
            <ac:graphicFrameMk id="6" creationId="{1532DC8D-EF10-C559-FE82-D80CBE53E380}"/>
          </ac:graphicFrameMkLst>
        </pc:graphicFrameChg>
        <pc:picChg chg="add del mod">
          <ac:chgData name="Cuvillier, Nicolas" userId="c7f17e95-5c3e-462b-8857-a61ca2f84f6f" providerId="ADAL" clId="{421FC56B-1DFC-468F-8ADB-554CD8D34B85}" dt="2023-12-04T18:56:17.796" v="10017" actId="478"/>
          <ac:picMkLst>
            <pc:docMk/>
            <pc:sldMk cId="1006052917" sldId="2147480502"/>
            <ac:picMk id="3" creationId="{8B522675-B74F-568F-C9CA-563BD4DF78EA}"/>
          </ac:picMkLst>
        </pc:picChg>
        <pc:picChg chg="mod">
          <ac:chgData name="Cuvillier, Nicolas" userId="c7f17e95-5c3e-462b-8857-a61ca2f84f6f" providerId="ADAL" clId="{421FC56B-1DFC-468F-8ADB-554CD8D34B85}" dt="2023-12-04T14:26:54.314" v="4258" actId="1076"/>
          <ac:picMkLst>
            <pc:docMk/>
            <pc:sldMk cId="1006052917" sldId="2147480502"/>
            <ac:picMk id="5" creationId="{AD8C3515-AF2C-9985-6CBF-B2D736D5544D}"/>
          </ac:picMkLst>
        </pc:picChg>
        <pc:picChg chg="add mod">
          <ac:chgData name="Cuvillier, Nicolas" userId="c7f17e95-5c3e-462b-8857-a61ca2f84f6f" providerId="ADAL" clId="{421FC56B-1DFC-468F-8ADB-554CD8D34B85}" dt="2023-12-04T18:56:15.424" v="10016" actId="1035"/>
          <ac:picMkLst>
            <pc:docMk/>
            <pc:sldMk cId="1006052917" sldId="2147480502"/>
            <ac:picMk id="8" creationId="{463F7B15-58D9-6459-75A8-3172DE741546}"/>
          </ac:picMkLst>
        </pc:picChg>
        <pc:picChg chg="add mod">
          <ac:chgData name="Cuvillier, Nicolas" userId="c7f17e95-5c3e-462b-8857-a61ca2f84f6f" providerId="ADAL" clId="{421FC56B-1DFC-468F-8ADB-554CD8D34B85}" dt="2023-12-04T14:32:47.875" v="4897"/>
          <ac:picMkLst>
            <pc:docMk/>
            <pc:sldMk cId="1006052917" sldId="2147480502"/>
            <ac:picMk id="9" creationId="{57C4F729-C050-4281-0A3E-B99FA6F1D326}"/>
          </ac:picMkLst>
        </pc:picChg>
        <pc:picChg chg="mod">
          <ac:chgData name="Cuvillier, Nicolas" userId="c7f17e95-5c3e-462b-8857-a61ca2f84f6f" providerId="ADAL" clId="{421FC56B-1DFC-468F-8ADB-554CD8D34B85}" dt="2023-12-04T14:26:54.314" v="4258" actId="1076"/>
          <ac:picMkLst>
            <pc:docMk/>
            <pc:sldMk cId="1006052917" sldId="2147480502"/>
            <ac:picMk id="30" creationId="{70AF88D3-D5BC-BD5E-331A-63ECD9B0817B}"/>
          </ac:picMkLst>
        </pc:picChg>
        <pc:picChg chg="mod">
          <ac:chgData name="Cuvillier, Nicolas" userId="c7f17e95-5c3e-462b-8857-a61ca2f84f6f" providerId="ADAL" clId="{421FC56B-1DFC-468F-8ADB-554CD8D34B85}" dt="2023-12-04T14:26:54.314" v="4258" actId="1076"/>
          <ac:picMkLst>
            <pc:docMk/>
            <pc:sldMk cId="1006052917" sldId="2147480502"/>
            <ac:picMk id="32" creationId="{952CA112-385D-4461-4175-7146BCA7D62E}"/>
          </ac:picMkLst>
        </pc:picChg>
        <pc:picChg chg="del mod">
          <ac:chgData name="Cuvillier, Nicolas" userId="c7f17e95-5c3e-462b-8857-a61ca2f84f6f" providerId="ADAL" clId="{421FC56B-1DFC-468F-8ADB-554CD8D34B85}" dt="2023-12-04T14:31:24.045" v="4762" actId="478"/>
          <ac:picMkLst>
            <pc:docMk/>
            <pc:sldMk cId="1006052917" sldId="2147480502"/>
            <ac:picMk id="39" creationId="{52C83BD0-11B4-F38F-F21C-6C0D3C37DA4B}"/>
          </ac:picMkLst>
        </pc:picChg>
        <pc:picChg chg="mod">
          <ac:chgData name="Cuvillier, Nicolas" userId="c7f17e95-5c3e-462b-8857-a61ca2f84f6f" providerId="ADAL" clId="{421FC56B-1DFC-468F-8ADB-554CD8D34B85}" dt="2023-12-04T14:26:54.314" v="4258" actId="1076"/>
          <ac:picMkLst>
            <pc:docMk/>
            <pc:sldMk cId="1006052917" sldId="2147480502"/>
            <ac:picMk id="45" creationId="{D1448623-626A-2AAE-3D98-A749B6240C05}"/>
          </ac:picMkLst>
        </pc:picChg>
        <pc:picChg chg="mod">
          <ac:chgData name="Cuvillier, Nicolas" userId="c7f17e95-5c3e-462b-8857-a61ca2f84f6f" providerId="ADAL" clId="{421FC56B-1DFC-468F-8ADB-554CD8D34B85}" dt="2023-12-04T14:26:54.314" v="4258" actId="1076"/>
          <ac:picMkLst>
            <pc:docMk/>
            <pc:sldMk cId="1006052917" sldId="2147480502"/>
            <ac:picMk id="47" creationId="{189AA276-AF58-1AD3-4754-6A5C89FB3CA1}"/>
          </ac:picMkLst>
        </pc:picChg>
        <pc:cxnChg chg="mod">
          <ac:chgData name="Cuvillier, Nicolas" userId="c7f17e95-5c3e-462b-8857-a61ca2f84f6f" providerId="ADAL" clId="{421FC56B-1DFC-468F-8ADB-554CD8D34B85}" dt="2023-12-04T14:26:54.314" v="4258" actId="1076"/>
          <ac:cxnSpMkLst>
            <pc:docMk/>
            <pc:sldMk cId="1006052917" sldId="2147480502"/>
            <ac:cxnSpMk id="29" creationId="{3C54040F-052F-1BDA-B90C-98184F9750C7}"/>
          </ac:cxnSpMkLst>
        </pc:cxnChg>
        <pc:cxnChg chg="mod">
          <ac:chgData name="Cuvillier, Nicolas" userId="c7f17e95-5c3e-462b-8857-a61ca2f84f6f" providerId="ADAL" clId="{421FC56B-1DFC-468F-8ADB-554CD8D34B85}" dt="2023-12-04T14:26:54.314" v="4258" actId="1076"/>
          <ac:cxnSpMkLst>
            <pc:docMk/>
            <pc:sldMk cId="1006052917" sldId="2147480502"/>
            <ac:cxnSpMk id="34" creationId="{9E3CB111-6AD5-83E5-8626-AAEFD279ABC7}"/>
          </ac:cxnSpMkLst>
        </pc:cxnChg>
      </pc:sldChg>
      <pc:sldChg chg="addSp delSp modSp mod ord">
        <pc:chgData name="Cuvillier, Nicolas" userId="c7f17e95-5c3e-462b-8857-a61ca2f84f6f" providerId="ADAL" clId="{421FC56B-1DFC-468F-8ADB-554CD8D34B85}" dt="2023-12-04T19:28:02.102" v="11454" actId="6549"/>
        <pc:sldMkLst>
          <pc:docMk/>
          <pc:sldMk cId="78832926" sldId="2147480503"/>
        </pc:sldMkLst>
        <pc:spChg chg="mod">
          <ac:chgData name="Cuvillier, Nicolas" userId="c7f17e95-5c3e-462b-8857-a61ca2f84f6f" providerId="ADAL" clId="{421FC56B-1DFC-468F-8ADB-554CD8D34B85}" dt="2023-12-04T14:27:06.385" v="4271" actId="1076"/>
          <ac:spMkLst>
            <pc:docMk/>
            <pc:sldMk cId="78832926" sldId="2147480503"/>
            <ac:spMk id="4" creationId="{DF884FB3-6C01-F685-77F6-4D1FA5C1E1B5}"/>
          </ac:spMkLst>
        </pc:spChg>
        <pc:spChg chg="mod">
          <ac:chgData name="Cuvillier, Nicolas" userId="c7f17e95-5c3e-462b-8857-a61ca2f84f6f" providerId="ADAL" clId="{421FC56B-1DFC-468F-8ADB-554CD8D34B85}" dt="2023-12-04T14:27:06.385" v="4271" actId="1076"/>
          <ac:spMkLst>
            <pc:docMk/>
            <pc:sldMk cId="78832926" sldId="2147480503"/>
            <ac:spMk id="7" creationId="{DA28DF84-7415-DB6D-9B4D-2F4E5DBAC434}"/>
          </ac:spMkLst>
        </pc:spChg>
        <pc:spChg chg="mod">
          <ac:chgData name="Cuvillier, Nicolas" userId="c7f17e95-5c3e-462b-8857-a61ca2f84f6f" providerId="ADAL" clId="{421FC56B-1DFC-468F-8ADB-554CD8D34B85}" dt="2023-12-04T14:27:09.513" v="4272" actId="1076"/>
          <ac:spMkLst>
            <pc:docMk/>
            <pc:sldMk cId="78832926" sldId="2147480503"/>
            <ac:spMk id="8" creationId="{DB227D25-2D10-F04C-8FD0-21CB3057DAE1}"/>
          </ac:spMkLst>
        </pc:spChg>
        <pc:spChg chg="add del mod modVis">
          <ac:chgData name="Cuvillier, Nicolas" userId="c7f17e95-5c3e-462b-8857-a61ca2f84f6f" providerId="ADAL" clId="{421FC56B-1DFC-468F-8ADB-554CD8D34B85}" dt="2023-12-04T12:56:27.217" v="1032"/>
          <ac:spMkLst>
            <pc:docMk/>
            <pc:sldMk cId="78832926" sldId="2147480503"/>
            <ac:spMk id="9" creationId="{76E734F6-3493-C4CF-C322-79E31F625B51}"/>
          </ac:spMkLst>
        </pc:spChg>
        <pc:spChg chg="add del mod">
          <ac:chgData name="Cuvillier, Nicolas" userId="c7f17e95-5c3e-462b-8857-a61ca2f84f6f" providerId="ADAL" clId="{421FC56B-1DFC-468F-8ADB-554CD8D34B85}" dt="2023-12-04T19:26:18.262" v="11431" actId="478"/>
          <ac:spMkLst>
            <pc:docMk/>
            <pc:sldMk cId="78832926" sldId="2147480503"/>
            <ac:spMk id="9" creationId="{84AF21BA-C6AC-FF14-F1B3-84B976BA2100}"/>
          </ac:spMkLst>
        </pc:spChg>
        <pc:spChg chg="add mod">
          <ac:chgData name="Cuvillier, Nicolas" userId="c7f17e95-5c3e-462b-8857-a61ca2f84f6f" providerId="ADAL" clId="{421FC56B-1DFC-468F-8ADB-554CD8D34B85}" dt="2023-12-04T19:26:24.360" v="11445" actId="20577"/>
          <ac:spMkLst>
            <pc:docMk/>
            <pc:sldMk cId="78832926" sldId="2147480503"/>
            <ac:spMk id="10" creationId="{B1903CCE-3F54-838D-D1DB-8F6CC95DFB98}"/>
          </ac:spMkLst>
        </pc:spChg>
        <pc:spChg chg="add del mod">
          <ac:chgData name="Cuvillier, Nicolas" userId="c7f17e95-5c3e-462b-8857-a61ca2f84f6f" providerId="ADAL" clId="{421FC56B-1DFC-468F-8ADB-554CD8D34B85}" dt="2023-12-04T14:27:00.522" v="4265" actId="478"/>
          <ac:spMkLst>
            <pc:docMk/>
            <pc:sldMk cId="78832926" sldId="2147480503"/>
            <ac:spMk id="11" creationId="{CBDDFBBC-7F13-EB3E-DD40-3B3679E095EE}"/>
          </ac:spMkLst>
        </pc:spChg>
        <pc:spChg chg="mod">
          <ac:chgData name="Cuvillier, Nicolas" userId="c7f17e95-5c3e-462b-8857-a61ca2f84f6f" providerId="ADAL" clId="{421FC56B-1DFC-468F-8ADB-554CD8D34B85}" dt="2023-12-04T18:18:12.568" v="8516" actId="20577"/>
          <ac:spMkLst>
            <pc:docMk/>
            <pc:sldMk cId="78832926" sldId="2147480503"/>
            <ac:spMk id="14" creationId="{EC347EB2-A17C-9756-6F8A-FA325CAB65BB}"/>
          </ac:spMkLst>
        </pc:spChg>
        <pc:spChg chg="mod">
          <ac:chgData name="Cuvillier, Nicolas" userId="c7f17e95-5c3e-462b-8857-a61ca2f84f6f" providerId="ADAL" clId="{421FC56B-1DFC-468F-8ADB-554CD8D34B85}" dt="2023-12-04T14:27:06.385" v="4271" actId="1076"/>
          <ac:spMkLst>
            <pc:docMk/>
            <pc:sldMk cId="78832926" sldId="2147480503"/>
            <ac:spMk id="17" creationId="{3119BBCB-5A35-97C6-C2D5-DDB2A67858B4}"/>
          </ac:spMkLst>
        </pc:spChg>
        <pc:spChg chg="mod">
          <ac:chgData name="Cuvillier, Nicolas" userId="c7f17e95-5c3e-462b-8857-a61ca2f84f6f" providerId="ADAL" clId="{421FC56B-1DFC-468F-8ADB-554CD8D34B85}" dt="2023-12-04T14:27:06.385" v="4271" actId="1076"/>
          <ac:spMkLst>
            <pc:docMk/>
            <pc:sldMk cId="78832926" sldId="2147480503"/>
            <ac:spMk id="21" creationId="{42205D9C-ADE6-DA19-CECA-2D7F23653BCC}"/>
          </ac:spMkLst>
        </pc:spChg>
        <pc:spChg chg="del mod">
          <ac:chgData name="Cuvillier, Nicolas" userId="c7f17e95-5c3e-462b-8857-a61ca2f84f6f" providerId="ADAL" clId="{421FC56B-1DFC-468F-8ADB-554CD8D34B85}" dt="2023-12-04T14:26:59.459" v="4260" actId="478"/>
          <ac:spMkLst>
            <pc:docMk/>
            <pc:sldMk cId="78832926" sldId="2147480503"/>
            <ac:spMk id="22" creationId="{23413B08-5FEA-6306-84D4-A9BCC06F2A31}"/>
          </ac:spMkLst>
        </pc:spChg>
        <pc:spChg chg="mod">
          <ac:chgData name="Cuvillier, Nicolas" userId="c7f17e95-5c3e-462b-8857-a61ca2f84f6f" providerId="ADAL" clId="{421FC56B-1DFC-468F-8ADB-554CD8D34B85}" dt="2023-12-04T14:27:06.385" v="4271" actId="1076"/>
          <ac:spMkLst>
            <pc:docMk/>
            <pc:sldMk cId="78832926" sldId="2147480503"/>
            <ac:spMk id="23" creationId="{60597E66-83FC-AF81-6604-C1DB01380F18}"/>
          </ac:spMkLst>
        </pc:spChg>
        <pc:spChg chg="mod">
          <ac:chgData name="Cuvillier, Nicolas" userId="c7f17e95-5c3e-462b-8857-a61ca2f84f6f" providerId="ADAL" clId="{421FC56B-1DFC-468F-8ADB-554CD8D34B85}" dt="2023-12-04T19:26:20.240" v="11432" actId="12788"/>
          <ac:spMkLst>
            <pc:docMk/>
            <pc:sldMk cId="78832926" sldId="2147480503"/>
            <ac:spMk id="24" creationId="{D5173955-0A5F-1F86-E19C-0100540A9836}"/>
          </ac:spMkLst>
        </pc:spChg>
        <pc:spChg chg="mod">
          <ac:chgData name="Cuvillier, Nicolas" userId="c7f17e95-5c3e-462b-8857-a61ca2f84f6f" providerId="ADAL" clId="{421FC56B-1DFC-468F-8ADB-554CD8D34B85}" dt="2023-12-04T19:28:02.102" v="11454" actId="6549"/>
          <ac:spMkLst>
            <pc:docMk/>
            <pc:sldMk cId="78832926" sldId="2147480503"/>
            <ac:spMk id="25" creationId="{958D2966-7E7D-9813-B536-FF656F5DC453}"/>
          </ac:spMkLst>
        </pc:spChg>
        <pc:spChg chg="del">
          <ac:chgData name="Cuvillier, Nicolas" userId="c7f17e95-5c3e-462b-8857-a61ca2f84f6f" providerId="ADAL" clId="{421FC56B-1DFC-468F-8ADB-554CD8D34B85}" dt="2023-12-04T14:27:02.038" v="4270" actId="478"/>
          <ac:spMkLst>
            <pc:docMk/>
            <pc:sldMk cId="78832926" sldId="2147480503"/>
            <ac:spMk id="26" creationId="{49C9CE68-3076-3846-BDBC-BA436D8237D3}"/>
          </ac:spMkLst>
        </pc:spChg>
        <pc:spChg chg="mod">
          <ac:chgData name="Cuvillier, Nicolas" userId="c7f17e95-5c3e-462b-8857-a61ca2f84f6f" providerId="ADAL" clId="{421FC56B-1DFC-468F-8ADB-554CD8D34B85}" dt="2023-12-04T18:20:22.177" v="8667" actId="20577"/>
          <ac:spMkLst>
            <pc:docMk/>
            <pc:sldMk cId="78832926" sldId="2147480503"/>
            <ac:spMk id="27" creationId="{E1366F96-29C8-F300-6344-34F16AE85E10}"/>
          </ac:spMkLst>
        </pc:spChg>
        <pc:spChg chg="mod">
          <ac:chgData name="Cuvillier, Nicolas" userId="c7f17e95-5c3e-462b-8857-a61ca2f84f6f" providerId="ADAL" clId="{421FC56B-1DFC-468F-8ADB-554CD8D34B85}" dt="2023-12-04T14:27:06.385" v="4271" actId="1076"/>
          <ac:spMkLst>
            <pc:docMk/>
            <pc:sldMk cId="78832926" sldId="2147480503"/>
            <ac:spMk id="28" creationId="{91C85F53-0BAC-0392-CDB8-86024CC7523A}"/>
          </ac:spMkLst>
        </pc:spChg>
        <pc:spChg chg="mod">
          <ac:chgData name="Cuvillier, Nicolas" userId="c7f17e95-5c3e-462b-8857-a61ca2f84f6f" providerId="ADAL" clId="{421FC56B-1DFC-468F-8ADB-554CD8D34B85}" dt="2023-12-04T14:27:06.385" v="4271" actId="1076"/>
          <ac:spMkLst>
            <pc:docMk/>
            <pc:sldMk cId="78832926" sldId="2147480503"/>
            <ac:spMk id="35" creationId="{4D3F7C0A-B149-1D73-324F-73B6CC4231CD}"/>
          </ac:spMkLst>
        </pc:spChg>
        <pc:spChg chg="mod">
          <ac:chgData name="Cuvillier, Nicolas" userId="c7f17e95-5c3e-462b-8857-a61ca2f84f6f" providerId="ADAL" clId="{421FC56B-1DFC-468F-8ADB-554CD8D34B85}" dt="2023-12-04T14:27:06.385" v="4271" actId="1076"/>
          <ac:spMkLst>
            <pc:docMk/>
            <pc:sldMk cId="78832926" sldId="2147480503"/>
            <ac:spMk id="37" creationId="{334ADF48-30AE-4246-8BEE-2FDDBB4368CB}"/>
          </ac:spMkLst>
        </pc:spChg>
        <pc:spChg chg="mod">
          <ac:chgData name="Cuvillier, Nicolas" userId="c7f17e95-5c3e-462b-8857-a61ca2f84f6f" providerId="ADAL" clId="{421FC56B-1DFC-468F-8ADB-554CD8D34B85}" dt="2023-12-04T14:27:06.385" v="4271" actId="1076"/>
          <ac:spMkLst>
            <pc:docMk/>
            <pc:sldMk cId="78832926" sldId="2147480503"/>
            <ac:spMk id="38" creationId="{D2D970F1-37BA-0616-2151-DCC1AEF77E1D}"/>
          </ac:spMkLst>
        </pc:spChg>
        <pc:spChg chg="mod">
          <ac:chgData name="Cuvillier, Nicolas" userId="c7f17e95-5c3e-462b-8857-a61ca2f84f6f" providerId="ADAL" clId="{421FC56B-1DFC-468F-8ADB-554CD8D34B85}" dt="2023-12-04T14:27:09.513" v="4272" actId="1076"/>
          <ac:spMkLst>
            <pc:docMk/>
            <pc:sldMk cId="78832926" sldId="2147480503"/>
            <ac:spMk id="42" creationId="{485BE980-4CAE-546A-8B7B-9AA67914D615}"/>
          </ac:spMkLst>
        </pc:spChg>
        <pc:grpChg chg="mod">
          <ac:chgData name="Cuvillier, Nicolas" userId="c7f17e95-5c3e-462b-8857-a61ca2f84f6f" providerId="ADAL" clId="{421FC56B-1DFC-468F-8ADB-554CD8D34B85}" dt="2023-12-04T14:27:06.385" v="4271" actId="1076"/>
          <ac:grpSpMkLst>
            <pc:docMk/>
            <pc:sldMk cId="78832926" sldId="2147480503"/>
            <ac:grpSpMk id="13" creationId="{D8292D40-362E-55F5-8A84-1B9683FCC623}"/>
          </ac:grpSpMkLst>
        </pc:grpChg>
        <pc:graphicFrameChg chg="mod">
          <ac:chgData name="Cuvillier, Nicolas" userId="c7f17e95-5c3e-462b-8857-a61ca2f84f6f" providerId="ADAL" clId="{421FC56B-1DFC-468F-8ADB-554CD8D34B85}" dt="2023-12-04T14:27:01.024" v="4269"/>
          <ac:graphicFrameMkLst>
            <pc:docMk/>
            <pc:sldMk cId="78832926" sldId="2147480503"/>
            <ac:graphicFrameMk id="6" creationId="{1532DC8D-EF10-C559-FE82-D80CBE53E380}"/>
          </ac:graphicFrameMkLst>
        </pc:graphicFrameChg>
        <pc:picChg chg="mod">
          <ac:chgData name="Cuvillier, Nicolas" userId="c7f17e95-5c3e-462b-8857-a61ca2f84f6f" providerId="ADAL" clId="{421FC56B-1DFC-468F-8ADB-554CD8D34B85}" dt="2023-12-04T14:27:06.385" v="4271" actId="1076"/>
          <ac:picMkLst>
            <pc:docMk/>
            <pc:sldMk cId="78832926" sldId="2147480503"/>
            <ac:picMk id="2" creationId="{D9C87574-541E-C344-5AC2-6100FF3FA455}"/>
          </ac:picMkLst>
        </pc:picChg>
        <pc:picChg chg="mod">
          <ac:chgData name="Cuvillier, Nicolas" userId="c7f17e95-5c3e-462b-8857-a61ca2f84f6f" providerId="ADAL" clId="{421FC56B-1DFC-468F-8ADB-554CD8D34B85}" dt="2023-12-04T14:27:06.385" v="4271" actId="1076"/>
          <ac:picMkLst>
            <pc:docMk/>
            <pc:sldMk cId="78832926" sldId="2147480503"/>
            <ac:picMk id="3" creationId="{97758EF0-764D-FA1F-1CB4-B97240D893BE}"/>
          </ac:picMkLst>
        </pc:picChg>
        <pc:picChg chg="mod">
          <ac:chgData name="Cuvillier, Nicolas" userId="c7f17e95-5c3e-462b-8857-a61ca2f84f6f" providerId="ADAL" clId="{421FC56B-1DFC-468F-8ADB-554CD8D34B85}" dt="2023-12-04T14:27:06.385" v="4271" actId="1076"/>
          <ac:picMkLst>
            <pc:docMk/>
            <pc:sldMk cId="78832926" sldId="2147480503"/>
            <ac:picMk id="5" creationId="{AD8C3515-AF2C-9985-6CBF-B2D736D5544D}"/>
          </ac:picMkLst>
        </pc:picChg>
        <pc:picChg chg="add mod">
          <ac:chgData name="Cuvillier, Nicolas" userId="c7f17e95-5c3e-462b-8857-a61ca2f84f6f" providerId="ADAL" clId="{421FC56B-1DFC-468F-8ADB-554CD8D34B85}" dt="2023-12-04T14:32:52.461" v="4906"/>
          <ac:picMkLst>
            <pc:docMk/>
            <pc:sldMk cId="78832926" sldId="2147480503"/>
            <ac:picMk id="12" creationId="{EA3C5A23-8471-AE75-0B64-DE108B02C057}"/>
          </ac:picMkLst>
        </pc:picChg>
        <pc:picChg chg="mod">
          <ac:chgData name="Cuvillier, Nicolas" userId="c7f17e95-5c3e-462b-8857-a61ca2f84f6f" providerId="ADAL" clId="{421FC56B-1DFC-468F-8ADB-554CD8D34B85}" dt="2023-12-04T14:27:06.385" v="4271" actId="1076"/>
          <ac:picMkLst>
            <pc:docMk/>
            <pc:sldMk cId="78832926" sldId="2147480503"/>
            <ac:picMk id="30" creationId="{70AF88D3-D5BC-BD5E-331A-63ECD9B0817B}"/>
          </ac:picMkLst>
        </pc:picChg>
        <pc:picChg chg="del mod">
          <ac:chgData name="Cuvillier, Nicolas" userId="c7f17e95-5c3e-462b-8857-a61ca2f84f6f" providerId="ADAL" clId="{421FC56B-1DFC-468F-8ADB-554CD8D34B85}" dt="2023-12-04T14:31:25.448" v="4763" actId="478"/>
          <ac:picMkLst>
            <pc:docMk/>
            <pc:sldMk cId="78832926" sldId="2147480503"/>
            <ac:picMk id="39" creationId="{52C83BD0-11B4-F38F-F21C-6C0D3C37DA4B}"/>
          </ac:picMkLst>
        </pc:picChg>
        <pc:picChg chg="mod">
          <ac:chgData name="Cuvillier, Nicolas" userId="c7f17e95-5c3e-462b-8857-a61ca2f84f6f" providerId="ADAL" clId="{421FC56B-1DFC-468F-8ADB-554CD8D34B85}" dt="2023-12-04T14:27:06.385" v="4271" actId="1076"/>
          <ac:picMkLst>
            <pc:docMk/>
            <pc:sldMk cId="78832926" sldId="2147480503"/>
            <ac:picMk id="45" creationId="{D1448623-626A-2AAE-3D98-A749B6240C05}"/>
          </ac:picMkLst>
        </pc:picChg>
        <pc:picChg chg="mod">
          <ac:chgData name="Cuvillier, Nicolas" userId="c7f17e95-5c3e-462b-8857-a61ca2f84f6f" providerId="ADAL" clId="{421FC56B-1DFC-468F-8ADB-554CD8D34B85}" dt="2023-12-04T14:27:06.385" v="4271" actId="1076"/>
          <ac:picMkLst>
            <pc:docMk/>
            <pc:sldMk cId="78832926" sldId="2147480503"/>
            <ac:picMk id="47" creationId="{189AA276-AF58-1AD3-4754-6A5C89FB3CA1}"/>
          </ac:picMkLst>
        </pc:picChg>
        <pc:cxnChg chg="mod">
          <ac:chgData name="Cuvillier, Nicolas" userId="c7f17e95-5c3e-462b-8857-a61ca2f84f6f" providerId="ADAL" clId="{421FC56B-1DFC-468F-8ADB-554CD8D34B85}" dt="2023-12-04T14:27:06.385" v="4271" actId="1076"/>
          <ac:cxnSpMkLst>
            <pc:docMk/>
            <pc:sldMk cId="78832926" sldId="2147480503"/>
            <ac:cxnSpMk id="29" creationId="{3C54040F-052F-1BDA-B90C-98184F9750C7}"/>
          </ac:cxnSpMkLst>
        </pc:cxnChg>
        <pc:cxnChg chg="mod">
          <ac:chgData name="Cuvillier, Nicolas" userId="c7f17e95-5c3e-462b-8857-a61ca2f84f6f" providerId="ADAL" clId="{421FC56B-1DFC-468F-8ADB-554CD8D34B85}" dt="2023-12-04T14:27:06.385" v="4271" actId="1076"/>
          <ac:cxnSpMkLst>
            <pc:docMk/>
            <pc:sldMk cId="78832926" sldId="2147480503"/>
            <ac:cxnSpMk id="34" creationId="{9E3CB111-6AD5-83E5-8626-AAEFD279ABC7}"/>
          </ac:cxnSpMkLst>
        </pc:cxnChg>
      </pc:sldChg>
      <pc:sldChg chg="addSp delSp modSp mod ord">
        <pc:chgData name="Cuvillier, Nicolas" userId="c7f17e95-5c3e-462b-8857-a61ca2f84f6f" providerId="ADAL" clId="{421FC56B-1DFC-468F-8ADB-554CD8D34B85}" dt="2023-12-04T19:28:03.248" v="11455" actId="6549"/>
        <pc:sldMkLst>
          <pc:docMk/>
          <pc:sldMk cId="371395253" sldId="2147480504"/>
        </pc:sldMkLst>
        <pc:spChg chg="mod">
          <ac:chgData name="Cuvillier, Nicolas" userId="c7f17e95-5c3e-462b-8857-a61ca2f84f6f" providerId="ADAL" clId="{421FC56B-1DFC-468F-8ADB-554CD8D34B85}" dt="2023-12-04T18:21:22.773" v="8724" actId="20577"/>
          <ac:spMkLst>
            <pc:docMk/>
            <pc:sldMk cId="371395253" sldId="2147480504"/>
            <ac:spMk id="4" creationId="{DF884FB3-6C01-F685-77F6-4D1FA5C1E1B5}"/>
          </ac:spMkLst>
        </pc:spChg>
        <pc:spChg chg="mod">
          <ac:chgData name="Cuvillier, Nicolas" userId="c7f17e95-5c3e-462b-8857-a61ca2f84f6f" providerId="ADAL" clId="{421FC56B-1DFC-468F-8ADB-554CD8D34B85}" dt="2023-12-04T14:27:19.547" v="4284" actId="1076"/>
          <ac:spMkLst>
            <pc:docMk/>
            <pc:sldMk cId="371395253" sldId="2147480504"/>
            <ac:spMk id="7" creationId="{DA28DF84-7415-DB6D-9B4D-2F4E5DBAC434}"/>
          </ac:spMkLst>
        </pc:spChg>
        <pc:spChg chg="mod">
          <ac:chgData name="Cuvillier, Nicolas" userId="c7f17e95-5c3e-462b-8857-a61ca2f84f6f" providerId="ADAL" clId="{421FC56B-1DFC-468F-8ADB-554CD8D34B85}" dt="2023-12-04T14:27:23.068" v="4285" actId="1076"/>
          <ac:spMkLst>
            <pc:docMk/>
            <pc:sldMk cId="371395253" sldId="2147480504"/>
            <ac:spMk id="8" creationId="{7473B29A-4774-EAB8-12A1-04504C9B87C2}"/>
          </ac:spMkLst>
        </pc:spChg>
        <pc:spChg chg="mod">
          <ac:chgData name="Cuvillier, Nicolas" userId="c7f17e95-5c3e-462b-8857-a61ca2f84f6f" providerId="ADAL" clId="{421FC56B-1DFC-468F-8ADB-554CD8D34B85}" dt="2023-12-04T14:27:23.068" v="4285" actId="1076"/>
          <ac:spMkLst>
            <pc:docMk/>
            <pc:sldMk cId="371395253" sldId="2147480504"/>
            <ac:spMk id="9" creationId="{5ECC99B7-1B15-1ED8-05C0-3B8A9BB9C776}"/>
          </ac:spMkLst>
        </pc:spChg>
        <pc:spChg chg="add del mod modVis">
          <ac:chgData name="Cuvillier, Nicolas" userId="c7f17e95-5c3e-462b-8857-a61ca2f84f6f" providerId="ADAL" clId="{421FC56B-1DFC-468F-8ADB-554CD8D34B85}" dt="2023-12-04T12:56:30.159" v="1061"/>
          <ac:spMkLst>
            <pc:docMk/>
            <pc:sldMk cId="371395253" sldId="2147480504"/>
            <ac:spMk id="10" creationId="{98385F04-EB97-C46F-F800-B38B586B5DF6}"/>
          </ac:spMkLst>
        </pc:spChg>
        <pc:spChg chg="add del mod">
          <ac:chgData name="Cuvillier, Nicolas" userId="c7f17e95-5c3e-462b-8857-a61ca2f84f6f" providerId="ADAL" clId="{421FC56B-1DFC-468F-8ADB-554CD8D34B85}" dt="2023-12-04T14:27:14.793" v="4278" actId="478"/>
          <ac:spMkLst>
            <pc:docMk/>
            <pc:sldMk cId="371395253" sldId="2147480504"/>
            <ac:spMk id="12" creationId="{5DC6E961-597A-9A31-2B37-4031A56799C4}"/>
          </ac:spMkLst>
        </pc:spChg>
        <pc:spChg chg="mod">
          <ac:chgData name="Cuvillier, Nicolas" userId="c7f17e95-5c3e-462b-8857-a61ca2f84f6f" providerId="ADAL" clId="{421FC56B-1DFC-468F-8ADB-554CD8D34B85}" dt="2023-12-04T18:20:59.776" v="8692"/>
          <ac:spMkLst>
            <pc:docMk/>
            <pc:sldMk cId="371395253" sldId="2147480504"/>
            <ac:spMk id="14" creationId="{EC347EB2-A17C-9756-6F8A-FA325CAB65BB}"/>
          </ac:spMkLst>
        </pc:spChg>
        <pc:spChg chg="mod">
          <ac:chgData name="Cuvillier, Nicolas" userId="c7f17e95-5c3e-462b-8857-a61ca2f84f6f" providerId="ADAL" clId="{421FC56B-1DFC-468F-8ADB-554CD8D34B85}" dt="2023-12-04T14:27:19.547" v="4284" actId="1076"/>
          <ac:spMkLst>
            <pc:docMk/>
            <pc:sldMk cId="371395253" sldId="2147480504"/>
            <ac:spMk id="17" creationId="{3119BBCB-5A35-97C6-C2D5-DDB2A67858B4}"/>
          </ac:spMkLst>
        </pc:spChg>
        <pc:spChg chg="mod">
          <ac:chgData name="Cuvillier, Nicolas" userId="c7f17e95-5c3e-462b-8857-a61ca2f84f6f" providerId="ADAL" clId="{421FC56B-1DFC-468F-8ADB-554CD8D34B85}" dt="2023-12-04T14:27:19.547" v="4284" actId="1076"/>
          <ac:spMkLst>
            <pc:docMk/>
            <pc:sldMk cId="371395253" sldId="2147480504"/>
            <ac:spMk id="21" creationId="{42205D9C-ADE6-DA19-CECA-2D7F23653BCC}"/>
          </ac:spMkLst>
        </pc:spChg>
        <pc:spChg chg="del mod">
          <ac:chgData name="Cuvillier, Nicolas" userId="c7f17e95-5c3e-462b-8857-a61ca2f84f6f" providerId="ADAL" clId="{421FC56B-1DFC-468F-8ADB-554CD8D34B85}" dt="2023-12-04T14:27:12.113" v="4273" actId="478"/>
          <ac:spMkLst>
            <pc:docMk/>
            <pc:sldMk cId="371395253" sldId="2147480504"/>
            <ac:spMk id="22" creationId="{23413B08-5FEA-6306-84D4-A9BCC06F2A31}"/>
          </ac:spMkLst>
        </pc:spChg>
        <pc:spChg chg="mod">
          <ac:chgData name="Cuvillier, Nicolas" userId="c7f17e95-5c3e-462b-8857-a61ca2f84f6f" providerId="ADAL" clId="{421FC56B-1DFC-468F-8ADB-554CD8D34B85}" dt="2023-12-04T14:27:19.547" v="4284" actId="1076"/>
          <ac:spMkLst>
            <pc:docMk/>
            <pc:sldMk cId="371395253" sldId="2147480504"/>
            <ac:spMk id="23" creationId="{60597E66-83FC-AF81-6604-C1DB01380F18}"/>
          </ac:spMkLst>
        </pc:spChg>
        <pc:spChg chg="mod">
          <ac:chgData name="Cuvillier, Nicolas" userId="c7f17e95-5c3e-462b-8857-a61ca2f84f6f" providerId="ADAL" clId="{421FC56B-1DFC-468F-8ADB-554CD8D34B85}" dt="2023-12-04T18:25:51.151" v="8884" actId="12788"/>
          <ac:spMkLst>
            <pc:docMk/>
            <pc:sldMk cId="371395253" sldId="2147480504"/>
            <ac:spMk id="24" creationId="{D5173955-0A5F-1F86-E19C-0100540A9836}"/>
          </ac:spMkLst>
        </pc:spChg>
        <pc:spChg chg="mod">
          <ac:chgData name="Cuvillier, Nicolas" userId="c7f17e95-5c3e-462b-8857-a61ca2f84f6f" providerId="ADAL" clId="{421FC56B-1DFC-468F-8ADB-554CD8D34B85}" dt="2023-12-04T19:28:03.248" v="11455" actId="6549"/>
          <ac:spMkLst>
            <pc:docMk/>
            <pc:sldMk cId="371395253" sldId="2147480504"/>
            <ac:spMk id="25" creationId="{958D2966-7E7D-9813-B536-FF656F5DC453}"/>
          </ac:spMkLst>
        </pc:spChg>
        <pc:spChg chg="del">
          <ac:chgData name="Cuvillier, Nicolas" userId="c7f17e95-5c3e-462b-8857-a61ca2f84f6f" providerId="ADAL" clId="{421FC56B-1DFC-468F-8ADB-554CD8D34B85}" dt="2023-12-04T14:27:15.620" v="4283" actId="478"/>
          <ac:spMkLst>
            <pc:docMk/>
            <pc:sldMk cId="371395253" sldId="2147480504"/>
            <ac:spMk id="26" creationId="{49C9CE68-3076-3846-BDBC-BA436D8237D3}"/>
          </ac:spMkLst>
        </pc:spChg>
        <pc:spChg chg="mod">
          <ac:chgData name="Cuvillier, Nicolas" userId="c7f17e95-5c3e-462b-8857-a61ca2f84f6f" providerId="ADAL" clId="{421FC56B-1DFC-468F-8ADB-554CD8D34B85}" dt="2023-12-04T18:20:43.575" v="8691" actId="20577"/>
          <ac:spMkLst>
            <pc:docMk/>
            <pc:sldMk cId="371395253" sldId="2147480504"/>
            <ac:spMk id="27" creationId="{E1366F96-29C8-F300-6344-34F16AE85E10}"/>
          </ac:spMkLst>
        </pc:spChg>
        <pc:spChg chg="mod">
          <ac:chgData name="Cuvillier, Nicolas" userId="c7f17e95-5c3e-462b-8857-a61ca2f84f6f" providerId="ADAL" clId="{421FC56B-1DFC-468F-8ADB-554CD8D34B85}" dt="2023-12-04T14:27:19.547" v="4284" actId="1076"/>
          <ac:spMkLst>
            <pc:docMk/>
            <pc:sldMk cId="371395253" sldId="2147480504"/>
            <ac:spMk id="28" creationId="{91C85F53-0BAC-0392-CDB8-86024CC7523A}"/>
          </ac:spMkLst>
        </pc:spChg>
        <pc:spChg chg="mod">
          <ac:chgData name="Cuvillier, Nicolas" userId="c7f17e95-5c3e-462b-8857-a61ca2f84f6f" providerId="ADAL" clId="{421FC56B-1DFC-468F-8ADB-554CD8D34B85}" dt="2023-12-04T14:27:19.547" v="4284" actId="1076"/>
          <ac:spMkLst>
            <pc:docMk/>
            <pc:sldMk cId="371395253" sldId="2147480504"/>
            <ac:spMk id="35" creationId="{4D3F7C0A-B149-1D73-324F-73B6CC4231CD}"/>
          </ac:spMkLst>
        </pc:spChg>
        <pc:spChg chg="mod">
          <ac:chgData name="Cuvillier, Nicolas" userId="c7f17e95-5c3e-462b-8857-a61ca2f84f6f" providerId="ADAL" clId="{421FC56B-1DFC-468F-8ADB-554CD8D34B85}" dt="2023-12-04T14:27:19.547" v="4284" actId="1076"/>
          <ac:spMkLst>
            <pc:docMk/>
            <pc:sldMk cId="371395253" sldId="2147480504"/>
            <ac:spMk id="37" creationId="{334ADF48-30AE-4246-8BEE-2FDDBB4368CB}"/>
          </ac:spMkLst>
        </pc:spChg>
        <pc:spChg chg="mod">
          <ac:chgData name="Cuvillier, Nicolas" userId="c7f17e95-5c3e-462b-8857-a61ca2f84f6f" providerId="ADAL" clId="{421FC56B-1DFC-468F-8ADB-554CD8D34B85}" dt="2023-12-04T14:27:19.547" v="4284" actId="1076"/>
          <ac:spMkLst>
            <pc:docMk/>
            <pc:sldMk cId="371395253" sldId="2147480504"/>
            <ac:spMk id="38" creationId="{D2D970F1-37BA-0616-2151-DCC1AEF77E1D}"/>
          </ac:spMkLst>
        </pc:spChg>
        <pc:grpChg chg="mod">
          <ac:chgData name="Cuvillier, Nicolas" userId="c7f17e95-5c3e-462b-8857-a61ca2f84f6f" providerId="ADAL" clId="{421FC56B-1DFC-468F-8ADB-554CD8D34B85}" dt="2023-12-04T14:27:19.547" v="4284" actId="1076"/>
          <ac:grpSpMkLst>
            <pc:docMk/>
            <pc:sldMk cId="371395253" sldId="2147480504"/>
            <ac:grpSpMk id="13" creationId="{D8292D40-362E-55F5-8A84-1B9683FCC623}"/>
          </ac:grpSpMkLst>
        </pc:grpChg>
        <pc:graphicFrameChg chg="mod">
          <ac:chgData name="Cuvillier, Nicolas" userId="c7f17e95-5c3e-462b-8857-a61ca2f84f6f" providerId="ADAL" clId="{421FC56B-1DFC-468F-8ADB-554CD8D34B85}" dt="2023-12-04T14:27:15.305" v="4282"/>
          <ac:graphicFrameMkLst>
            <pc:docMk/>
            <pc:sldMk cId="371395253" sldId="2147480504"/>
            <ac:graphicFrameMk id="6" creationId="{1532DC8D-EF10-C559-FE82-D80CBE53E380}"/>
          </ac:graphicFrameMkLst>
        </pc:graphicFrameChg>
        <pc:picChg chg="mod">
          <ac:chgData name="Cuvillier, Nicolas" userId="c7f17e95-5c3e-462b-8857-a61ca2f84f6f" providerId="ADAL" clId="{421FC56B-1DFC-468F-8ADB-554CD8D34B85}" dt="2023-12-04T14:27:19.547" v="4284" actId="1076"/>
          <ac:picMkLst>
            <pc:docMk/>
            <pc:sldMk cId="371395253" sldId="2147480504"/>
            <ac:picMk id="2" creationId="{D9C87574-541E-C344-5AC2-6100FF3FA455}"/>
          </ac:picMkLst>
        </pc:picChg>
        <pc:picChg chg="mod">
          <ac:chgData name="Cuvillier, Nicolas" userId="c7f17e95-5c3e-462b-8857-a61ca2f84f6f" providerId="ADAL" clId="{421FC56B-1DFC-468F-8ADB-554CD8D34B85}" dt="2023-12-04T14:27:19.547" v="4284" actId="1076"/>
          <ac:picMkLst>
            <pc:docMk/>
            <pc:sldMk cId="371395253" sldId="2147480504"/>
            <ac:picMk id="3" creationId="{97758EF0-764D-FA1F-1CB4-B97240D893BE}"/>
          </ac:picMkLst>
        </pc:picChg>
        <pc:picChg chg="mod">
          <ac:chgData name="Cuvillier, Nicolas" userId="c7f17e95-5c3e-462b-8857-a61ca2f84f6f" providerId="ADAL" clId="{421FC56B-1DFC-468F-8ADB-554CD8D34B85}" dt="2023-12-04T14:27:19.547" v="4284" actId="1076"/>
          <ac:picMkLst>
            <pc:docMk/>
            <pc:sldMk cId="371395253" sldId="2147480504"/>
            <ac:picMk id="5" creationId="{AD8C3515-AF2C-9985-6CBF-B2D736D5544D}"/>
          </ac:picMkLst>
        </pc:picChg>
        <pc:picChg chg="add mod">
          <ac:chgData name="Cuvillier, Nicolas" userId="c7f17e95-5c3e-462b-8857-a61ca2f84f6f" providerId="ADAL" clId="{421FC56B-1DFC-468F-8ADB-554CD8D34B85}" dt="2023-12-04T18:25:51.151" v="8884" actId="12788"/>
          <ac:picMkLst>
            <pc:docMk/>
            <pc:sldMk cId="371395253" sldId="2147480504"/>
            <ac:picMk id="10" creationId="{809E14E7-68AE-1DC7-5356-004C6BDB6587}"/>
          </ac:picMkLst>
        </pc:picChg>
        <pc:picChg chg="add mod">
          <ac:chgData name="Cuvillier, Nicolas" userId="c7f17e95-5c3e-462b-8857-a61ca2f84f6f" providerId="ADAL" clId="{421FC56B-1DFC-468F-8ADB-554CD8D34B85}" dt="2023-12-04T14:32:56.396" v="4915"/>
          <ac:picMkLst>
            <pc:docMk/>
            <pc:sldMk cId="371395253" sldId="2147480504"/>
            <ac:picMk id="16" creationId="{2E3F752F-58F4-1157-3499-DC0282268763}"/>
          </ac:picMkLst>
        </pc:picChg>
        <pc:picChg chg="mod">
          <ac:chgData name="Cuvillier, Nicolas" userId="c7f17e95-5c3e-462b-8857-a61ca2f84f6f" providerId="ADAL" clId="{421FC56B-1DFC-468F-8ADB-554CD8D34B85}" dt="2023-12-04T14:27:19.547" v="4284" actId="1076"/>
          <ac:picMkLst>
            <pc:docMk/>
            <pc:sldMk cId="371395253" sldId="2147480504"/>
            <ac:picMk id="30" creationId="{70AF88D3-D5BC-BD5E-331A-63ECD9B0817B}"/>
          </ac:picMkLst>
        </pc:picChg>
        <pc:picChg chg="del mod">
          <ac:chgData name="Cuvillier, Nicolas" userId="c7f17e95-5c3e-462b-8857-a61ca2f84f6f" providerId="ADAL" clId="{421FC56B-1DFC-468F-8ADB-554CD8D34B85}" dt="2023-12-04T14:31:26.721" v="4764" actId="478"/>
          <ac:picMkLst>
            <pc:docMk/>
            <pc:sldMk cId="371395253" sldId="2147480504"/>
            <ac:picMk id="39" creationId="{52C83BD0-11B4-F38F-F21C-6C0D3C37DA4B}"/>
          </ac:picMkLst>
        </pc:picChg>
        <pc:picChg chg="mod">
          <ac:chgData name="Cuvillier, Nicolas" userId="c7f17e95-5c3e-462b-8857-a61ca2f84f6f" providerId="ADAL" clId="{421FC56B-1DFC-468F-8ADB-554CD8D34B85}" dt="2023-12-04T14:27:19.547" v="4284" actId="1076"/>
          <ac:picMkLst>
            <pc:docMk/>
            <pc:sldMk cId="371395253" sldId="2147480504"/>
            <ac:picMk id="45" creationId="{D1448623-626A-2AAE-3D98-A749B6240C05}"/>
          </ac:picMkLst>
        </pc:picChg>
        <pc:picChg chg="mod">
          <ac:chgData name="Cuvillier, Nicolas" userId="c7f17e95-5c3e-462b-8857-a61ca2f84f6f" providerId="ADAL" clId="{421FC56B-1DFC-468F-8ADB-554CD8D34B85}" dt="2023-12-04T14:27:19.547" v="4284" actId="1076"/>
          <ac:picMkLst>
            <pc:docMk/>
            <pc:sldMk cId="371395253" sldId="2147480504"/>
            <ac:picMk id="47" creationId="{189AA276-AF58-1AD3-4754-6A5C89FB3CA1}"/>
          </ac:picMkLst>
        </pc:picChg>
        <pc:cxnChg chg="mod">
          <ac:chgData name="Cuvillier, Nicolas" userId="c7f17e95-5c3e-462b-8857-a61ca2f84f6f" providerId="ADAL" clId="{421FC56B-1DFC-468F-8ADB-554CD8D34B85}" dt="2023-12-04T14:27:19.547" v="4284" actId="1076"/>
          <ac:cxnSpMkLst>
            <pc:docMk/>
            <pc:sldMk cId="371395253" sldId="2147480504"/>
            <ac:cxnSpMk id="29" creationId="{3C54040F-052F-1BDA-B90C-98184F9750C7}"/>
          </ac:cxnSpMkLst>
        </pc:cxnChg>
        <pc:cxnChg chg="mod">
          <ac:chgData name="Cuvillier, Nicolas" userId="c7f17e95-5c3e-462b-8857-a61ca2f84f6f" providerId="ADAL" clId="{421FC56B-1DFC-468F-8ADB-554CD8D34B85}" dt="2023-12-04T14:27:19.547" v="4284" actId="1076"/>
          <ac:cxnSpMkLst>
            <pc:docMk/>
            <pc:sldMk cId="371395253" sldId="2147480504"/>
            <ac:cxnSpMk id="34" creationId="{9E3CB111-6AD5-83E5-8626-AAEFD279ABC7}"/>
          </ac:cxnSpMkLst>
        </pc:cxnChg>
      </pc:sldChg>
      <pc:sldChg chg="addSp delSp modSp mod ord">
        <pc:chgData name="Cuvillier, Nicolas" userId="c7f17e95-5c3e-462b-8857-a61ca2f84f6f" providerId="ADAL" clId="{421FC56B-1DFC-468F-8ADB-554CD8D34B85}" dt="2023-12-04T19:28:04.430" v="11456" actId="6549"/>
        <pc:sldMkLst>
          <pc:docMk/>
          <pc:sldMk cId="2328091453" sldId="2147480505"/>
        </pc:sldMkLst>
        <pc:spChg chg="add del mod modVis">
          <ac:chgData name="Cuvillier, Nicolas" userId="c7f17e95-5c3e-462b-8857-a61ca2f84f6f" providerId="ADAL" clId="{421FC56B-1DFC-468F-8ADB-554CD8D34B85}" dt="2023-12-04T12:56:11.090" v="856" actId="962"/>
          <ac:spMkLst>
            <pc:docMk/>
            <pc:sldMk cId="2328091453" sldId="2147480505"/>
            <ac:spMk id="2" creationId="{D342F9C7-C6D0-7423-7F97-C20B2765D9EC}"/>
          </ac:spMkLst>
        </pc:spChg>
        <pc:spChg chg="add del mod modVis">
          <ac:chgData name="Cuvillier, Nicolas" userId="c7f17e95-5c3e-462b-8857-a61ca2f84f6f" providerId="ADAL" clId="{421FC56B-1DFC-468F-8ADB-554CD8D34B85}" dt="2023-12-04T12:56:31.680" v="1090"/>
          <ac:spMkLst>
            <pc:docMk/>
            <pc:sldMk cId="2328091453" sldId="2147480505"/>
            <ac:spMk id="3" creationId="{77CD71CE-7742-9782-D860-F25DBF1DA7EA}"/>
          </ac:spMkLst>
        </pc:spChg>
        <pc:spChg chg="mod">
          <ac:chgData name="Cuvillier, Nicolas" userId="c7f17e95-5c3e-462b-8857-a61ca2f84f6f" providerId="ADAL" clId="{421FC56B-1DFC-468F-8ADB-554CD8D34B85}" dt="2023-12-04T19:24:44.352" v="11373" actId="20577"/>
          <ac:spMkLst>
            <pc:docMk/>
            <pc:sldMk cId="2328091453" sldId="2147480505"/>
            <ac:spMk id="4" creationId="{DF884FB3-6C01-F685-77F6-4D1FA5C1E1B5}"/>
          </ac:spMkLst>
        </pc:spChg>
        <pc:spChg chg="mod">
          <ac:chgData name="Cuvillier, Nicolas" userId="c7f17e95-5c3e-462b-8857-a61ca2f84f6f" providerId="ADAL" clId="{421FC56B-1DFC-468F-8ADB-554CD8D34B85}" dt="2023-12-04T14:27:32.432" v="4297" actId="1076"/>
          <ac:spMkLst>
            <pc:docMk/>
            <pc:sldMk cId="2328091453" sldId="2147480505"/>
            <ac:spMk id="7" creationId="{DA28DF84-7415-DB6D-9B4D-2F4E5DBAC434}"/>
          </ac:spMkLst>
        </pc:spChg>
        <pc:spChg chg="mod">
          <ac:chgData name="Cuvillier, Nicolas" userId="c7f17e95-5c3e-462b-8857-a61ca2f84f6f" providerId="ADAL" clId="{421FC56B-1DFC-468F-8ADB-554CD8D34B85}" dt="2023-12-04T14:27:36.601" v="4298" actId="1076"/>
          <ac:spMkLst>
            <pc:docMk/>
            <pc:sldMk cId="2328091453" sldId="2147480505"/>
            <ac:spMk id="8" creationId="{7473B29A-4774-EAB8-12A1-04504C9B87C2}"/>
          </ac:spMkLst>
        </pc:spChg>
        <pc:spChg chg="mod">
          <ac:chgData name="Cuvillier, Nicolas" userId="c7f17e95-5c3e-462b-8857-a61ca2f84f6f" providerId="ADAL" clId="{421FC56B-1DFC-468F-8ADB-554CD8D34B85}" dt="2023-12-04T14:27:36.601" v="4298" actId="1076"/>
          <ac:spMkLst>
            <pc:docMk/>
            <pc:sldMk cId="2328091453" sldId="2147480505"/>
            <ac:spMk id="9" creationId="{5ECC99B7-1B15-1ED8-05C0-3B8A9BB9C776}"/>
          </ac:spMkLst>
        </pc:spChg>
        <pc:spChg chg="mod">
          <ac:chgData name="Cuvillier, Nicolas" userId="c7f17e95-5c3e-462b-8857-a61ca2f84f6f" providerId="ADAL" clId="{421FC56B-1DFC-468F-8ADB-554CD8D34B85}" dt="2023-12-04T14:27:32.432" v="4297" actId="1076"/>
          <ac:spMkLst>
            <pc:docMk/>
            <pc:sldMk cId="2328091453" sldId="2147480505"/>
            <ac:spMk id="11" creationId="{7021C420-101B-C257-E4F1-20C1E6043EE5}"/>
          </ac:spMkLst>
        </pc:spChg>
        <pc:spChg chg="mod">
          <ac:chgData name="Cuvillier, Nicolas" userId="c7f17e95-5c3e-462b-8857-a61ca2f84f6f" providerId="ADAL" clId="{421FC56B-1DFC-468F-8ADB-554CD8D34B85}" dt="2023-12-04T18:58:08.748" v="10128" actId="20577"/>
          <ac:spMkLst>
            <pc:docMk/>
            <pc:sldMk cId="2328091453" sldId="2147480505"/>
            <ac:spMk id="14" creationId="{EC347EB2-A17C-9756-6F8A-FA325CAB65BB}"/>
          </ac:spMkLst>
        </pc:spChg>
        <pc:spChg chg="mod">
          <ac:chgData name="Cuvillier, Nicolas" userId="c7f17e95-5c3e-462b-8857-a61ca2f84f6f" providerId="ADAL" clId="{421FC56B-1DFC-468F-8ADB-554CD8D34B85}" dt="2023-12-04T14:27:32.432" v="4297" actId="1076"/>
          <ac:spMkLst>
            <pc:docMk/>
            <pc:sldMk cId="2328091453" sldId="2147480505"/>
            <ac:spMk id="17" creationId="{3119BBCB-5A35-97C6-C2D5-DDB2A67858B4}"/>
          </ac:spMkLst>
        </pc:spChg>
        <pc:spChg chg="add del mod">
          <ac:chgData name="Cuvillier, Nicolas" userId="c7f17e95-5c3e-462b-8857-a61ca2f84f6f" providerId="ADAL" clId="{421FC56B-1DFC-468F-8ADB-554CD8D34B85}" dt="2023-12-04T14:27:25.954" v="4291" actId="478"/>
          <ac:spMkLst>
            <pc:docMk/>
            <pc:sldMk cId="2328091453" sldId="2147480505"/>
            <ac:spMk id="21" creationId="{C357375E-31F1-B749-2B96-14448E0EDA3F}"/>
          </ac:spMkLst>
        </pc:spChg>
        <pc:spChg chg="del mod">
          <ac:chgData name="Cuvillier, Nicolas" userId="c7f17e95-5c3e-462b-8857-a61ca2f84f6f" providerId="ADAL" clId="{421FC56B-1DFC-468F-8ADB-554CD8D34B85}" dt="2023-12-04T14:27:25.099" v="4286" actId="478"/>
          <ac:spMkLst>
            <pc:docMk/>
            <pc:sldMk cId="2328091453" sldId="2147480505"/>
            <ac:spMk id="22" creationId="{23413B08-5FEA-6306-84D4-A9BCC06F2A31}"/>
          </ac:spMkLst>
        </pc:spChg>
        <pc:spChg chg="mod">
          <ac:chgData name="Cuvillier, Nicolas" userId="c7f17e95-5c3e-462b-8857-a61ca2f84f6f" providerId="ADAL" clId="{421FC56B-1DFC-468F-8ADB-554CD8D34B85}" dt="2023-12-04T14:27:32.432" v="4297" actId="1076"/>
          <ac:spMkLst>
            <pc:docMk/>
            <pc:sldMk cId="2328091453" sldId="2147480505"/>
            <ac:spMk id="23" creationId="{60597E66-83FC-AF81-6604-C1DB01380F18}"/>
          </ac:spMkLst>
        </pc:spChg>
        <pc:spChg chg="mod">
          <ac:chgData name="Cuvillier, Nicolas" userId="c7f17e95-5c3e-462b-8857-a61ca2f84f6f" providerId="ADAL" clId="{421FC56B-1DFC-468F-8ADB-554CD8D34B85}" dt="2023-12-04T14:27:32.432" v="4297" actId="1076"/>
          <ac:spMkLst>
            <pc:docMk/>
            <pc:sldMk cId="2328091453" sldId="2147480505"/>
            <ac:spMk id="24" creationId="{D5173955-0A5F-1F86-E19C-0100540A9836}"/>
          </ac:spMkLst>
        </pc:spChg>
        <pc:spChg chg="mod">
          <ac:chgData name="Cuvillier, Nicolas" userId="c7f17e95-5c3e-462b-8857-a61ca2f84f6f" providerId="ADAL" clId="{421FC56B-1DFC-468F-8ADB-554CD8D34B85}" dt="2023-12-04T19:28:04.430" v="11456" actId="6549"/>
          <ac:spMkLst>
            <pc:docMk/>
            <pc:sldMk cId="2328091453" sldId="2147480505"/>
            <ac:spMk id="25" creationId="{958D2966-7E7D-9813-B536-FF656F5DC453}"/>
          </ac:spMkLst>
        </pc:spChg>
        <pc:spChg chg="del">
          <ac:chgData name="Cuvillier, Nicolas" userId="c7f17e95-5c3e-462b-8857-a61ca2f84f6f" providerId="ADAL" clId="{421FC56B-1DFC-468F-8ADB-554CD8D34B85}" dt="2023-12-04T14:27:27.296" v="4296" actId="478"/>
          <ac:spMkLst>
            <pc:docMk/>
            <pc:sldMk cId="2328091453" sldId="2147480505"/>
            <ac:spMk id="26" creationId="{49C9CE68-3076-3846-BDBC-BA436D8237D3}"/>
          </ac:spMkLst>
        </pc:spChg>
        <pc:spChg chg="mod">
          <ac:chgData name="Cuvillier, Nicolas" userId="c7f17e95-5c3e-462b-8857-a61ca2f84f6f" providerId="ADAL" clId="{421FC56B-1DFC-468F-8ADB-554CD8D34B85}" dt="2023-12-04T18:16:03.675" v="8394" actId="20577"/>
          <ac:spMkLst>
            <pc:docMk/>
            <pc:sldMk cId="2328091453" sldId="2147480505"/>
            <ac:spMk id="27" creationId="{E1366F96-29C8-F300-6344-34F16AE85E10}"/>
          </ac:spMkLst>
        </pc:spChg>
        <pc:spChg chg="mod">
          <ac:chgData name="Cuvillier, Nicolas" userId="c7f17e95-5c3e-462b-8857-a61ca2f84f6f" providerId="ADAL" clId="{421FC56B-1DFC-468F-8ADB-554CD8D34B85}" dt="2023-12-04T14:27:32.432" v="4297" actId="1076"/>
          <ac:spMkLst>
            <pc:docMk/>
            <pc:sldMk cId="2328091453" sldId="2147480505"/>
            <ac:spMk id="28" creationId="{91C85F53-0BAC-0392-CDB8-86024CC7523A}"/>
          </ac:spMkLst>
        </pc:spChg>
        <pc:spChg chg="mod">
          <ac:chgData name="Cuvillier, Nicolas" userId="c7f17e95-5c3e-462b-8857-a61ca2f84f6f" providerId="ADAL" clId="{421FC56B-1DFC-468F-8ADB-554CD8D34B85}" dt="2023-12-04T14:27:36.601" v="4298" actId="1076"/>
          <ac:spMkLst>
            <pc:docMk/>
            <pc:sldMk cId="2328091453" sldId="2147480505"/>
            <ac:spMk id="32" creationId="{32E83A3A-E468-E405-98BA-831957BFBF41}"/>
          </ac:spMkLst>
        </pc:spChg>
        <pc:spChg chg="mod">
          <ac:chgData name="Cuvillier, Nicolas" userId="c7f17e95-5c3e-462b-8857-a61ca2f84f6f" providerId="ADAL" clId="{421FC56B-1DFC-468F-8ADB-554CD8D34B85}" dt="2023-12-04T14:27:32.432" v="4297" actId="1076"/>
          <ac:spMkLst>
            <pc:docMk/>
            <pc:sldMk cId="2328091453" sldId="2147480505"/>
            <ac:spMk id="35" creationId="{4D3F7C0A-B149-1D73-324F-73B6CC4231CD}"/>
          </ac:spMkLst>
        </pc:spChg>
        <pc:spChg chg="mod">
          <ac:chgData name="Cuvillier, Nicolas" userId="c7f17e95-5c3e-462b-8857-a61ca2f84f6f" providerId="ADAL" clId="{421FC56B-1DFC-468F-8ADB-554CD8D34B85}" dt="2023-12-04T14:27:32.432" v="4297" actId="1076"/>
          <ac:spMkLst>
            <pc:docMk/>
            <pc:sldMk cId="2328091453" sldId="2147480505"/>
            <ac:spMk id="37" creationId="{334ADF48-30AE-4246-8BEE-2FDDBB4368CB}"/>
          </ac:spMkLst>
        </pc:spChg>
        <pc:spChg chg="mod">
          <ac:chgData name="Cuvillier, Nicolas" userId="c7f17e95-5c3e-462b-8857-a61ca2f84f6f" providerId="ADAL" clId="{421FC56B-1DFC-468F-8ADB-554CD8D34B85}" dt="2023-12-04T14:27:32.432" v="4297" actId="1076"/>
          <ac:spMkLst>
            <pc:docMk/>
            <pc:sldMk cId="2328091453" sldId="2147480505"/>
            <ac:spMk id="38" creationId="{D2D970F1-37BA-0616-2151-DCC1AEF77E1D}"/>
          </ac:spMkLst>
        </pc:spChg>
        <pc:grpChg chg="mod">
          <ac:chgData name="Cuvillier, Nicolas" userId="c7f17e95-5c3e-462b-8857-a61ca2f84f6f" providerId="ADAL" clId="{421FC56B-1DFC-468F-8ADB-554CD8D34B85}" dt="2023-12-04T14:27:32.432" v="4297" actId="1076"/>
          <ac:grpSpMkLst>
            <pc:docMk/>
            <pc:sldMk cId="2328091453" sldId="2147480505"/>
            <ac:grpSpMk id="13" creationId="{D8292D40-362E-55F5-8A84-1B9683FCC623}"/>
          </ac:grpSpMkLst>
        </pc:grpChg>
        <pc:graphicFrameChg chg="mod">
          <ac:chgData name="Cuvillier, Nicolas" userId="c7f17e95-5c3e-462b-8857-a61ca2f84f6f" providerId="ADAL" clId="{421FC56B-1DFC-468F-8ADB-554CD8D34B85}" dt="2023-12-04T14:27:26.465" v="4295"/>
          <ac:graphicFrameMkLst>
            <pc:docMk/>
            <pc:sldMk cId="2328091453" sldId="2147480505"/>
            <ac:graphicFrameMk id="6" creationId="{1532DC8D-EF10-C559-FE82-D80CBE53E380}"/>
          </ac:graphicFrameMkLst>
        </pc:graphicFrameChg>
        <pc:picChg chg="mod">
          <ac:chgData name="Cuvillier, Nicolas" userId="c7f17e95-5c3e-462b-8857-a61ca2f84f6f" providerId="ADAL" clId="{421FC56B-1DFC-468F-8ADB-554CD8D34B85}" dt="2023-12-04T14:27:32.432" v="4297" actId="1076"/>
          <ac:picMkLst>
            <pc:docMk/>
            <pc:sldMk cId="2328091453" sldId="2147480505"/>
            <ac:picMk id="5" creationId="{AD8C3515-AF2C-9985-6CBF-B2D736D5544D}"/>
          </ac:picMkLst>
        </pc:picChg>
        <pc:picChg chg="mod">
          <ac:chgData name="Cuvillier, Nicolas" userId="c7f17e95-5c3e-462b-8857-a61ca2f84f6f" providerId="ADAL" clId="{421FC56B-1DFC-468F-8ADB-554CD8D34B85}" dt="2023-12-04T14:27:32.432" v="4297" actId="1076"/>
          <ac:picMkLst>
            <pc:docMk/>
            <pc:sldMk cId="2328091453" sldId="2147480505"/>
            <ac:picMk id="10" creationId="{052E0670-3276-DB72-AE0B-B210D17DC7A6}"/>
          </ac:picMkLst>
        </pc:picChg>
        <pc:picChg chg="add del mod">
          <ac:chgData name="Cuvillier, Nicolas" userId="c7f17e95-5c3e-462b-8857-a61ca2f84f6f" providerId="ADAL" clId="{421FC56B-1DFC-468F-8ADB-554CD8D34B85}" dt="2023-12-04T14:36:49.080" v="5012" actId="478"/>
          <ac:picMkLst>
            <pc:docMk/>
            <pc:sldMk cId="2328091453" sldId="2147480505"/>
            <ac:picMk id="12" creationId="{0D65982C-15C7-14C6-8BB3-23501E337514}"/>
          </ac:picMkLst>
        </pc:picChg>
        <pc:picChg chg="mod">
          <ac:chgData name="Cuvillier, Nicolas" userId="c7f17e95-5c3e-462b-8857-a61ca2f84f6f" providerId="ADAL" clId="{421FC56B-1DFC-468F-8ADB-554CD8D34B85}" dt="2023-12-04T14:27:32.432" v="4297" actId="1076"/>
          <ac:picMkLst>
            <pc:docMk/>
            <pc:sldMk cId="2328091453" sldId="2147480505"/>
            <ac:picMk id="16" creationId="{38BE9678-FED3-2C94-24E6-1BDAE55B29E5}"/>
          </ac:picMkLst>
        </pc:picChg>
        <pc:picChg chg="add mod ord">
          <ac:chgData name="Cuvillier, Nicolas" userId="c7f17e95-5c3e-462b-8857-a61ca2f84f6f" providerId="ADAL" clId="{421FC56B-1DFC-468F-8ADB-554CD8D34B85}" dt="2023-12-04T14:27:32.432" v="4297" actId="1076"/>
          <ac:picMkLst>
            <pc:docMk/>
            <pc:sldMk cId="2328091453" sldId="2147480505"/>
            <ac:picMk id="18" creationId="{E2B56C98-7422-96CB-E35E-58D4BD09627A}"/>
          </ac:picMkLst>
        </pc:picChg>
        <pc:picChg chg="mod">
          <ac:chgData name="Cuvillier, Nicolas" userId="c7f17e95-5c3e-462b-8857-a61ca2f84f6f" providerId="ADAL" clId="{421FC56B-1DFC-468F-8ADB-554CD8D34B85}" dt="2023-12-04T14:27:32.432" v="4297" actId="1076"/>
          <ac:picMkLst>
            <pc:docMk/>
            <pc:sldMk cId="2328091453" sldId="2147480505"/>
            <ac:picMk id="20" creationId="{96C98FEA-3E12-DB9E-6FB0-C87D0F5C15BA}"/>
          </ac:picMkLst>
        </pc:picChg>
        <pc:picChg chg="mod">
          <ac:chgData name="Cuvillier, Nicolas" userId="c7f17e95-5c3e-462b-8857-a61ca2f84f6f" providerId="ADAL" clId="{421FC56B-1DFC-468F-8ADB-554CD8D34B85}" dt="2023-12-04T14:27:32.432" v="4297" actId="1076"/>
          <ac:picMkLst>
            <pc:docMk/>
            <pc:sldMk cId="2328091453" sldId="2147480505"/>
            <ac:picMk id="30" creationId="{70AF88D3-D5BC-BD5E-331A-63ECD9B0817B}"/>
          </ac:picMkLst>
        </pc:picChg>
        <pc:picChg chg="mod">
          <ac:chgData name="Cuvillier, Nicolas" userId="c7f17e95-5c3e-462b-8857-a61ca2f84f6f" providerId="ADAL" clId="{421FC56B-1DFC-468F-8ADB-554CD8D34B85}" dt="2023-12-04T14:27:32.432" v="4297" actId="1076"/>
          <ac:picMkLst>
            <pc:docMk/>
            <pc:sldMk cId="2328091453" sldId="2147480505"/>
            <ac:picMk id="31" creationId="{9A5AC0FE-7FC1-57FE-A00D-B9159DF1123F}"/>
          </ac:picMkLst>
        </pc:picChg>
        <pc:picChg chg="add mod">
          <ac:chgData name="Cuvillier, Nicolas" userId="c7f17e95-5c3e-462b-8857-a61ca2f84f6f" providerId="ADAL" clId="{421FC56B-1DFC-468F-8ADB-554CD8D34B85}" dt="2023-12-04T14:32:59.844" v="4924"/>
          <ac:picMkLst>
            <pc:docMk/>
            <pc:sldMk cId="2328091453" sldId="2147480505"/>
            <ac:picMk id="33" creationId="{4DD3759D-256D-66EE-AF52-586851443997}"/>
          </ac:picMkLst>
        </pc:picChg>
        <pc:picChg chg="del mod">
          <ac:chgData name="Cuvillier, Nicolas" userId="c7f17e95-5c3e-462b-8857-a61ca2f84f6f" providerId="ADAL" clId="{421FC56B-1DFC-468F-8ADB-554CD8D34B85}" dt="2023-12-04T14:31:27.598" v="4765" actId="478"/>
          <ac:picMkLst>
            <pc:docMk/>
            <pc:sldMk cId="2328091453" sldId="2147480505"/>
            <ac:picMk id="39" creationId="{52C83BD0-11B4-F38F-F21C-6C0D3C37DA4B}"/>
          </ac:picMkLst>
        </pc:picChg>
        <pc:picChg chg="mod">
          <ac:chgData name="Cuvillier, Nicolas" userId="c7f17e95-5c3e-462b-8857-a61ca2f84f6f" providerId="ADAL" clId="{421FC56B-1DFC-468F-8ADB-554CD8D34B85}" dt="2023-12-04T14:27:32.432" v="4297" actId="1076"/>
          <ac:picMkLst>
            <pc:docMk/>
            <pc:sldMk cId="2328091453" sldId="2147480505"/>
            <ac:picMk id="45" creationId="{D1448623-626A-2AAE-3D98-A749B6240C05}"/>
          </ac:picMkLst>
        </pc:picChg>
        <pc:picChg chg="mod">
          <ac:chgData name="Cuvillier, Nicolas" userId="c7f17e95-5c3e-462b-8857-a61ca2f84f6f" providerId="ADAL" clId="{421FC56B-1DFC-468F-8ADB-554CD8D34B85}" dt="2023-12-04T14:27:32.432" v="4297" actId="1076"/>
          <ac:picMkLst>
            <pc:docMk/>
            <pc:sldMk cId="2328091453" sldId="2147480505"/>
            <ac:picMk id="47" creationId="{189AA276-AF58-1AD3-4754-6A5C89FB3CA1}"/>
          </ac:picMkLst>
        </pc:picChg>
        <pc:cxnChg chg="mod">
          <ac:chgData name="Cuvillier, Nicolas" userId="c7f17e95-5c3e-462b-8857-a61ca2f84f6f" providerId="ADAL" clId="{421FC56B-1DFC-468F-8ADB-554CD8D34B85}" dt="2023-12-04T14:27:32.432" v="4297" actId="1076"/>
          <ac:cxnSpMkLst>
            <pc:docMk/>
            <pc:sldMk cId="2328091453" sldId="2147480505"/>
            <ac:cxnSpMk id="29" creationId="{3C54040F-052F-1BDA-B90C-98184F9750C7}"/>
          </ac:cxnSpMkLst>
        </pc:cxnChg>
        <pc:cxnChg chg="mod">
          <ac:chgData name="Cuvillier, Nicolas" userId="c7f17e95-5c3e-462b-8857-a61ca2f84f6f" providerId="ADAL" clId="{421FC56B-1DFC-468F-8ADB-554CD8D34B85}" dt="2023-12-04T14:27:32.432" v="4297" actId="1076"/>
          <ac:cxnSpMkLst>
            <pc:docMk/>
            <pc:sldMk cId="2328091453" sldId="2147480505"/>
            <ac:cxnSpMk id="34" creationId="{9E3CB111-6AD5-83E5-8626-AAEFD279ABC7}"/>
          </ac:cxnSpMkLst>
        </pc:cxnChg>
      </pc:sldChg>
      <pc:sldChg chg="addSp delSp modSp mod ord">
        <pc:chgData name="Cuvillier, Nicolas" userId="c7f17e95-5c3e-462b-8857-a61ca2f84f6f" providerId="ADAL" clId="{421FC56B-1DFC-468F-8ADB-554CD8D34B85}" dt="2023-12-04T19:28:05.544" v="11457" actId="6549"/>
        <pc:sldMkLst>
          <pc:docMk/>
          <pc:sldMk cId="3907706667" sldId="2147480506"/>
        </pc:sldMkLst>
        <pc:spChg chg="mod">
          <ac:chgData name="Cuvillier, Nicolas" userId="c7f17e95-5c3e-462b-8857-a61ca2f84f6f" providerId="ADAL" clId="{421FC56B-1DFC-468F-8ADB-554CD8D34B85}" dt="2023-12-04T19:24:10.884" v="11294" actId="20577"/>
          <ac:spMkLst>
            <pc:docMk/>
            <pc:sldMk cId="3907706667" sldId="2147480506"/>
            <ac:spMk id="4" creationId="{DF884FB3-6C01-F685-77F6-4D1FA5C1E1B5}"/>
          </ac:spMkLst>
        </pc:spChg>
        <pc:spChg chg="mod">
          <ac:chgData name="Cuvillier, Nicolas" userId="c7f17e95-5c3e-462b-8857-a61ca2f84f6f" providerId="ADAL" clId="{421FC56B-1DFC-468F-8ADB-554CD8D34B85}" dt="2023-12-04T14:27:45.427" v="4310" actId="1076"/>
          <ac:spMkLst>
            <pc:docMk/>
            <pc:sldMk cId="3907706667" sldId="2147480506"/>
            <ac:spMk id="7" creationId="{DA28DF84-7415-DB6D-9B4D-2F4E5DBAC434}"/>
          </ac:spMkLst>
        </pc:spChg>
        <pc:spChg chg="mod">
          <ac:chgData name="Cuvillier, Nicolas" userId="c7f17e95-5c3e-462b-8857-a61ca2f84f6f" providerId="ADAL" clId="{421FC56B-1DFC-468F-8ADB-554CD8D34B85}" dt="2023-12-04T14:27:49.253" v="4311" actId="1076"/>
          <ac:spMkLst>
            <pc:docMk/>
            <pc:sldMk cId="3907706667" sldId="2147480506"/>
            <ac:spMk id="8" creationId="{7473B29A-4774-EAB8-12A1-04504C9B87C2}"/>
          </ac:spMkLst>
        </pc:spChg>
        <pc:spChg chg="mod">
          <ac:chgData name="Cuvillier, Nicolas" userId="c7f17e95-5c3e-462b-8857-a61ca2f84f6f" providerId="ADAL" clId="{421FC56B-1DFC-468F-8ADB-554CD8D34B85}" dt="2023-12-04T14:27:49.253" v="4311" actId="1076"/>
          <ac:spMkLst>
            <pc:docMk/>
            <pc:sldMk cId="3907706667" sldId="2147480506"/>
            <ac:spMk id="9" creationId="{5ECC99B7-1B15-1ED8-05C0-3B8A9BB9C776}"/>
          </ac:spMkLst>
        </pc:spChg>
        <pc:spChg chg="add del mod modVis">
          <ac:chgData name="Cuvillier, Nicolas" userId="c7f17e95-5c3e-462b-8857-a61ca2f84f6f" providerId="ADAL" clId="{421FC56B-1DFC-468F-8ADB-554CD8D34B85}" dt="2023-12-04T12:56:33.201" v="1119"/>
          <ac:spMkLst>
            <pc:docMk/>
            <pc:sldMk cId="3907706667" sldId="2147480506"/>
            <ac:spMk id="10" creationId="{E1B0FBE5-8DA8-395C-9504-C99DA8B8FB7E}"/>
          </ac:spMkLst>
        </pc:spChg>
        <pc:spChg chg="mod">
          <ac:chgData name="Cuvillier, Nicolas" userId="c7f17e95-5c3e-462b-8857-a61ca2f84f6f" providerId="ADAL" clId="{421FC56B-1DFC-468F-8ADB-554CD8D34B85}" dt="2023-12-04T14:27:45.427" v="4310" actId="1076"/>
          <ac:spMkLst>
            <pc:docMk/>
            <pc:sldMk cId="3907706667" sldId="2147480506"/>
            <ac:spMk id="11" creationId="{7021C420-101B-C257-E4F1-20C1E6043EE5}"/>
          </ac:spMkLst>
        </pc:spChg>
        <pc:spChg chg="mod">
          <ac:chgData name="Cuvillier, Nicolas" userId="c7f17e95-5c3e-462b-8857-a61ca2f84f6f" providerId="ADAL" clId="{421FC56B-1DFC-468F-8ADB-554CD8D34B85}" dt="2023-12-04T19:23:34.207" v="11251" actId="20577"/>
          <ac:spMkLst>
            <pc:docMk/>
            <pc:sldMk cId="3907706667" sldId="2147480506"/>
            <ac:spMk id="14" creationId="{EC347EB2-A17C-9756-6F8A-FA325CAB65BB}"/>
          </ac:spMkLst>
        </pc:spChg>
        <pc:spChg chg="mod">
          <ac:chgData name="Cuvillier, Nicolas" userId="c7f17e95-5c3e-462b-8857-a61ca2f84f6f" providerId="ADAL" clId="{421FC56B-1DFC-468F-8ADB-554CD8D34B85}" dt="2023-12-04T14:27:45.427" v="4310" actId="1076"/>
          <ac:spMkLst>
            <pc:docMk/>
            <pc:sldMk cId="3907706667" sldId="2147480506"/>
            <ac:spMk id="17" creationId="{3119BBCB-5A35-97C6-C2D5-DDB2A67858B4}"/>
          </ac:spMkLst>
        </pc:spChg>
        <pc:spChg chg="add del mod">
          <ac:chgData name="Cuvillier, Nicolas" userId="c7f17e95-5c3e-462b-8857-a61ca2f84f6f" providerId="ADAL" clId="{421FC56B-1DFC-468F-8ADB-554CD8D34B85}" dt="2023-12-04T14:27:39.386" v="4304" actId="478"/>
          <ac:spMkLst>
            <pc:docMk/>
            <pc:sldMk cId="3907706667" sldId="2147480506"/>
            <ac:spMk id="18" creationId="{A678ECCD-4A74-FC4D-2810-46F6C4C230B0}"/>
          </ac:spMkLst>
        </pc:spChg>
        <pc:spChg chg="del mod">
          <ac:chgData name="Cuvillier, Nicolas" userId="c7f17e95-5c3e-462b-8857-a61ca2f84f6f" providerId="ADAL" clId="{421FC56B-1DFC-468F-8ADB-554CD8D34B85}" dt="2023-12-04T14:27:38.551" v="4299" actId="478"/>
          <ac:spMkLst>
            <pc:docMk/>
            <pc:sldMk cId="3907706667" sldId="2147480506"/>
            <ac:spMk id="22" creationId="{23413B08-5FEA-6306-84D4-A9BCC06F2A31}"/>
          </ac:spMkLst>
        </pc:spChg>
        <pc:spChg chg="mod">
          <ac:chgData name="Cuvillier, Nicolas" userId="c7f17e95-5c3e-462b-8857-a61ca2f84f6f" providerId="ADAL" clId="{421FC56B-1DFC-468F-8ADB-554CD8D34B85}" dt="2023-12-04T14:27:45.427" v="4310" actId="1076"/>
          <ac:spMkLst>
            <pc:docMk/>
            <pc:sldMk cId="3907706667" sldId="2147480506"/>
            <ac:spMk id="23" creationId="{60597E66-83FC-AF81-6604-C1DB01380F18}"/>
          </ac:spMkLst>
        </pc:spChg>
        <pc:spChg chg="mod">
          <ac:chgData name="Cuvillier, Nicolas" userId="c7f17e95-5c3e-462b-8857-a61ca2f84f6f" providerId="ADAL" clId="{421FC56B-1DFC-468F-8ADB-554CD8D34B85}" dt="2023-12-04T14:27:45.427" v="4310" actId="1076"/>
          <ac:spMkLst>
            <pc:docMk/>
            <pc:sldMk cId="3907706667" sldId="2147480506"/>
            <ac:spMk id="24" creationId="{D5173955-0A5F-1F86-E19C-0100540A9836}"/>
          </ac:spMkLst>
        </pc:spChg>
        <pc:spChg chg="mod">
          <ac:chgData name="Cuvillier, Nicolas" userId="c7f17e95-5c3e-462b-8857-a61ca2f84f6f" providerId="ADAL" clId="{421FC56B-1DFC-468F-8ADB-554CD8D34B85}" dt="2023-12-04T19:28:05.544" v="11457" actId="6549"/>
          <ac:spMkLst>
            <pc:docMk/>
            <pc:sldMk cId="3907706667" sldId="2147480506"/>
            <ac:spMk id="25" creationId="{958D2966-7E7D-9813-B536-FF656F5DC453}"/>
          </ac:spMkLst>
        </pc:spChg>
        <pc:spChg chg="del">
          <ac:chgData name="Cuvillier, Nicolas" userId="c7f17e95-5c3e-462b-8857-a61ca2f84f6f" providerId="ADAL" clId="{421FC56B-1DFC-468F-8ADB-554CD8D34B85}" dt="2023-12-04T14:27:40.761" v="4309" actId="478"/>
          <ac:spMkLst>
            <pc:docMk/>
            <pc:sldMk cId="3907706667" sldId="2147480506"/>
            <ac:spMk id="26" creationId="{49C9CE68-3076-3846-BDBC-BA436D8237D3}"/>
          </ac:spMkLst>
        </pc:spChg>
        <pc:spChg chg="mod">
          <ac:chgData name="Cuvillier, Nicolas" userId="c7f17e95-5c3e-462b-8857-a61ca2f84f6f" providerId="ADAL" clId="{421FC56B-1DFC-468F-8ADB-554CD8D34B85}" dt="2023-12-04T18:59:09.033" v="10166" actId="20577"/>
          <ac:spMkLst>
            <pc:docMk/>
            <pc:sldMk cId="3907706667" sldId="2147480506"/>
            <ac:spMk id="27" creationId="{E1366F96-29C8-F300-6344-34F16AE85E10}"/>
          </ac:spMkLst>
        </pc:spChg>
        <pc:spChg chg="mod">
          <ac:chgData name="Cuvillier, Nicolas" userId="c7f17e95-5c3e-462b-8857-a61ca2f84f6f" providerId="ADAL" clId="{421FC56B-1DFC-468F-8ADB-554CD8D34B85}" dt="2023-12-04T14:27:45.427" v="4310" actId="1076"/>
          <ac:spMkLst>
            <pc:docMk/>
            <pc:sldMk cId="3907706667" sldId="2147480506"/>
            <ac:spMk id="28" creationId="{91C85F53-0BAC-0392-CDB8-86024CC7523A}"/>
          </ac:spMkLst>
        </pc:spChg>
        <pc:spChg chg="mod">
          <ac:chgData name="Cuvillier, Nicolas" userId="c7f17e95-5c3e-462b-8857-a61ca2f84f6f" providerId="ADAL" clId="{421FC56B-1DFC-468F-8ADB-554CD8D34B85}" dt="2023-12-04T14:27:49.253" v="4311" actId="1076"/>
          <ac:spMkLst>
            <pc:docMk/>
            <pc:sldMk cId="3907706667" sldId="2147480506"/>
            <ac:spMk id="32" creationId="{32E83A3A-E468-E405-98BA-831957BFBF41}"/>
          </ac:spMkLst>
        </pc:spChg>
        <pc:spChg chg="mod">
          <ac:chgData name="Cuvillier, Nicolas" userId="c7f17e95-5c3e-462b-8857-a61ca2f84f6f" providerId="ADAL" clId="{421FC56B-1DFC-468F-8ADB-554CD8D34B85}" dt="2023-12-04T14:27:45.427" v="4310" actId="1076"/>
          <ac:spMkLst>
            <pc:docMk/>
            <pc:sldMk cId="3907706667" sldId="2147480506"/>
            <ac:spMk id="35" creationId="{4D3F7C0A-B149-1D73-324F-73B6CC4231CD}"/>
          </ac:spMkLst>
        </pc:spChg>
        <pc:spChg chg="mod">
          <ac:chgData name="Cuvillier, Nicolas" userId="c7f17e95-5c3e-462b-8857-a61ca2f84f6f" providerId="ADAL" clId="{421FC56B-1DFC-468F-8ADB-554CD8D34B85}" dt="2023-12-04T14:27:45.427" v="4310" actId="1076"/>
          <ac:spMkLst>
            <pc:docMk/>
            <pc:sldMk cId="3907706667" sldId="2147480506"/>
            <ac:spMk id="37" creationId="{334ADF48-30AE-4246-8BEE-2FDDBB4368CB}"/>
          </ac:spMkLst>
        </pc:spChg>
        <pc:spChg chg="mod">
          <ac:chgData name="Cuvillier, Nicolas" userId="c7f17e95-5c3e-462b-8857-a61ca2f84f6f" providerId="ADAL" clId="{421FC56B-1DFC-468F-8ADB-554CD8D34B85}" dt="2023-12-04T14:27:45.427" v="4310" actId="1076"/>
          <ac:spMkLst>
            <pc:docMk/>
            <pc:sldMk cId="3907706667" sldId="2147480506"/>
            <ac:spMk id="38" creationId="{D2D970F1-37BA-0616-2151-DCC1AEF77E1D}"/>
          </ac:spMkLst>
        </pc:spChg>
        <pc:grpChg chg="mod">
          <ac:chgData name="Cuvillier, Nicolas" userId="c7f17e95-5c3e-462b-8857-a61ca2f84f6f" providerId="ADAL" clId="{421FC56B-1DFC-468F-8ADB-554CD8D34B85}" dt="2023-12-04T14:27:45.427" v="4310" actId="1076"/>
          <ac:grpSpMkLst>
            <pc:docMk/>
            <pc:sldMk cId="3907706667" sldId="2147480506"/>
            <ac:grpSpMk id="13" creationId="{D8292D40-362E-55F5-8A84-1B9683FCC623}"/>
          </ac:grpSpMkLst>
        </pc:grpChg>
        <pc:graphicFrameChg chg="mod">
          <ac:chgData name="Cuvillier, Nicolas" userId="c7f17e95-5c3e-462b-8857-a61ca2f84f6f" providerId="ADAL" clId="{421FC56B-1DFC-468F-8ADB-554CD8D34B85}" dt="2023-12-04T14:27:39.901" v="4308"/>
          <ac:graphicFrameMkLst>
            <pc:docMk/>
            <pc:sldMk cId="3907706667" sldId="2147480506"/>
            <ac:graphicFrameMk id="6" creationId="{1532DC8D-EF10-C559-FE82-D80CBE53E380}"/>
          </ac:graphicFrameMkLst>
        </pc:graphicFrameChg>
        <pc:picChg chg="mod">
          <ac:chgData name="Cuvillier, Nicolas" userId="c7f17e95-5c3e-462b-8857-a61ca2f84f6f" providerId="ADAL" clId="{421FC56B-1DFC-468F-8ADB-554CD8D34B85}" dt="2023-12-04T14:27:45.427" v="4310" actId="1076"/>
          <ac:picMkLst>
            <pc:docMk/>
            <pc:sldMk cId="3907706667" sldId="2147480506"/>
            <ac:picMk id="2" creationId="{9D32B009-EBCA-7248-E87C-AB5375FAE934}"/>
          </ac:picMkLst>
        </pc:picChg>
        <pc:picChg chg="mod">
          <ac:chgData name="Cuvillier, Nicolas" userId="c7f17e95-5c3e-462b-8857-a61ca2f84f6f" providerId="ADAL" clId="{421FC56B-1DFC-468F-8ADB-554CD8D34B85}" dt="2023-12-04T14:27:45.427" v="4310" actId="1076"/>
          <ac:picMkLst>
            <pc:docMk/>
            <pc:sldMk cId="3907706667" sldId="2147480506"/>
            <ac:picMk id="3" creationId="{63A09D7B-88DE-6E31-FE0A-E1334F8824AA}"/>
          </ac:picMkLst>
        </pc:picChg>
        <pc:picChg chg="mod">
          <ac:chgData name="Cuvillier, Nicolas" userId="c7f17e95-5c3e-462b-8857-a61ca2f84f6f" providerId="ADAL" clId="{421FC56B-1DFC-468F-8ADB-554CD8D34B85}" dt="2023-12-04T14:27:45.427" v="4310" actId="1076"/>
          <ac:picMkLst>
            <pc:docMk/>
            <pc:sldMk cId="3907706667" sldId="2147480506"/>
            <ac:picMk id="5" creationId="{AD8C3515-AF2C-9985-6CBF-B2D736D5544D}"/>
          </ac:picMkLst>
        </pc:picChg>
        <pc:picChg chg="add mod ord">
          <ac:chgData name="Cuvillier, Nicolas" userId="c7f17e95-5c3e-462b-8857-a61ca2f84f6f" providerId="ADAL" clId="{421FC56B-1DFC-468F-8ADB-554CD8D34B85}" dt="2023-12-04T17:41:39.598" v="7471"/>
          <ac:picMkLst>
            <pc:docMk/>
            <pc:sldMk cId="3907706667" sldId="2147480506"/>
            <ac:picMk id="12" creationId="{87E3016C-538B-EF40-E977-A501151979B0}"/>
          </ac:picMkLst>
        </pc:picChg>
        <pc:picChg chg="add mod">
          <ac:chgData name="Cuvillier, Nicolas" userId="c7f17e95-5c3e-462b-8857-a61ca2f84f6f" providerId="ADAL" clId="{421FC56B-1DFC-468F-8ADB-554CD8D34B85}" dt="2023-12-04T14:33:04.068" v="4933"/>
          <ac:picMkLst>
            <pc:docMk/>
            <pc:sldMk cId="3907706667" sldId="2147480506"/>
            <ac:picMk id="19" creationId="{7894AE83-9894-CF8F-DABC-965FB502224D}"/>
          </ac:picMkLst>
        </pc:picChg>
        <pc:picChg chg="mod">
          <ac:chgData name="Cuvillier, Nicolas" userId="c7f17e95-5c3e-462b-8857-a61ca2f84f6f" providerId="ADAL" clId="{421FC56B-1DFC-468F-8ADB-554CD8D34B85}" dt="2023-12-04T14:27:45.427" v="4310" actId="1076"/>
          <ac:picMkLst>
            <pc:docMk/>
            <pc:sldMk cId="3907706667" sldId="2147480506"/>
            <ac:picMk id="30" creationId="{70AF88D3-D5BC-BD5E-331A-63ECD9B0817B}"/>
          </ac:picMkLst>
        </pc:picChg>
        <pc:picChg chg="del mod">
          <ac:chgData name="Cuvillier, Nicolas" userId="c7f17e95-5c3e-462b-8857-a61ca2f84f6f" providerId="ADAL" clId="{421FC56B-1DFC-468F-8ADB-554CD8D34B85}" dt="2023-12-04T14:31:28.398" v="4766" actId="478"/>
          <ac:picMkLst>
            <pc:docMk/>
            <pc:sldMk cId="3907706667" sldId="2147480506"/>
            <ac:picMk id="39" creationId="{52C83BD0-11B4-F38F-F21C-6C0D3C37DA4B}"/>
          </ac:picMkLst>
        </pc:picChg>
        <pc:picChg chg="mod">
          <ac:chgData name="Cuvillier, Nicolas" userId="c7f17e95-5c3e-462b-8857-a61ca2f84f6f" providerId="ADAL" clId="{421FC56B-1DFC-468F-8ADB-554CD8D34B85}" dt="2023-12-04T14:27:45.427" v="4310" actId="1076"/>
          <ac:picMkLst>
            <pc:docMk/>
            <pc:sldMk cId="3907706667" sldId="2147480506"/>
            <ac:picMk id="45" creationId="{D1448623-626A-2AAE-3D98-A749B6240C05}"/>
          </ac:picMkLst>
        </pc:picChg>
        <pc:picChg chg="mod">
          <ac:chgData name="Cuvillier, Nicolas" userId="c7f17e95-5c3e-462b-8857-a61ca2f84f6f" providerId="ADAL" clId="{421FC56B-1DFC-468F-8ADB-554CD8D34B85}" dt="2023-12-04T14:27:45.427" v="4310" actId="1076"/>
          <ac:picMkLst>
            <pc:docMk/>
            <pc:sldMk cId="3907706667" sldId="2147480506"/>
            <ac:picMk id="47" creationId="{189AA276-AF58-1AD3-4754-6A5C89FB3CA1}"/>
          </ac:picMkLst>
        </pc:picChg>
        <pc:picChg chg="add mod">
          <ac:chgData name="Cuvillier, Nicolas" userId="c7f17e95-5c3e-462b-8857-a61ca2f84f6f" providerId="ADAL" clId="{421FC56B-1DFC-468F-8ADB-554CD8D34B85}" dt="2023-12-04T18:58:36.400" v="10155" actId="14100"/>
          <ac:picMkLst>
            <pc:docMk/>
            <pc:sldMk cId="3907706667" sldId="2147480506"/>
            <ac:picMk id="2050" creationId="{B63B5032-084C-A2D9-3109-BA14CF484615}"/>
          </ac:picMkLst>
        </pc:picChg>
        <pc:cxnChg chg="mod">
          <ac:chgData name="Cuvillier, Nicolas" userId="c7f17e95-5c3e-462b-8857-a61ca2f84f6f" providerId="ADAL" clId="{421FC56B-1DFC-468F-8ADB-554CD8D34B85}" dt="2023-12-04T14:27:45.427" v="4310" actId="1076"/>
          <ac:cxnSpMkLst>
            <pc:docMk/>
            <pc:sldMk cId="3907706667" sldId="2147480506"/>
            <ac:cxnSpMk id="29" creationId="{3C54040F-052F-1BDA-B90C-98184F9750C7}"/>
          </ac:cxnSpMkLst>
        </pc:cxnChg>
        <pc:cxnChg chg="mod">
          <ac:chgData name="Cuvillier, Nicolas" userId="c7f17e95-5c3e-462b-8857-a61ca2f84f6f" providerId="ADAL" clId="{421FC56B-1DFC-468F-8ADB-554CD8D34B85}" dt="2023-12-04T14:27:45.427" v="4310" actId="1076"/>
          <ac:cxnSpMkLst>
            <pc:docMk/>
            <pc:sldMk cId="3907706667" sldId="2147480506"/>
            <ac:cxnSpMk id="34" creationId="{9E3CB111-6AD5-83E5-8626-AAEFD279ABC7}"/>
          </ac:cxnSpMkLst>
        </pc:cxnChg>
      </pc:sldChg>
      <pc:sldChg chg="addSp delSp modSp mod ord">
        <pc:chgData name="Cuvillier, Nicolas" userId="c7f17e95-5c3e-462b-8857-a61ca2f84f6f" providerId="ADAL" clId="{421FC56B-1DFC-468F-8ADB-554CD8D34B85}" dt="2023-12-04T19:28:06.682" v="11458" actId="6549"/>
        <pc:sldMkLst>
          <pc:docMk/>
          <pc:sldMk cId="3563486460" sldId="2147480507"/>
        </pc:sldMkLst>
        <pc:spChg chg="add del mod modVis">
          <ac:chgData name="Cuvillier, Nicolas" userId="c7f17e95-5c3e-462b-8857-a61ca2f84f6f" providerId="ADAL" clId="{421FC56B-1DFC-468F-8ADB-554CD8D34B85}" dt="2023-12-04T12:56:34.869" v="1148"/>
          <ac:spMkLst>
            <pc:docMk/>
            <pc:sldMk cId="3563486460" sldId="2147480507"/>
            <ac:spMk id="2" creationId="{FA2F9513-537F-A1BB-DBA0-381643C1764E}"/>
          </ac:spMkLst>
        </pc:spChg>
        <pc:spChg chg="mod">
          <ac:chgData name="Cuvillier, Nicolas" userId="c7f17e95-5c3e-462b-8857-a61ca2f84f6f" providerId="ADAL" clId="{421FC56B-1DFC-468F-8ADB-554CD8D34B85}" dt="2023-12-04T14:27:57.359" v="4323" actId="1076"/>
          <ac:spMkLst>
            <pc:docMk/>
            <pc:sldMk cId="3563486460" sldId="2147480507"/>
            <ac:spMk id="4" creationId="{DF884FB3-6C01-F685-77F6-4D1FA5C1E1B5}"/>
          </ac:spMkLst>
        </pc:spChg>
        <pc:spChg chg="mod">
          <ac:chgData name="Cuvillier, Nicolas" userId="c7f17e95-5c3e-462b-8857-a61ca2f84f6f" providerId="ADAL" clId="{421FC56B-1DFC-468F-8ADB-554CD8D34B85}" dt="2023-12-04T14:27:57.359" v="4323" actId="1076"/>
          <ac:spMkLst>
            <pc:docMk/>
            <pc:sldMk cId="3563486460" sldId="2147480507"/>
            <ac:spMk id="7" creationId="{DA28DF84-7415-DB6D-9B4D-2F4E5DBAC434}"/>
          </ac:spMkLst>
        </pc:spChg>
        <pc:spChg chg="mod">
          <ac:chgData name="Cuvillier, Nicolas" userId="c7f17e95-5c3e-462b-8857-a61ca2f84f6f" providerId="ADAL" clId="{421FC56B-1DFC-468F-8ADB-554CD8D34B85}" dt="2023-12-04T14:28:00.540" v="4324" actId="1076"/>
          <ac:spMkLst>
            <pc:docMk/>
            <pc:sldMk cId="3563486460" sldId="2147480507"/>
            <ac:spMk id="8" creationId="{7473B29A-4774-EAB8-12A1-04504C9B87C2}"/>
          </ac:spMkLst>
        </pc:spChg>
        <pc:spChg chg="mod">
          <ac:chgData name="Cuvillier, Nicolas" userId="c7f17e95-5c3e-462b-8857-a61ca2f84f6f" providerId="ADAL" clId="{421FC56B-1DFC-468F-8ADB-554CD8D34B85}" dt="2023-12-04T14:27:57.359" v="4323" actId="1076"/>
          <ac:spMkLst>
            <pc:docMk/>
            <pc:sldMk cId="3563486460" sldId="2147480507"/>
            <ac:spMk id="12" creationId="{F7540107-2DE9-FA47-709C-1F7CD99EE721}"/>
          </ac:spMkLst>
        </pc:spChg>
        <pc:spChg chg="mod">
          <ac:chgData name="Cuvillier, Nicolas" userId="c7f17e95-5c3e-462b-8857-a61ca2f84f6f" providerId="ADAL" clId="{421FC56B-1DFC-468F-8ADB-554CD8D34B85}" dt="2023-12-04T13:02:39.622" v="1795" actId="20577"/>
          <ac:spMkLst>
            <pc:docMk/>
            <pc:sldMk cId="3563486460" sldId="2147480507"/>
            <ac:spMk id="14" creationId="{EC347EB2-A17C-9756-6F8A-FA325CAB65BB}"/>
          </ac:spMkLst>
        </pc:spChg>
        <pc:spChg chg="add del mod">
          <ac:chgData name="Cuvillier, Nicolas" userId="c7f17e95-5c3e-462b-8857-a61ca2f84f6f" providerId="ADAL" clId="{421FC56B-1DFC-468F-8ADB-554CD8D34B85}" dt="2023-12-04T14:27:51.730" v="4317" actId="478"/>
          <ac:spMkLst>
            <pc:docMk/>
            <pc:sldMk cId="3563486460" sldId="2147480507"/>
            <ac:spMk id="16" creationId="{BB2FC511-5295-9609-962B-2866868E3C8E}"/>
          </ac:spMkLst>
        </pc:spChg>
        <pc:spChg chg="mod">
          <ac:chgData name="Cuvillier, Nicolas" userId="c7f17e95-5c3e-462b-8857-a61ca2f84f6f" providerId="ADAL" clId="{421FC56B-1DFC-468F-8ADB-554CD8D34B85}" dt="2023-12-04T14:27:57.359" v="4323" actId="1076"/>
          <ac:spMkLst>
            <pc:docMk/>
            <pc:sldMk cId="3563486460" sldId="2147480507"/>
            <ac:spMk id="17" creationId="{3119BBCB-5A35-97C6-C2D5-DDB2A67858B4}"/>
          </ac:spMkLst>
        </pc:spChg>
        <pc:spChg chg="del mod">
          <ac:chgData name="Cuvillier, Nicolas" userId="c7f17e95-5c3e-462b-8857-a61ca2f84f6f" providerId="ADAL" clId="{421FC56B-1DFC-468F-8ADB-554CD8D34B85}" dt="2023-12-04T14:27:50.888" v="4312" actId="478"/>
          <ac:spMkLst>
            <pc:docMk/>
            <pc:sldMk cId="3563486460" sldId="2147480507"/>
            <ac:spMk id="22" creationId="{23413B08-5FEA-6306-84D4-A9BCC06F2A31}"/>
          </ac:spMkLst>
        </pc:spChg>
        <pc:spChg chg="mod">
          <ac:chgData name="Cuvillier, Nicolas" userId="c7f17e95-5c3e-462b-8857-a61ca2f84f6f" providerId="ADAL" clId="{421FC56B-1DFC-468F-8ADB-554CD8D34B85}" dt="2023-12-04T14:27:57.359" v="4323" actId="1076"/>
          <ac:spMkLst>
            <pc:docMk/>
            <pc:sldMk cId="3563486460" sldId="2147480507"/>
            <ac:spMk id="23" creationId="{60597E66-83FC-AF81-6604-C1DB01380F18}"/>
          </ac:spMkLst>
        </pc:spChg>
        <pc:spChg chg="mod">
          <ac:chgData name="Cuvillier, Nicolas" userId="c7f17e95-5c3e-462b-8857-a61ca2f84f6f" providerId="ADAL" clId="{421FC56B-1DFC-468F-8ADB-554CD8D34B85}" dt="2023-12-04T14:27:57.359" v="4323" actId="1076"/>
          <ac:spMkLst>
            <pc:docMk/>
            <pc:sldMk cId="3563486460" sldId="2147480507"/>
            <ac:spMk id="24" creationId="{D5173955-0A5F-1F86-E19C-0100540A9836}"/>
          </ac:spMkLst>
        </pc:spChg>
        <pc:spChg chg="mod">
          <ac:chgData name="Cuvillier, Nicolas" userId="c7f17e95-5c3e-462b-8857-a61ca2f84f6f" providerId="ADAL" clId="{421FC56B-1DFC-468F-8ADB-554CD8D34B85}" dt="2023-12-04T19:28:06.682" v="11458" actId="6549"/>
          <ac:spMkLst>
            <pc:docMk/>
            <pc:sldMk cId="3563486460" sldId="2147480507"/>
            <ac:spMk id="25" creationId="{958D2966-7E7D-9813-B536-FF656F5DC453}"/>
          </ac:spMkLst>
        </pc:spChg>
        <pc:spChg chg="del">
          <ac:chgData name="Cuvillier, Nicolas" userId="c7f17e95-5c3e-462b-8857-a61ca2f84f6f" providerId="ADAL" clId="{421FC56B-1DFC-468F-8ADB-554CD8D34B85}" dt="2023-12-04T14:27:53.068" v="4322" actId="478"/>
          <ac:spMkLst>
            <pc:docMk/>
            <pc:sldMk cId="3563486460" sldId="2147480507"/>
            <ac:spMk id="26" creationId="{49C9CE68-3076-3846-BDBC-BA436D8237D3}"/>
          </ac:spMkLst>
        </pc:spChg>
        <pc:spChg chg="mod">
          <ac:chgData name="Cuvillier, Nicolas" userId="c7f17e95-5c3e-462b-8857-a61ca2f84f6f" providerId="ADAL" clId="{421FC56B-1DFC-468F-8ADB-554CD8D34B85}" dt="2023-12-04T18:25:05.237" v="8878" actId="20577"/>
          <ac:spMkLst>
            <pc:docMk/>
            <pc:sldMk cId="3563486460" sldId="2147480507"/>
            <ac:spMk id="27" creationId="{E1366F96-29C8-F300-6344-34F16AE85E10}"/>
          </ac:spMkLst>
        </pc:spChg>
        <pc:spChg chg="mod">
          <ac:chgData name="Cuvillier, Nicolas" userId="c7f17e95-5c3e-462b-8857-a61ca2f84f6f" providerId="ADAL" clId="{421FC56B-1DFC-468F-8ADB-554CD8D34B85}" dt="2023-12-04T14:27:57.359" v="4323" actId="1076"/>
          <ac:spMkLst>
            <pc:docMk/>
            <pc:sldMk cId="3563486460" sldId="2147480507"/>
            <ac:spMk id="28" creationId="{91C85F53-0BAC-0392-CDB8-86024CC7523A}"/>
          </ac:spMkLst>
        </pc:spChg>
        <pc:spChg chg="mod">
          <ac:chgData name="Cuvillier, Nicolas" userId="c7f17e95-5c3e-462b-8857-a61ca2f84f6f" providerId="ADAL" clId="{421FC56B-1DFC-468F-8ADB-554CD8D34B85}" dt="2023-12-04T14:28:00.540" v="4324" actId="1076"/>
          <ac:spMkLst>
            <pc:docMk/>
            <pc:sldMk cId="3563486460" sldId="2147480507"/>
            <ac:spMk id="32" creationId="{32E83A3A-E468-E405-98BA-831957BFBF41}"/>
          </ac:spMkLst>
        </pc:spChg>
        <pc:spChg chg="mod">
          <ac:chgData name="Cuvillier, Nicolas" userId="c7f17e95-5c3e-462b-8857-a61ca2f84f6f" providerId="ADAL" clId="{421FC56B-1DFC-468F-8ADB-554CD8D34B85}" dt="2023-12-04T14:27:57.359" v="4323" actId="1076"/>
          <ac:spMkLst>
            <pc:docMk/>
            <pc:sldMk cId="3563486460" sldId="2147480507"/>
            <ac:spMk id="35" creationId="{4D3F7C0A-B149-1D73-324F-73B6CC4231CD}"/>
          </ac:spMkLst>
        </pc:spChg>
        <pc:spChg chg="mod">
          <ac:chgData name="Cuvillier, Nicolas" userId="c7f17e95-5c3e-462b-8857-a61ca2f84f6f" providerId="ADAL" clId="{421FC56B-1DFC-468F-8ADB-554CD8D34B85}" dt="2023-12-04T14:27:57.359" v="4323" actId="1076"/>
          <ac:spMkLst>
            <pc:docMk/>
            <pc:sldMk cId="3563486460" sldId="2147480507"/>
            <ac:spMk id="37" creationId="{334ADF48-30AE-4246-8BEE-2FDDBB4368CB}"/>
          </ac:spMkLst>
        </pc:spChg>
        <pc:spChg chg="mod">
          <ac:chgData name="Cuvillier, Nicolas" userId="c7f17e95-5c3e-462b-8857-a61ca2f84f6f" providerId="ADAL" clId="{421FC56B-1DFC-468F-8ADB-554CD8D34B85}" dt="2023-12-04T14:27:57.359" v="4323" actId="1076"/>
          <ac:spMkLst>
            <pc:docMk/>
            <pc:sldMk cId="3563486460" sldId="2147480507"/>
            <ac:spMk id="38" creationId="{D2D970F1-37BA-0616-2151-DCC1AEF77E1D}"/>
          </ac:spMkLst>
        </pc:spChg>
        <pc:grpChg chg="mod">
          <ac:chgData name="Cuvillier, Nicolas" userId="c7f17e95-5c3e-462b-8857-a61ca2f84f6f" providerId="ADAL" clId="{421FC56B-1DFC-468F-8ADB-554CD8D34B85}" dt="2023-12-04T14:27:57.359" v="4323" actId="1076"/>
          <ac:grpSpMkLst>
            <pc:docMk/>
            <pc:sldMk cId="3563486460" sldId="2147480507"/>
            <ac:grpSpMk id="13" creationId="{D8292D40-362E-55F5-8A84-1B9683FCC623}"/>
          </ac:grpSpMkLst>
        </pc:grpChg>
        <pc:graphicFrameChg chg="mod">
          <ac:chgData name="Cuvillier, Nicolas" userId="c7f17e95-5c3e-462b-8857-a61ca2f84f6f" providerId="ADAL" clId="{421FC56B-1DFC-468F-8ADB-554CD8D34B85}" dt="2023-12-04T14:27:52.247" v="4321"/>
          <ac:graphicFrameMkLst>
            <pc:docMk/>
            <pc:sldMk cId="3563486460" sldId="2147480507"/>
            <ac:graphicFrameMk id="6" creationId="{1532DC8D-EF10-C559-FE82-D80CBE53E380}"/>
          </ac:graphicFrameMkLst>
        </pc:graphicFrameChg>
        <pc:picChg chg="add mod">
          <ac:chgData name="Cuvillier, Nicolas" userId="c7f17e95-5c3e-462b-8857-a61ca2f84f6f" providerId="ADAL" clId="{421FC56B-1DFC-468F-8ADB-554CD8D34B85}" dt="2023-12-04T14:27:57.359" v="4323" actId="1076"/>
          <ac:picMkLst>
            <pc:docMk/>
            <pc:sldMk cId="3563486460" sldId="2147480507"/>
            <ac:picMk id="3" creationId="{0278E3E3-10F4-66AB-A54C-42D4D34E71CD}"/>
          </ac:picMkLst>
        </pc:picChg>
        <pc:picChg chg="mod">
          <ac:chgData name="Cuvillier, Nicolas" userId="c7f17e95-5c3e-462b-8857-a61ca2f84f6f" providerId="ADAL" clId="{421FC56B-1DFC-468F-8ADB-554CD8D34B85}" dt="2023-12-04T14:27:57.359" v="4323" actId="1076"/>
          <ac:picMkLst>
            <pc:docMk/>
            <pc:sldMk cId="3563486460" sldId="2147480507"/>
            <ac:picMk id="5" creationId="{AD8C3515-AF2C-9985-6CBF-B2D736D5544D}"/>
          </ac:picMkLst>
        </pc:picChg>
        <pc:picChg chg="add mod">
          <ac:chgData name="Cuvillier, Nicolas" userId="c7f17e95-5c3e-462b-8857-a61ca2f84f6f" providerId="ADAL" clId="{421FC56B-1DFC-468F-8ADB-554CD8D34B85}" dt="2023-12-04T14:27:57.359" v="4323" actId="1076"/>
          <ac:picMkLst>
            <pc:docMk/>
            <pc:sldMk cId="3563486460" sldId="2147480507"/>
            <ac:picMk id="9" creationId="{0E33E18F-BB71-648E-7185-6FF3DFD54F79}"/>
          </ac:picMkLst>
        </pc:picChg>
        <pc:picChg chg="mod">
          <ac:chgData name="Cuvillier, Nicolas" userId="c7f17e95-5c3e-462b-8857-a61ca2f84f6f" providerId="ADAL" clId="{421FC56B-1DFC-468F-8ADB-554CD8D34B85}" dt="2023-12-04T14:27:57.359" v="4323" actId="1076"/>
          <ac:picMkLst>
            <pc:docMk/>
            <pc:sldMk cId="3563486460" sldId="2147480507"/>
            <ac:picMk id="10" creationId="{F69626DC-E4A9-4347-F652-3046A27ACAC8}"/>
          </ac:picMkLst>
        </pc:picChg>
        <pc:picChg chg="mod">
          <ac:chgData name="Cuvillier, Nicolas" userId="c7f17e95-5c3e-462b-8857-a61ca2f84f6f" providerId="ADAL" clId="{421FC56B-1DFC-468F-8ADB-554CD8D34B85}" dt="2023-12-04T14:27:57.359" v="4323" actId="1076"/>
          <ac:picMkLst>
            <pc:docMk/>
            <pc:sldMk cId="3563486460" sldId="2147480507"/>
            <ac:picMk id="18" creationId="{AA25F807-F45E-FCED-9C83-8D69454A4493}"/>
          </ac:picMkLst>
        </pc:picChg>
        <pc:picChg chg="add mod">
          <ac:chgData name="Cuvillier, Nicolas" userId="c7f17e95-5c3e-462b-8857-a61ca2f84f6f" providerId="ADAL" clId="{421FC56B-1DFC-468F-8ADB-554CD8D34B85}" dt="2023-12-04T14:33:08.266" v="4942"/>
          <ac:picMkLst>
            <pc:docMk/>
            <pc:sldMk cId="3563486460" sldId="2147480507"/>
            <ac:picMk id="19" creationId="{C26F19AE-7664-E449-15FD-6700189ECE23}"/>
          </ac:picMkLst>
        </pc:picChg>
        <pc:picChg chg="mod">
          <ac:chgData name="Cuvillier, Nicolas" userId="c7f17e95-5c3e-462b-8857-a61ca2f84f6f" providerId="ADAL" clId="{421FC56B-1DFC-468F-8ADB-554CD8D34B85}" dt="2023-12-04T14:27:57.359" v="4323" actId="1076"/>
          <ac:picMkLst>
            <pc:docMk/>
            <pc:sldMk cId="3563486460" sldId="2147480507"/>
            <ac:picMk id="20" creationId="{0BEEEEF5-E856-A8EC-E4E3-845B07FBB1FC}"/>
          </ac:picMkLst>
        </pc:picChg>
        <pc:picChg chg="mod">
          <ac:chgData name="Cuvillier, Nicolas" userId="c7f17e95-5c3e-462b-8857-a61ca2f84f6f" providerId="ADAL" clId="{421FC56B-1DFC-468F-8ADB-554CD8D34B85}" dt="2023-12-04T14:27:57.359" v="4323" actId="1076"/>
          <ac:picMkLst>
            <pc:docMk/>
            <pc:sldMk cId="3563486460" sldId="2147480507"/>
            <ac:picMk id="21" creationId="{69189C15-4ACB-7327-E459-65547BD2BF22}"/>
          </ac:picMkLst>
        </pc:picChg>
        <pc:picChg chg="mod">
          <ac:chgData name="Cuvillier, Nicolas" userId="c7f17e95-5c3e-462b-8857-a61ca2f84f6f" providerId="ADAL" clId="{421FC56B-1DFC-468F-8ADB-554CD8D34B85}" dt="2023-12-04T14:27:57.359" v="4323" actId="1076"/>
          <ac:picMkLst>
            <pc:docMk/>
            <pc:sldMk cId="3563486460" sldId="2147480507"/>
            <ac:picMk id="30" creationId="{70AF88D3-D5BC-BD5E-331A-63ECD9B0817B}"/>
          </ac:picMkLst>
        </pc:picChg>
        <pc:picChg chg="del mod">
          <ac:chgData name="Cuvillier, Nicolas" userId="c7f17e95-5c3e-462b-8857-a61ca2f84f6f" providerId="ADAL" clId="{421FC56B-1DFC-468F-8ADB-554CD8D34B85}" dt="2023-12-04T14:31:29.272" v="4767" actId="478"/>
          <ac:picMkLst>
            <pc:docMk/>
            <pc:sldMk cId="3563486460" sldId="2147480507"/>
            <ac:picMk id="39" creationId="{52C83BD0-11B4-F38F-F21C-6C0D3C37DA4B}"/>
          </ac:picMkLst>
        </pc:picChg>
        <pc:picChg chg="mod">
          <ac:chgData name="Cuvillier, Nicolas" userId="c7f17e95-5c3e-462b-8857-a61ca2f84f6f" providerId="ADAL" clId="{421FC56B-1DFC-468F-8ADB-554CD8D34B85}" dt="2023-12-04T14:27:57.359" v="4323" actId="1076"/>
          <ac:picMkLst>
            <pc:docMk/>
            <pc:sldMk cId="3563486460" sldId="2147480507"/>
            <ac:picMk id="45" creationId="{D1448623-626A-2AAE-3D98-A749B6240C05}"/>
          </ac:picMkLst>
        </pc:picChg>
        <pc:picChg chg="mod">
          <ac:chgData name="Cuvillier, Nicolas" userId="c7f17e95-5c3e-462b-8857-a61ca2f84f6f" providerId="ADAL" clId="{421FC56B-1DFC-468F-8ADB-554CD8D34B85}" dt="2023-12-04T14:27:57.359" v="4323" actId="1076"/>
          <ac:picMkLst>
            <pc:docMk/>
            <pc:sldMk cId="3563486460" sldId="2147480507"/>
            <ac:picMk id="47" creationId="{189AA276-AF58-1AD3-4754-6A5C89FB3CA1}"/>
          </ac:picMkLst>
        </pc:picChg>
        <pc:cxnChg chg="mod">
          <ac:chgData name="Cuvillier, Nicolas" userId="c7f17e95-5c3e-462b-8857-a61ca2f84f6f" providerId="ADAL" clId="{421FC56B-1DFC-468F-8ADB-554CD8D34B85}" dt="2023-12-04T14:27:57.359" v="4323" actId="1076"/>
          <ac:cxnSpMkLst>
            <pc:docMk/>
            <pc:sldMk cId="3563486460" sldId="2147480507"/>
            <ac:cxnSpMk id="29" creationId="{3C54040F-052F-1BDA-B90C-98184F9750C7}"/>
          </ac:cxnSpMkLst>
        </pc:cxnChg>
        <pc:cxnChg chg="mod">
          <ac:chgData name="Cuvillier, Nicolas" userId="c7f17e95-5c3e-462b-8857-a61ca2f84f6f" providerId="ADAL" clId="{421FC56B-1DFC-468F-8ADB-554CD8D34B85}" dt="2023-12-04T14:27:57.359" v="4323" actId="1076"/>
          <ac:cxnSpMkLst>
            <pc:docMk/>
            <pc:sldMk cId="3563486460" sldId="2147480507"/>
            <ac:cxnSpMk id="34" creationId="{9E3CB111-6AD5-83E5-8626-AAEFD279ABC7}"/>
          </ac:cxnSpMkLst>
        </pc:cxnChg>
      </pc:sldChg>
      <pc:sldChg chg="addSp delSp modSp mod ord">
        <pc:chgData name="Cuvillier, Nicolas" userId="c7f17e95-5c3e-462b-8857-a61ca2f84f6f" providerId="ADAL" clId="{421FC56B-1DFC-468F-8ADB-554CD8D34B85}" dt="2023-12-04T19:28:07.790" v="11459" actId="6549"/>
        <pc:sldMkLst>
          <pc:docMk/>
          <pc:sldMk cId="2506082896" sldId="2147480508"/>
        </pc:sldMkLst>
        <pc:spChg chg="add del mod modVis">
          <ac:chgData name="Cuvillier, Nicolas" userId="c7f17e95-5c3e-462b-8857-a61ca2f84f6f" providerId="ADAL" clId="{421FC56B-1DFC-468F-8ADB-554CD8D34B85}" dt="2023-12-04T12:56:36.356" v="1177"/>
          <ac:spMkLst>
            <pc:docMk/>
            <pc:sldMk cId="2506082896" sldId="2147480508"/>
            <ac:spMk id="3" creationId="{6AA958FC-F108-4694-D430-F10B036A2345}"/>
          </ac:spMkLst>
        </pc:spChg>
        <pc:spChg chg="mod">
          <ac:chgData name="Cuvillier, Nicolas" userId="c7f17e95-5c3e-462b-8857-a61ca2f84f6f" providerId="ADAL" clId="{421FC56B-1DFC-468F-8ADB-554CD8D34B85}" dt="2023-12-04T19:22:28.627" v="11146" actId="20577"/>
          <ac:spMkLst>
            <pc:docMk/>
            <pc:sldMk cId="2506082896" sldId="2147480508"/>
            <ac:spMk id="4" creationId="{DF884FB3-6C01-F685-77F6-4D1FA5C1E1B5}"/>
          </ac:spMkLst>
        </pc:spChg>
        <pc:spChg chg="mod">
          <ac:chgData name="Cuvillier, Nicolas" userId="c7f17e95-5c3e-462b-8857-a61ca2f84f6f" providerId="ADAL" clId="{421FC56B-1DFC-468F-8ADB-554CD8D34B85}" dt="2023-12-04T18:11:26.277" v="8172" actId="1076"/>
          <ac:spMkLst>
            <pc:docMk/>
            <pc:sldMk cId="2506082896" sldId="2147480508"/>
            <ac:spMk id="7" creationId="{DA28DF84-7415-DB6D-9B4D-2F4E5DBAC434}"/>
          </ac:spMkLst>
        </pc:spChg>
        <pc:spChg chg="mod">
          <ac:chgData name="Cuvillier, Nicolas" userId="c7f17e95-5c3e-462b-8857-a61ca2f84f6f" providerId="ADAL" clId="{421FC56B-1DFC-468F-8ADB-554CD8D34B85}" dt="2023-12-04T14:28:13.061" v="4337" actId="1076"/>
          <ac:spMkLst>
            <pc:docMk/>
            <pc:sldMk cId="2506082896" sldId="2147480508"/>
            <ac:spMk id="8" creationId="{7473B29A-4774-EAB8-12A1-04504C9B87C2}"/>
          </ac:spMkLst>
        </pc:spChg>
        <pc:spChg chg="add del mod">
          <ac:chgData name="Cuvillier, Nicolas" userId="c7f17e95-5c3e-462b-8857-a61ca2f84f6f" providerId="ADAL" clId="{421FC56B-1DFC-468F-8ADB-554CD8D34B85}" dt="2023-12-04T14:28:03.080" v="4330" actId="478"/>
          <ac:spMkLst>
            <pc:docMk/>
            <pc:sldMk cId="2506082896" sldId="2147480508"/>
            <ac:spMk id="10" creationId="{09566297-A4E7-3024-60A9-64681629F550}"/>
          </ac:spMkLst>
        </pc:spChg>
        <pc:spChg chg="mod">
          <ac:chgData name="Cuvillier, Nicolas" userId="c7f17e95-5c3e-462b-8857-a61ca2f84f6f" providerId="ADAL" clId="{421FC56B-1DFC-468F-8ADB-554CD8D34B85}" dt="2023-12-04T14:28:08.841" v="4336" actId="1076"/>
          <ac:spMkLst>
            <pc:docMk/>
            <pc:sldMk cId="2506082896" sldId="2147480508"/>
            <ac:spMk id="12" creationId="{F7540107-2DE9-FA47-709C-1F7CD99EE721}"/>
          </ac:spMkLst>
        </pc:spChg>
        <pc:spChg chg="mod">
          <ac:chgData name="Cuvillier, Nicolas" userId="c7f17e95-5c3e-462b-8857-a61ca2f84f6f" providerId="ADAL" clId="{421FC56B-1DFC-468F-8ADB-554CD8D34B85}" dt="2023-12-04T19:21:01.692" v="11062" actId="20577"/>
          <ac:spMkLst>
            <pc:docMk/>
            <pc:sldMk cId="2506082896" sldId="2147480508"/>
            <ac:spMk id="14" creationId="{EC347EB2-A17C-9756-6F8A-FA325CAB65BB}"/>
          </ac:spMkLst>
        </pc:spChg>
        <pc:spChg chg="mod">
          <ac:chgData name="Cuvillier, Nicolas" userId="c7f17e95-5c3e-462b-8857-a61ca2f84f6f" providerId="ADAL" clId="{421FC56B-1DFC-468F-8ADB-554CD8D34B85}" dt="2023-12-04T14:28:08.841" v="4336" actId="1076"/>
          <ac:spMkLst>
            <pc:docMk/>
            <pc:sldMk cId="2506082896" sldId="2147480508"/>
            <ac:spMk id="17" creationId="{3119BBCB-5A35-97C6-C2D5-DDB2A67858B4}"/>
          </ac:spMkLst>
        </pc:spChg>
        <pc:spChg chg="del mod">
          <ac:chgData name="Cuvillier, Nicolas" userId="c7f17e95-5c3e-462b-8857-a61ca2f84f6f" providerId="ADAL" clId="{421FC56B-1DFC-468F-8ADB-554CD8D34B85}" dt="2023-12-04T14:28:02.263" v="4325" actId="478"/>
          <ac:spMkLst>
            <pc:docMk/>
            <pc:sldMk cId="2506082896" sldId="2147480508"/>
            <ac:spMk id="22" creationId="{23413B08-5FEA-6306-84D4-A9BCC06F2A31}"/>
          </ac:spMkLst>
        </pc:spChg>
        <pc:spChg chg="mod">
          <ac:chgData name="Cuvillier, Nicolas" userId="c7f17e95-5c3e-462b-8857-a61ca2f84f6f" providerId="ADAL" clId="{421FC56B-1DFC-468F-8ADB-554CD8D34B85}" dt="2023-12-04T14:28:08.841" v="4336" actId="1076"/>
          <ac:spMkLst>
            <pc:docMk/>
            <pc:sldMk cId="2506082896" sldId="2147480508"/>
            <ac:spMk id="23" creationId="{60597E66-83FC-AF81-6604-C1DB01380F18}"/>
          </ac:spMkLst>
        </pc:spChg>
        <pc:spChg chg="mod">
          <ac:chgData name="Cuvillier, Nicolas" userId="c7f17e95-5c3e-462b-8857-a61ca2f84f6f" providerId="ADAL" clId="{421FC56B-1DFC-468F-8ADB-554CD8D34B85}" dt="2023-12-04T14:28:08.841" v="4336" actId="1076"/>
          <ac:spMkLst>
            <pc:docMk/>
            <pc:sldMk cId="2506082896" sldId="2147480508"/>
            <ac:spMk id="24" creationId="{D5173955-0A5F-1F86-E19C-0100540A9836}"/>
          </ac:spMkLst>
        </pc:spChg>
        <pc:spChg chg="mod">
          <ac:chgData name="Cuvillier, Nicolas" userId="c7f17e95-5c3e-462b-8857-a61ca2f84f6f" providerId="ADAL" clId="{421FC56B-1DFC-468F-8ADB-554CD8D34B85}" dt="2023-12-04T19:28:07.790" v="11459" actId="6549"/>
          <ac:spMkLst>
            <pc:docMk/>
            <pc:sldMk cId="2506082896" sldId="2147480508"/>
            <ac:spMk id="25" creationId="{958D2966-7E7D-9813-B536-FF656F5DC453}"/>
          </ac:spMkLst>
        </pc:spChg>
        <pc:spChg chg="del">
          <ac:chgData name="Cuvillier, Nicolas" userId="c7f17e95-5c3e-462b-8857-a61ca2f84f6f" providerId="ADAL" clId="{421FC56B-1DFC-468F-8ADB-554CD8D34B85}" dt="2023-12-04T14:28:04.485" v="4335" actId="478"/>
          <ac:spMkLst>
            <pc:docMk/>
            <pc:sldMk cId="2506082896" sldId="2147480508"/>
            <ac:spMk id="26" creationId="{49C9CE68-3076-3846-BDBC-BA436D8237D3}"/>
          </ac:spMkLst>
        </pc:spChg>
        <pc:spChg chg="mod">
          <ac:chgData name="Cuvillier, Nicolas" userId="c7f17e95-5c3e-462b-8857-a61ca2f84f6f" providerId="ADAL" clId="{421FC56B-1DFC-468F-8ADB-554CD8D34B85}" dt="2023-12-04T18:13:39.691" v="8275" actId="6549"/>
          <ac:spMkLst>
            <pc:docMk/>
            <pc:sldMk cId="2506082896" sldId="2147480508"/>
            <ac:spMk id="27" creationId="{E1366F96-29C8-F300-6344-34F16AE85E10}"/>
          </ac:spMkLst>
        </pc:spChg>
        <pc:spChg chg="mod">
          <ac:chgData name="Cuvillier, Nicolas" userId="c7f17e95-5c3e-462b-8857-a61ca2f84f6f" providerId="ADAL" clId="{421FC56B-1DFC-468F-8ADB-554CD8D34B85}" dt="2023-12-04T14:28:08.841" v="4336" actId="1076"/>
          <ac:spMkLst>
            <pc:docMk/>
            <pc:sldMk cId="2506082896" sldId="2147480508"/>
            <ac:spMk id="28" creationId="{91C85F53-0BAC-0392-CDB8-86024CC7523A}"/>
          </ac:spMkLst>
        </pc:spChg>
        <pc:spChg chg="mod">
          <ac:chgData name="Cuvillier, Nicolas" userId="c7f17e95-5c3e-462b-8857-a61ca2f84f6f" providerId="ADAL" clId="{421FC56B-1DFC-468F-8ADB-554CD8D34B85}" dt="2023-12-04T14:28:08.841" v="4336" actId="1076"/>
          <ac:spMkLst>
            <pc:docMk/>
            <pc:sldMk cId="2506082896" sldId="2147480508"/>
            <ac:spMk id="35" creationId="{4D3F7C0A-B149-1D73-324F-73B6CC4231CD}"/>
          </ac:spMkLst>
        </pc:spChg>
        <pc:spChg chg="mod">
          <ac:chgData name="Cuvillier, Nicolas" userId="c7f17e95-5c3e-462b-8857-a61ca2f84f6f" providerId="ADAL" clId="{421FC56B-1DFC-468F-8ADB-554CD8D34B85}" dt="2023-12-04T14:28:08.841" v="4336" actId="1076"/>
          <ac:spMkLst>
            <pc:docMk/>
            <pc:sldMk cId="2506082896" sldId="2147480508"/>
            <ac:spMk id="37" creationId="{334ADF48-30AE-4246-8BEE-2FDDBB4368CB}"/>
          </ac:spMkLst>
        </pc:spChg>
        <pc:spChg chg="mod">
          <ac:chgData name="Cuvillier, Nicolas" userId="c7f17e95-5c3e-462b-8857-a61ca2f84f6f" providerId="ADAL" clId="{421FC56B-1DFC-468F-8ADB-554CD8D34B85}" dt="2023-12-04T14:28:08.841" v="4336" actId="1076"/>
          <ac:spMkLst>
            <pc:docMk/>
            <pc:sldMk cId="2506082896" sldId="2147480508"/>
            <ac:spMk id="38" creationId="{D2D970F1-37BA-0616-2151-DCC1AEF77E1D}"/>
          </ac:spMkLst>
        </pc:spChg>
        <pc:grpChg chg="mod">
          <ac:chgData name="Cuvillier, Nicolas" userId="c7f17e95-5c3e-462b-8857-a61ca2f84f6f" providerId="ADAL" clId="{421FC56B-1DFC-468F-8ADB-554CD8D34B85}" dt="2023-12-04T14:28:08.841" v="4336" actId="1076"/>
          <ac:grpSpMkLst>
            <pc:docMk/>
            <pc:sldMk cId="2506082896" sldId="2147480508"/>
            <ac:grpSpMk id="13" creationId="{D8292D40-362E-55F5-8A84-1B9683FCC623}"/>
          </ac:grpSpMkLst>
        </pc:grpChg>
        <pc:graphicFrameChg chg="mod">
          <ac:chgData name="Cuvillier, Nicolas" userId="c7f17e95-5c3e-462b-8857-a61ca2f84f6f" providerId="ADAL" clId="{421FC56B-1DFC-468F-8ADB-554CD8D34B85}" dt="2023-12-04T14:28:03.584" v="4334"/>
          <ac:graphicFrameMkLst>
            <pc:docMk/>
            <pc:sldMk cId="2506082896" sldId="2147480508"/>
            <ac:graphicFrameMk id="6" creationId="{1532DC8D-EF10-C559-FE82-D80CBE53E380}"/>
          </ac:graphicFrameMkLst>
        </pc:graphicFrameChg>
        <pc:picChg chg="mod">
          <ac:chgData name="Cuvillier, Nicolas" userId="c7f17e95-5c3e-462b-8857-a61ca2f84f6f" providerId="ADAL" clId="{421FC56B-1DFC-468F-8ADB-554CD8D34B85}" dt="2023-12-04T14:28:08.841" v="4336" actId="1076"/>
          <ac:picMkLst>
            <pc:docMk/>
            <pc:sldMk cId="2506082896" sldId="2147480508"/>
            <ac:picMk id="2" creationId="{A597DCFE-0D7A-6AE3-8F57-A7B912C8A10B}"/>
          </ac:picMkLst>
        </pc:picChg>
        <pc:picChg chg="add mod">
          <ac:chgData name="Cuvillier, Nicolas" userId="c7f17e95-5c3e-462b-8857-a61ca2f84f6f" providerId="ADAL" clId="{421FC56B-1DFC-468F-8ADB-554CD8D34B85}" dt="2023-12-04T18:11:28.916" v="8173" actId="1076"/>
          <ac:picMkLst>
            <pc:docMk/>
            <pc:sldMk cId="2506082896" sldId="2147480508"/>
            <ac:picMk id="3" creationId="{EBAD097C-03A7-7543-3A53-4E7B50A7F3DA}"/>
          </ac:picMkLst>
        </pc:picChg>
        <pc:picChg chg="mod">
          <ac:chgData name="Cuvillier, Nicolas" userId="c7f17e95-5c3e-462b-8857-a61ca2f84f6f" providerId="ADAL" clId="{421FC56B-1DFC-468F-8ADB-554CD8D34B85}" dt="2023-12-04T14:28:08.841" v="4336" actId="1076"/>
          <ac:picMkLst>
            <pc:docMk/>
            <pc:sldMk cId="2506082896" sldId="2147480508"/>
            <ac:picMk id="5" creationId="{AD8C3515-AF2C-9985-6CBF-B2D736D5544D}"/>
          </ac:picMkLst>
        </pc:picChg>
        <pc:picChg chg="add mod">
          <ac:chgData name="Cuvillier, Nicolas" userId="c7f17e95-5c3e-462b-8857-a61ca2f84f6f" providerId="ADAL" clId="{421FC56B-1DFC-468F-8ADB-554CD8D34B85}" dt="2023-12-04T14:33:12.381" v="4951"/>
          <ac:picMkLst>
            <pc:docMk/>
            <pc:sldMk cId="2506082896" sldId="2147480508"/>
            <ac:picMk id="11" creationId="{FA96AD8A-9F1F-C2AD-87CA-E31D82A7E20B}"/>
          </ac:picMkLst>
        </pc:picChg>
        <pc:picChg chg="mod">
          <ac:chgData name="Cuvillier, Nicolas" userId="c7f17e95-5c3e-462b-8857-a61ca2f84f6f" providerId="ADAL" clId="{421FC56B-1DFC-468F-8ADB-554CD8D34B85}" dt="2023-12-04T14:28:08.841" v="4336" actId="1076"/>
          <ac:picMkLst>
            <pc:docMk/>
            <pc:sldMk cId="2506082896" sldId="2147480508"/>
            <ac:picMk id="30" creationId="{70AF88D3-D5BC-BD5E-331A-63ECD9B0817B}"/>
          </ac:picMkLst>
        </pc:picChg>
        <pc:picChg chg="del mod">
          <ac:chgData name="Cuvillier, Nicolas" userId="c7f17e95-5c3e-462b-8857-a61ca2f84f6f" providerId="ADAL" clId="{421FC56B-1DFC-468F-8ADB-554CD8D34B85}" dt="2023-12-04T14:31:30.095" v="4768" actId="478"/>
          <ac:picMkLst>
            <pc:docMk/>
            <pc:sldMk cId="2506082896" sldId="2147480508"/>
            <ac:picMk id="39" creationId="{52C83BD0-11B4-F38F-F21C-6C0D3C37DA4B}"/>
          </ac:picMkLst>
        </pc:picChg>
        <pc:picChg chg="mod">
          <ac:chgData name="Cuvillier, Nicolas" userId="c7f17e95-5c3e-462b-8857-a61ca2f84f6f" providerId="ADAL" clId="{421FC56B-1DFC-468F-8ADB-554CD8D34B85}" dt="2023-12-04T14:28:08.841" v="4336" actId="1076"/>
          <ac:picMkLst>
            <pc:docMk/>
            <pc:sldMk cId="2506082896" sldId="2147480508"/>
            <ac:picMk id="45" creationId="{D1448623-626A-2AAE-3D98-A749B6240C05}"/>
          </ac:picMkLst>
        </pc:picChg>
        <pc:picChg chg="mod">
          <ac:chgData name="Cuvillier, Nicolas" userId="c7f17e95-5c3e-462b-8857-a61ca2f84f6f" providerId="ADAL" clId="{421FC56B-1DFC-468F-8ADB-554CD8D34B85}" dt="2023-12-04T14:28:08.841" v="4336" actId="1076"/>
          <ac:picMkLst>
            <pc:docMk/>
            <pc:sldMk cId="2506082896" sldId="2147480508"/>
            <ac:picMk id="47" creationId="{189AA276-AF58-1AD3-4754-6A5C89FB3CA1}"/>
          </ac:picMkLst>
        </pc:picChg>
        <pc:cxnChg chg="mod">
          <ac:chgData name="Cuvillier, Nicolas" userId="c7f17e95-5c3e-462b-8857-a61ca2f84f6f" providerId="ADAL" clId="{421FC56B-1DFC-468F-8ADB-554CD8D34B85}" dt="2023-12-04T14:28:08.841" v="4336" actId="1076"/>
          <ac:cxnSpMkLst>
            <pc:docMk/>
            <pc:sldMk cId="2506082896" sldId="2147480508"/>
            <ac:cxnSpMk id="29" creationId="{3C54040F-052F-1BDA-B90C-98184F9750C7}"/>
          </ac:cxnSpMkLst>
        </pc:cxnChg>
        <pc:cxnChg chg="mod">
          <ac:chgData name="Cuvillier, Nicolas" userId="c7f17e95-5c3e-462b-8857-a61ca2f84f6f" providerId="ADAL" clId="{421FC56B-1DFC-468F-8ADB-554CD8D34B85}" dt="2023-12-04T14:28:08.841" v="4336" actId="1076"/>
          <ac:cxnSpMkLst>
            <pc:docMk/>
            <pc:sldMk cId="2506082896" sldId="2147480508"/>
            <ac:cxnSpMk id="34" creationId="{9E3CB111-6AD5-83E5-8626-AAEFD279ABC7}"/>
          </ac:cxnSpMkLst>
        </pc:cxnChg>
      </pc:sldChg>
      <pc:sldChg chg="addSp delSp modSp mod ord">
        <pc:chgData name="Cuvillier, Nicolas" userId="c7f17e95-5c3e-462b-8857-a61ca2f84f6f" providerId="ADAL" clId="{421FC56B-1DFC-468F-8ADB-554CD8D34B85}" dt="2023-12-04T19:28:08.966" v="11460" actId="6549"/>
        <pc:sldMkLst>
          <pc:docMk/>
          <pc:sldMk cId="1087234413" sldId="2147480509"/>
        </pc:sldMkLst>
        <pc:spChg chg="mod">
          <ac:chgData name="Cuvillier, Nicolas" userId="c7f17e95-5c3e-462b-8857-a61ca2f84f6f" providerId="ADAL" clId="{421FC56B-1DFC-468F-8ADB-554CD8D34B85}" dt="2023-12-04T14:28:21.368" v="4349" actId="1076"/>
          <ac:spMkLst>
            <pc:docMk/>
            <pc:sldMk cId="1087234413" sldId="2147480509"/>
            <ac:spMk id="4" creationId="{DF884FB3-6C01-F685-77F6-4D1FA5C1E1B5}"/>
          </ac:spMkLst>
        </pc:spChg>
        <pc:spChg chg="mod">
          <ac:chgData name="Cuvillier, Nicolas" userId="c7f17e95-5c3e-462b-8857-a61ca2f84f6f" providerId="ADAL" clId="{421FC56B-1DFC-468F-8ADB-554CD8D34B85}" dt="2023-12-04T19:14:58.859" v="10787" actId="1076"/>
          <ac:spMkLst>
            <pc:docMk/>
            <pc:sldMk cId="1087234413" sldId="2147480509"/>
            <ac:spMk id="7" creationId="{DA28DF84-7415-DB6D-9B4D-2F4E5DBAC434}"/>
          </ac:spMkLst>
        </pc:spChg>
        <pc:spChg chg="mod">
          <ac:chgData name="Cuvillier, Nicolas" userId="c7f17e95-5c3e-462b-8857-a61ca2f84f6f" providerId="ADAL" clId="{421FC56B-1DFC-468F-8ADB-554CD8D34B85}" dt="2023-12-04T14:28:27.809" v="4350" actId="1076"/>
          <ac:spMkLst>
            <pc:docMk/>
            <pc:sldMk cId="1087234413" sldId="2147480509"/>
            <ac:spMk id="8" creationId="{7473B29A-4774-EAB8-12A1-04504C9B87C2}"/>
          </ac:spMkLst>
        </pc:spChg>
        <pc:spChg chg="mod">
          <ac:chgData name="Cuvillier, Nicolas" userId="c7f17e95-5c3e-462b-8857-a61ca2f84f6f" providerId="ADAL" clId="{421FC56B-1DFC-468F-8ADB-554CD8D34B85}" dt="2023-12-04T14:28:27.809" v="4350" actId="1076"/>
          <ac:spMkLst>
            <pc:docMk/>
            <pc:sldMk cId="1087234413" sldId="2147480509"/>
            <ac:spMk id="10" creationId="{0C3AB9CE-8B6C-2693-25AC-93A9DD8B8E26}"/>
          </ac:spMkLst>
        </pc:spChg>
        <pc:spChg chg="mod">
          <ac:chgData name="Cuvillier, Nicolas" userId="c7f17e95-5c3e-462b-8857-a61ca2f84f6f" providerId="ADAL" clId="{421FC56B-1DFC-468F-8ADB-554CD8D34B85}" dt="2023-12-04T14:28:27.809" v="4350" actId="1076"/>
          <ac:spMkLst>
            <pc:docMk/>
            <pc:sldMk cId="1087234413" sldId="2147480509"/>
            <ac:spMk id="11" creationId="{89273CE8-266C-C02B-E3D2-33FBDFD003A5}"/>
          </ac:spMkLst>
        </pc:spChg>
        <pc:spChg chg="mod">
          <ac:chgData name="Cuvillier, Nicolas" userId="c7f17e95-5c3e-462b-8857-a61ca2f84f6f" providerId="ADAL" clId="{421FC56B-1DFC-468F-8ADB-554CD8D34B85}" dt="2023-12-04T14:28:21.368" v="4349" actId="1076"/>
          <ac:spMkLst>
            <pc:docMk/>
            <pc:sldMk cId="1087234413" sldId="2147480509"/>
            <ac:spMk id="12" creationId="{F7540107-2DE9-FA47-709C-1F7CD99EE721}"/>
          </ac:spMkLst>
        </pc:spChg>
        <pc:spChg chg="mod">
          <ac:chgData name="Cuvillier, Nicolas" userId="c7f17e95-5c3e-462b-8857-a61ca2f84f6f" providerId="ADAL" clId="{421FC56B-1DFC-468F-8ADB-554CD8D34B85}" dt="2023-12-04T13:51:27.509" v="3439" actId="20577"/>
          <ac:spMkLst>
            <pc:docMk/>
            <pc:sldMk cId="1087234413" sldId="2147480509"/>
            <ac:spMk id="14" creationId="{EC347EB2-A17C-9756-6F8A-FA325CAB65BB}"/>
          </ac:spMkLst>
        </pc:spChg>
        <pc:spChg chg="add del mod modVis">
          <ac:chgData name="Cuvillier, Nicolas" userId="c7f17e95-5c3e-462b-8857-a61ca2f84f6f" providerId="ADAL" clId="{421FC56B-1DFC-468F-8ADB-554CD8D34B85}" dt="2023-12-04T12:56:37.837" v="1206"/>
          <ac:spMkLst>
            <pc:docMk/>
            <pc:sldMk cId="1087234413" sldId="2147480509"/>
            <ac:spMk id="16" creationId="{61D5F2D7-DC21-3288-FBF7-E181BBB8F7E2}"/>
          </ac:spMkLst>
        </pc:spChg>
        <pc:spChg chg="mod">
          <ac:chgData name="Cuvillier, Nicolas" userId="c7f17e95-5c3e-462b-8857-a61ca2f84f6f" providerId="ADAL" clId="{421FC56B-1DFC-468F-8ADB-554CD8D34B85}" dt="2023-12-04T16:28:08.394" v="5184" actId="20577"/>
          <ac:spMkLst>
            <pc:docMk/>
            <pc:sldMk cId="1087234413" sldId="2147480509"/>
            <ac:spMk id="17" creationId="{3119BBCB-5A35-97C6-C2D5-DDB2A67858B4}"/>
          </ac:spMkLst>
        </pc:spChg>
        <pc:spChg chg="add del mod">
          <ac:chgData name="Cuvillier, Nicolas" userId="c7f17e95-5c3e-462b-8857-a61ca2f84f6f" providerId="ADAL" clId="{421FC56B-1DFC-468F-8ADB-554CD8D34B85}" dt="2023-12-04T14:28:15.807" v="4343" actId="478"/>
          <ac:spMkLst>
            <pc:docMk/>
            <pc:sldMk cId="1087234413" sldId="2147480509"/>
            <ac:spMk id="21" creationId="{709E692D-7B98-DE35-73E9-45407E4B8F10}"/>
          </ac:spMkLst>
        </pc:spChg>
        <pc:spChg chg="del mod">
          <ac:chgData name="Cuvillier, Nicolas" userId="c7f17e95-5c3e-462b-8857-a61ca2f84f6f" providerId="ADAL" clId="{421FC56B-1DFC-468F-8ADB-554CD8D34B85}" dt="2023-12-04T14:28:15.045" v="4338" actId="478"/>
          <ac:spMkLst>
            <pc:docMk/>
            <pc:sldMk cId="1087234413" sldId="2147480509"/>
            <ac:spMk id="22" creationId="{23413B08-5FEA-6306-84D4-A9BCC06F2A31}"/>
          </ac:spMkLst>
        </pc:spChg>
        <pc:spChg chg="mod">
          <ac:chgData name="Cuvillier, Nicolas" userId="c7f17e95-5c3e-462b-8857-a61ca2f84f6f" providerId="ADAL" clId="{421FC56B-1DFC-468F-8ADB-554CD8D34B85}" dt="2023-12-04T14:28:21.368" v="4349" actId="1076"/>
          <ac:spMkLst>
            <pc:docMk/>
            <pc:sldMk cId="1087234413" sldId="2147480509"/>
            <ac:spMk id="23" creationId="{60597E66-83FC-AF81-6604-C1DB01380F18}"/>
          </ac:spMkLst>
        </pc:spChg>
        <pc:spChg chg="mod">
          <ac:chgData name="Cuvillier, Nicolas" userId="c7f17e95-5c3e-462b-8857-a61ca2f84f6f" providerId="ADAL" clId="{421FC56B-1DFC-468F-8ADB-554CD8D34B85}" dt="2023-12-04T14:28:21.368" v="4349" actId="1076"/>
          <ac:spMkLst>
            <pc:docMk/>
            <pc:sldMk cId="1087234413" sldId="2147480509"/>
            <ac:spMk id="24" creationId="{D5173955-0A5F-1F86-E19C-0100540A9836}"/>
          </ac:spMkLst>
        </pc:spChg>
        <pc:spChg chg="mod">
          <ac:chgData name="Cuvillier, Nicolas" userId="c7f17e95-5c3e-462b-8857-a61ca2f84f6f" providerId="ADAL" clId="{421FC56B-1DFC-468F-8ADB-554CD8D34B85}" dt="2023-12-04T19:28:08.966" v="11460" actId="6549"/>
          <ac:spMkLst>
            <pc:docMk/>
            <pc:sldMk cId="1087234413" sldId="2147480509"/>
            <ac:spMk id="25" creationId="{958D2966-7E7D-9813-B536-FF656F5DC453}"/>
          </ac:spMkLst>
        </pc:spChg>
        <pc:spChg chg="del">
          <ac:chgData name="Cuvillier, Nicolas" userId="c7f17e95-5c3e-462b-8857-a61ca2f84f6f" providerId="ADAL" clId="{421FC56B-1DFC-468F-8ADB-554CD8D34B85}" dt="2023-12-04T14:28:17.039" v="4348" actId="478"/>
          <ac:spMkLst>
            <pc:docMk/>
            <pc:sldMk cId="1087234413" sldId="2147480509"/>
            <ac:spMk id="26" creationId="{49C9CE68-3076-3846-BDBC-BA436D8237D3}"/>
          </ac:spMkLst>
        </pc:spChg>
        <pc:spChg chg="mod">
          <ac:chgData name="Cuvillier, Nicolas" userId="c7f17e95-5c3e-462b-8857-a61ca2f84f6f" providerId="ADAL" clId="{421FC56B-1DFC-468F-8ADB-554CD8D34B85}" dt="2023-12-04T19:14:04.818" v="10783" actId="20577"/>
          <ac:spMkLst>
            <pc:docMk/>
            <pc:sldMk cId="1087234413" sldId="2147480509"/>
            <ac:spMk id="27" creationId="{E1366F96-29C8-F300-6344-34F16AE85E10}"/>
          </ac:spMkLst>
        </pc:spChg>
        <pc:spChg chg="mod">
          <ac:chgData name="Cuvillier, Nicolas" userId="c7f17e95-5c3e-462b-8857-a61ca2f84f6f" providerId="ADAL" clId="{421FC56B-1DFC-468F-8ADB-554CD8D34B85}" dt="2023-12-04T14:28:21.368" v="4349" actId="1076"/>
          <ac:spMkLst>
            <pc:docMk/>
            <pc:sldMk cId="1087234413" sldId="2147480509"/>
            <ac:spMk id="28" creationId="{91C85F53-0BAC-0392-CDB8-86024CC7523A}"/>
          </ac:spMkLst>
        </pc:spChg>
        <pc:spChg chg="mod">
          <ac:chgData name="Cuvillier, Nicolas" userId="c7f17e95-5c3e-462b-8857-a61ca2f84f6f" providerId="ADAL" clId="{421FC56B-1DFC-468F-8ADB-554CD8D34B85}" dt="2023-12-04T14:28:21.368" v="4349" actId="1076"/>
          <ac:spMkLst>
            <pc:docMk/>
            <pc:sldMk cId="1087234413" sldId="2147480509"/>
            <ac:spMk id="35" creationId="{4D3F7C0A-B149-1D73-324F-73B6CC4231CD}"/>
          </ac:spMkLst>
        </pc:spChg>
        <pc:spChg chg="mod">
          <ac:chgData name="Cuvillier, Nicolas" userId="c7f17e95-5c3e-462b-8857-a61ca2f84f6f" providerId="ADAL" clId="{421FC56B-1DFC-468F-8ADB-554CD8D34B85}" dt="2023-12-04T16:28:16.094" v="5194" actId="6549"/>
          <ac:spMkLst>
            <pc:docMk/>
            <pc:sldMk cId="1087234413" sldId="2147480509"/>
            <ac:spMk id="37" creationId="{334ADF48-30AE-4246-8BEE-2FDDBB4368CB}"/>
          </ac:spMkLst>
        </pc:spChg>
        <pc:spChg chg="mod">
          <ac:chgData name="Cuvillier, Nicolas" userId="c7f17e95-5c3e-462b-8857-a61ca2f84f6f" providerId="ADAL" clId="{421FC56B-1DFC-468F-8ADB-554CD8D34B85}" dt="2023-12-04T14:28:21.368" v="4349" actId="1076"/>
          <ac:spMkLst>
            <pc:docMk/>
            <pc:sldMk cId="1087234413" sldId="2147480509"/>
            <ac:spMk id="38" creationId="{D2D970F1-37BA-0616-2151-DCC1AEF77E1D}"/>
          </ac:spMkLst>
        </pc:spChg>
        <pc:grpChg chg="mod">
          <ac:chgData name="Cuvillier, Nicolas" userId="c7f17e95-5c3e-462b-8857-a61ca2f84f6f" providerId="ADAL" clId="{421FC56B-1DFC-468F-8ADB-554CD8D34B85}" dt="2023-12-04T14:28:21.368" v="4349" actId="1076"/>
          <ac:grpSpMkLst>
            <pc:docMk/>
            <pc:sldMk cId="1087234413" sldId="2147480509"/>
            <ac:grpSpMk id="13" creationId="{D8292D40-362E-55F5-8A84-1B9683FCC623}"/>
          </ac:grpSpMkLst>
        </pc:grpChg>
        <pc:graphicFrameChg chg="mod">
          <ac:chgData name="Cuvillier, Nicolas" userId="c7f17e95-5c3e-462b-8857-a61ca2f84f6f" providerId="ADAL" clId="{421FC56B-1DFC-468F-8ADB-554CD8D34B85}" dt="2023-12-04T14:28:16.308" v="4347"/>
          <ac:graphicFrameMkLst>
            <pc:docMk/>
            <pc:sldMk cId="1087234413" sldId="2147480509"/>
            <ac:graphicFrameMk id="6" creationId="{1532DC8D-EF10-C559-FE82-D80CBE53E380}"/>
          </ac:graphicFrameMkLst>
        </pc:graphicFrameChg>
        <pc:picChg chg="mod">
          <ac:chgData name="Cuvillier, Nicolas" userId="c7f17e95-5c3e-462b-8857-a61ca2f84f6f" providerId="ADAL" clId="{421FC56B-1DFC-468F-8ADB-554CD8D34B85}" dt="2023-12-04T14:28:21.368" v="4349" actId="1076"/>
          <ac:picMkLst>
            <pc:docMk/>
            <pc:sldMk cId="1087234413" sldId="2147480509"/>
            <ac:picMk id="2" creationId="{A597DCFE-0D7A-6AE3-8F57-A7B912C8A10B}"/>
          </ac:picMkLst>
        </pc:picChg>
        <pc:picChg chg="mod">
          <ac:chgData name="Cuvillier, Nicolas" userId="c7f17e95-5c3e-462b-8857-a61ca2f84f6f" providerId="ADAL" clId="{421FC56B-1DFC-468F-8ADB-554CD8D34B85}" dt="2023-12-04T14:28:21.368" v="4349" actId="1076"/>
          <ac:picMkLst>
            <pc:docMk/>
            <pc:sldMk cId="1087234413" sldId="2147480509"/>
            <ac:picMk id="3" creationId="{8685CC5E-9B64-B4D0-AA15-92EF40531869}"/>
          </ac:picMkLst>
        </pc:picChg>
        <pc:picChg chg="mod">
          <ac:chgData name="Cuvillier, Nicolas" userId="c7f17e95-5c3e-462b-8857-a61ca2f84f6f" providerId="ADAL" clId="{421FC56B-1DFC-468F-8ADB-554CD8D34B85}" dt="2023-12-04T14:28:21.368" v="4349" actId="1076"/>
          <ac:picMkLst>
            <pc:docMk/>
            <pc:sldMk cId="1087234413" sldId="2147480509"/>
            <ac:picMk id="5" creationId="{AD8C3515-AF2C-9985-6CBF-B2D736D5544D}"/>
          </ac:picMkLst>
        </pc:picChg>
        <pc:picChg chg="mod">
          <ac:chgData name="Cuvillier, Nicolas" userId="c7f17e95-5c3e-462b-8857-a61ca2f84f6f" providerId="ADAL" clId="{421FC56B-1DFC-468F-8ADB-554CD8D34B85}" dt="2023-12-04T14:28:21.368" v="4349" actId="1076"/>
          <ac:picMkLst>
            <pc:docMk/>
            <pc:sldMk cId="1087234413" sldId="2147480509"/>
            <ac:picMk id="9" creationId="{1D3BD56C-ACF8-8BBE-7A40-3787157FFD96}"/>
          </ac:picMkLst>
        </pc:picChg>
        <pc:picChg chg="add del mod">
          <ac:chgData name="Cuvillier, Nicolas" userId="c7f17e95-5c3e-462b-8857-a61ca2f84f6f" providerId="ADAL" clId="{421FC56B-1DFC-468F-8ADB-554CD8D34B85}" dt="2023-12-04T19:12:38.384" v="10680" actId="478"/>
          <ac:picMkLst>
            <pc:docMk/>
            <pc:sldMk cId="1087234413" sldId="2147480509"/>
            <ac:picMk id="16" creationId="{985A7209-34FF-0376-B882-3A5203B78D1C}"/>
          </ac:picMkLst>
        </pc:picChg>
        <pc:picChg chg="add mod">
          <ac:chgData name="Cuvillier, Nicolas" userId="c7f17e95-5c3e-462b-8857-a61ca2f84f6f" providerId="ADAL" clId="{421FC56B-1DFC-468F-8ADB-554CD8D34B85}" dt="2023-12-04T19:12:41.520" v="10681" actId="1076"/>
          <ac:picMkLst>
            <pc:docMk/>
            <pc:sldMk cId="1087234413" sldId="2147480509"/>
            <ac:picMk id="18" creationId="{FC2482D2-230F-D135-76D8-0CB1D3EF1260}"/>
          </ac:picMkLst>
        </pc:picChg>
        <pc:picChg chg="add del mod">
          <ac:chgData name="Cuvillier, Nicolas" userId="c7f17e95-5c3e-462b-8857-a61ca2f84f6f" providerId="ADAL" clId="{421FC56B-1DFC-468F-8ADB-554CD8D34B85}" dt="2023-12-04T18:26:03.047" v="8897" actId="478"/>
          <ac:picMkLst>
            <pc:docMk/>
            <pc:sldMk cId="1087234413" sldId="2147480509"/>
            <ac:picMk id="19" creationId="{C2A05AEC-1536-7287-6E6F-35F260E2A607}"/>
          </ac:picMkLst>
        </pc:picChg>
        <pc:picChg chg="add mod">
          <ac:chgData name="Cuvillier, Nicolas" userId="c7f17e95-5c3e-462b-8857-a61ca2f84f6f" providerId="ADAL" clId="{421FC56B-1DFC-468F-8ADB-554CD8D34B85}" dt="2023-12-04T19:15:01.356" v="10788" actId="1076"/>
          <ac:picMkLst>
            <pc:docMk/>
            <pc:sldMk cId="1087234413" sldId="2147480509"/>
            <ac:picMk id="20" creationId="{DDC6DF46-0B8D-2ECD-F6A5-6D086A59B9F9}"/>
          </ac:picMkLst>
        </pc:picChg>
        <pc:picChg chg="mod">
          <ac:chgData name="Cuvillier, Nicolas" userId="c7f17e95-5c3e-462b-8857-a61ca2f84f6f" providerId="ADAL" clId="{421FC56B-1DFC-468F-8ADB-554CD8D34B85}" dt="2023-12-04T14:28:21.368" v="4349" actId="1076"/>
          <ac:picMkLst>
            <pc:docMk/>
            <pc:sldMk cId="1087234413" sldId="2147480509"/>
            <ac:picMk id="30" creationId="{70AF88D3-D5BC-BD5E-331A-63ECD9B0817B}"/>
          </ac:picMkLst>
        </pc:picChg>
        <pc:picChg chg="add mod">
          <ac:chgData name="Cuvillier, Nicolas" userId="c7f17e95-5c3e-462b-8857-a61ca2f84f6f" providerId="ADAL" clId="{421FC56B-1DFC-468F-8ADB-554CD8D34B85}" dt="2023-12-04T14:33:50.897" v="4960"/>
          <ac:picMkLst>
            <pc:docMk/>
            <pc:sldMk cId="1087234413" sldId="2147480509"/>
            <ac:picMk id="31" creationId="{9B040944-DFB0-AD4F-C855-6BA19D62E116}"/>
          </ac:picMkLst>
        </pc:picChg>
        <pc:picChg chg="del mod">
          <ac:chgData name="Cuvillier, Nicolas" userId="c7f17e95-5c3e-462b-8857-a61ca2f84f6f" providerId="ADAL" clId="{421FC56B-1DFC-468F-8ADB-554CD8D34B85}" dt="2023-12-04T14:31:30.907" v="4769" actId="478"/>
          <ac:picMkLst>
            <pc:docMk/>
            <pc:sldMk cId="1087234413" sldId="2147480509"/>
            <ac:picMk id="39" creationId="{52C83BD0-11B4-F38F-F21C-6C0D3C37DA4B}"/>
          </ac:picMkLst>
        </pc:picChg>
        <pc:picChg chg="mod">
          <ac:chgData name="Cuvillier, Nicolas" userId="c7f17e95-5c3e-462b-8857-a61ca2f84f6f" providerId="ADAL" clId="{421FC56B-1DFC-468F-8ADB-554CD8D34B85}" dt="2023-12-04T14:28:21.368" v="4349" actId="1076"/>
          <ac:picMkLst>
            <pc:docMk/>
            <pc:sldMk cId="1087234413" sldId="2147480509"/>
            <ac:picMk id="45" creationId="{D1448623-626A-2AAE-3D98-A749B6240C05}"/>
          </ac:picMkLst>
        </pc:picChg>
        <pc:picChg chg="mod">
          <ac:chgData name="Cuvillier, Nicolas" userId="c7f17e95-5c3e-462b-8857-a61ca2f84f6f" providerId="ADAL" clId="{421FC56B-1DFC-468F-8ADB-554CD8D34B85}" dt="2023-12-04T14:28:21.368" v="4349" actId="1076"/>
          <ac:picMkLst>
            <pc:docMk/>
            <pc:sldMk cId="1087234413" sldId="2147480509"/>
            <ac:picMk id="47" creationId="{189AA276-AF58-1AD3-4754-6A5C89FB3CA1}"/>
          </ac:picMkLst>
        </pc:picChg>
        <pc:cxnChg chg="mod">
          <ac:chgData name="Cuvillier, Nicolas" userId="c7f17e95-5c3e-462b-8857-a61ca2f84f6f" providerId="ADAL" clId="{421FC56B-1DFC-468F-8ADB-554CD8D34B85}" dt="2023-12-04T14:28:21.368" v="4349" actId="1076"/>
          <ac:cxnSpMkLst>
            <pc:docMk/>
            <pc:sldMk cId="1087234413" sldId="2147480509"/>
            <ac:cxnSpMk id="29" creationId="{3C54040F-052F-1BDA-B90C-98184F9750C7}"/>
          </ac:cxnSpMkLst>
        </pc:cxnChg>
        <pc:cxnChg chg="mod">
          <ac:chgData name="Cuvillier, Nicolas" userId="c7f17e95-5c3e-462b-8857-a61ca2f84f6f" providerId="ADAL" clId="{421FC56B-1DFC-468F-8ADB-554CD8D34B85}" dt="2023-12-04T14:28:21.368" v="4349" actId="1076"/>
          <ac:cxnSpMkLst>
            <pc:docMk/>
            <pc:sldMk cId="1087234413" sldId="2147480509"/>
            <ac:cxnSpMk id="34" creationId="{9E3CB111-6AD5-83E5-8626-AAEFD279ABC7}"/>
          </ac:cxnSpMkLst>
        </pc:cxnChg>
      </pc:sldChg>
      <pc:sldChg chg="addSp delSp modSp mod ord">
        <pc:chgData name="Cuvillier, Nicolas" userId="c7f17e95-5c3e-462b-8857-a61ca2f84f6f" providerId="ADAL" clId="{421FC56B-1DFC-468F-8ADB-554CD8D34B85}" dt="2023-12-04T19:28:09.993" v="11461" actId="6549"/>
        <pc:sldMkLst>
          <pc:docMk/>
          <pc:sldMk cId="1295043685" sldId="2147480510"/>
        </pc:sldMkLst>
        <pc:spChg chg="add del mod modVis">
          <ac:chgData name="Cuvillier, Nicolas" userId="c7f17e95-5c3e-462b-8857-a61ca2f84f6f" providerId="ADAL" clId="{421FC56B-1DFC-468F-8ADB-554CD8D34B85}" dt="2023-12-04T12:56:38.891" v="1235"/>
          <ac:spMkLst>
            <pc:docMk/>
            <pc:sldMk cId="1295043685" sldId="2147480510"/>
            <ac:spMk id="3" creationId="{4623DDB9-08EA-2BC5-F03D-914B5ECFFBC5}"/>
          </ac:spMkLst>
        </pc:spChg>
        <pc:spChg chg="add mod">
          <ac:chgData name="Cuvillier, Nicolas" userId="c7f17e95-5c3e-462b-8857-a61ca2f84f6f" providerId="ADAL" clId="{421FC56B-1DFC-468F-8ADB-554CD8D34B85}" dt="2023-12-04T18:50:05.825" v="9691" actId="20577"/>
          <ac:spMkLst>
            <pc:docMk/>
            <pc:sldMk cId="1295043685" sldId="2147480510"/>
            <ac:spMk id="3" creationId="{EC646ABB-06D4-A0A8-B8B1-A39EF9363C77}"/>
          </ac:spMkLst>
        </pc:spChg>
        <pc:spChg chg="mod">
          <ac:chgData name="Cuvillier, Nicolas" userId="c7f17e95-5c3e-462b-8857-a61ca2f84f6f" providerId="ADAL" clId="{421FC56B-1DFC-468F-8ADB-554CD8D34B85}" dt="2023-12-04T19:25:43.288" v="11429" actId="20577"/>
          <ac:spMkLst>
            <pc:docMk/>
            <pc:sldMk cId="1295043685" sldId="2147480510"/>
            <ac:spMk id="4" creationId="{DF884FB3-6C01-F685-77F6-4D1FA5C1E1B5}"/>
          </ac:spMkLst>
        </pc:spChg>
        <pc:spChg chg="mod">
          <ac:chgData name="Cuvillier, Nicolas" userId="c7f17e95-5c3e-462b-8857-a61ca2f84f6f" providerId="ADAL" clId="{421FC56B-1DFC-468F-8ADB-554CD8D34B85}" dt="2023-12-04T14:28:35.933" v="4362" actId="1076"/>
          <ac:spMkLst>
            <pc:docMk/>
            <pc:sldMk cId="1295043685" sldId="2147480510"/>
            <ac:spMk id="7" creationId="{DA28DF84-7415-DB6D-9B4D-2F4E5DBAC434}"/>
          </ac:spMkLst>
        </pc:spChg>
        <pc:spChg chg="mod">
          <ac:chgData name="Cuvillier, Nicolas" userId="c7f17e95-5c3e-462b-8857-a61ca2f84f6f" providerId="ADAL" clId="{421FC56B-1DFC-468F-8ADB-554CD8D34B85}" dt="2023-12-04T14:28:39.577" v="4363" actId="1076"/>
          <ac:spMkLst>
            <pc:docMk/>
            <pc:sldMk cId="1295043685" sldId="2147480510"/>
            <ac:spMk id="8" creationId="{7473B29A-4774-EAB8-12A1-04504C9B87C2}"/>
          </ac:spMkLst>
        </pc:spChg>
        <pc:spChg chg="mod">
          <ac:chgData name="Cuvillier, Nicolas" userId="c7f17e95-5c3e-462b-8857-a61ca2f84f6f" providerId="ADAL" clId="{421FC56B-1DFC-468F-8ADB-554CD8D34B85}" dt="2023-12-04T14:28:39.577" v="4363" actId="1076"/>
          <ac:spMkLst>
            <pc:docMk/>
            <pc:sldMk cId="1295043685" sldId="2147480510"/>
            <ac:spMk id="10" creationId="{0C3AB9CE-8B6C-2693-25AC-93A9DD8B8E26}"/>
          </ac:spMkLst>
        </pc:spChg>
        <pc:spChg chg="mod">
          <ac:chgData name="Cuvillier, Nicolas" userId="c7f17e95-5c3e-462b-8857-a61ca2f84f6f" providerId="ADAL" clId="{421FC56B-1DFC-468F-8ADB-554CD8D34B85}" dt="2023-12-04T14:28:39.577" v="4363" actId="1076"/>
          <ac:spMkLst>
            <pc:docMk/>
            <pc:sldMk cId="1295043685" sldId="2147480510"/>
            <ac:spMk id="11" creationId="{89273CE8-266C-C02B-E3D2-33FBDFD003A5}"/>
          </ac:spMkLst>
        </pc:spChg>
        <pc:spChg chg="mod">
          <ac:chgData name="Cuvillier, Nicolas" userId="c7f17e95-5c3e-462b-8857-a61ca2f84f6f" providerId="ADAL" clId="{421FC56B-1DFC-468F-8ADB-554CD8D34B85}" dt="2023-12-04T14:28:35.933" v="4362" actId="1076"/>
          <ac:spMkLst>
            <pc:docMk/>
            <pc:sldMk cId="1295043685" sldId="2147480510"/>
            <ac:spMk id="12" creationId="{F7540107-2DE9-FA47-709C-1F7CD99EE721}"/>
          </ac:spMkLst>
        </pc:spChg>
        <pc:spChg chg="mod">
          <ac:chgData name="Cuvillier, Nicolas" userId="c7f17e95-5c3e-462b-8857-a61ca2f84f6f" providerId="ADAL" clId="{421FC56B-1DFC-468F-8ADB-554CD8D34B85}" dt="2023-12-04T13:52:08.780" v="3542" actId="20577"/>
          <ac:spMkLst>
            <pc:docMk/>
            <pc:sldMk cId="1295043685" sldId="2147480510"/>
            <ac:spMk id="14" creationId="{EC347EB2-A17C-9756-6F8A-FA325CAB65BB}"/>
          </ac:spMkLst>
        </pc:spChg>
        <pc:spChg chg="mod">
          <ac:chgData name="Cuvillier, Nicolas" userId="c7f17e95-5c3e-462b-8857-a61ca2f84f6f" providerId="ADAL" clId="{421FC56B-1DFC-468F-8ADB-554CD8D34B85}" dt="2023-12-04T14:28:35.933" v="4362" actId="1076"/>
          <ac:spMkLst>
            <pc:docMk/>
            <pc:sldMk cId="1295043685" sldId="2147480510"/>
            <ac:spMk id="17" creationId="{3119BBCB-5A35-97C6-C2D5-DDB2A67858B4}"/>
          </ac:spMkLst>
        </pc:spChg>
        <pc:spChg chg="add del mod">
          <ac:chgData name="Cuvillier, Nicolas" userId="c7f17e95-5c3e-462b-8857-a61ca2f84f6f" providerId="ADAL" clId="{421FC56B-1DFC-468F-8ADB-554CD8D34B85}" dt="2023-12-04T14:28:30.435" v="4356" actId="478"/>
          <ac:spMkLst>
            <pc:docMk/>
            <pc:sldMk cId="1295043685" sldId="2147480510"/>
            <ac:spMk id="20" creationId="{67958202-4A0F-1664-30CA-7B5E9073A8A2}"/>
          </ac:spMkLst>
        </pc:spChg>
        <pc:spChg chg="del mod">
          <ac:chgData name="Cuvillier, Nicolas" userId="c7f17e95-5c3e-462b-8857-a61ca2f84f6f" providerId="ADAL" clId="{421FC56B-1DFC-468F-8ADB-554CD8D34B85}" dt="2023-12-04T14:28:29.671" v="4351" actId="478"/>
          <ac:spMkLst>
            <pc:docMk/>
            <pc:sldMk cId="1295043685" sldId="2147480510"/>
            <ac:spMk id="22" creationId="{23413B08-5FEA-6306-84D4-A9BCC06F2A31}"/>
          </ac:spMkLst>
        </pc:spChg>
        <pc:spChg chg="mod">
          <ac:chgData name="Cuvillier, Nicolas" userId="c7f17e95-5c3e-462b-8857-a61ca2f84f6f" providerId="ADAL" clId="{421FC56B-1DFC-468F-8ADB-554CD8D34B85}" dt="2023-12-04T14:28:35.933" v="4362" actId="1076"/>
          <ac:spMkLst>
            <pc:docMk/>
            <pc:sldMk cId="1295043685" sldId="2147480510"/>
            <ac:spMk id="23" creationId="{60597E66-83FC-AF81-6604-C1DB01380F18}"/>
          </ac:spMkLst>
        </pc:spChg>
        <pc:spChg chg="mod">
          <ac:chgData name="Cuvillier, Nicolas" userId="c7f17e95-5c3e-462b-8857-a61ca2f84f6f" providerId="ADAL" clId="{421FC56B-1DFC-468F-8ADB-554CD8D34B85}" dt="2023-12-04T14:28:35.933" v="4362" actId="1076"/>
          <ac:spMkLst>
            <pc:docMk/>
            <pc:sldMk cId="1295043685" sldId="2147480510"/>
            <ac:spMk id="24" creationId="{D5173955-0A5F-1F86-E19C-0100540A9836}"/>
          </ac:spMkLst>
        </pc:spChg>
        <pc:spChg chg="mod">
          <ac:chgData name="Cuvillier, Nicolas" userId="c7f17e95-5c3e-462b-8857-a61ca2f84f6f" providerId="ADAL" clId="{421FC56B-1DFC-468F-8ADB-554CD8D34B85}" dt="2023-12-04T19:28:09.993" v="11461" actId="6549"/>
          <ac:spMkLst>
            <pc:docMk/>
            <pc:sldMk cId="1295043685" sldId="2147480510"/>
            <ac:spMk id="25" creationId="{958D2966-7E7D-9813-B536-FF656F5DC453}"/>
          </ac:spMkLst>
        </pc:spChg>
        <pc:spChg chg="del">
          <ac:chgData name="Cuvillier, Nicolas" userId="c7f17e95-5c3e-462b-8857-a61ca2f84f6f" providerId="ADAL" clId="{421FC56B-1DFC-468F-8ADB-554CD8D34B85}" dt="2023-12-04T14:28:31.784" v="4361" actId="478"/>
          <ac:spMkLst>
            <pc:docMk/>
            <pc:sldMk cId="1295043685" sldId="2147480510"/>
            <ac:spMk id="26" creationId="{49C9CE68-3076-3846-BDBC-BA436D8237D3}"/>
          </ac:spMkLst>
        </pc:spChg>
        <pc:spChg chg="mod">
          <ac:chgData name="Cuvillier, Nicolas" userId="c7f17e95-5c3e-462b-8857-a61ca2f84f6f" providerId="ADAL" clId="{421FC56B-1DFC-468F-8ADB-554CD8D34B85}" dt="2023-12-04T19:20:29.533" v="11013" actId="20577"/>
          <ac:spMkLst>
            <pc:docMk/>
            <pc:sldMk cId="1295043685" sldId="2147480510"/>
            <ac:spMk id="27" creationId="{E1366F96-29C8-F300-6344-34F16AE85E10}"/>
          </ac:spMkLst>
        </pc:spChg>
        <pc:spChg chg="mod">
          <ac:chgData name="Cuvillier, Nicolas" userId="c7f17e95-5c3e-462b-8857-a61ca2f84f6f" providerId="ADAL" clId="{421FC56B-1DFC-468F-8ADB-554CD8D34B85}" dt="2023-12-04T14:28:35.933" v="4362" actId="1076"/>
          <ac:spMkLst>
            <pc:docMk/>
            <pc:sldMk cId="1295043685" sldId="2147480510"/>
            <ac:spMk id="28" creationId="{91C85F53-0BAC-0392-CDB8-86024CC7523A}"/>
          </ac:spMkLst>
        </pc:spChg>
        <pc:spChg chg="mod">
          <ac:chgData name="Cuvillier, Nicolas" userId="c7f17e95-5c3e-462b-8857-a61ca2f84f6f" providerId="ADAL" clId="{421FC56B-1DFC-468F-8ADB-554CD8D34B85}" dt="2023-12-04T14:28:35.933" v="4362" actId="1076"/>
          <ac:spMkLst>
            <pc:docMk/>
            <pc:sldMk cId="1295043685" sldId="2147480510"/>
            <ac:spMk id="35" creationId="{4D3F7C0A-B149-1D73-324F-73B6CC4231CD}"/>
          </ac:spMkLst>
        </pc:spChg>
        <pc:spChg chg="mod">
          <ac:chgData name="Cuvillier, Nicolas" userId="c7f17e95-5c3e-462b-8857-a61ca2f84f6f" providerId="ADAL" clId="{421FC56B-1DFC-468F-8ADB-554CD8D34B85}" dt="2023-12-04T14:28:35.933" v="4362" actId="1076"/>
          <ac:spMkLst>
            <pc:docMk/>
            <pc:sldMk cId="1295043685" sldId="2147480510"/>
            <ac:spMk id="37" creationId="{334ADF48-30AE-4246-8BEE-2FDDBB4368CB}"/>
          </ac:spMkLst>
        </pc:spChg>
        <pc:spChg chg="mod">
          <ac:chgData name="Cuvillier, Nicolas" userId="c7f17e95-5c3e-462b-8857-a61ca2f84f6f" providerId="ADAL" clId="{421FC56B-1DFC-468F-8ADB-554CD8D34B85}" dt="2023-12-04T14:28:35.933" v="4362" actId="1076"/>
          <ac:spMkLst>
            <pc:docMk/>
            <pc:sldMk cId="1295043685" sldId="2147480510"/>
            <ac:spMk id="38" creationId="{D2D970F1-37BA-0616-2151-DCC1AEF77E1D}"/>
          </ac:spMkLst>
        </pc:spChg>
        <pc:grpChg chg="mod">
          <ac:chgData name="Cuvillier, Nicolas" userId="c7f17e95-5c3e-462b-8857-a61ca2f84f6f" providerId="ADAL" clId="{421FC56B-1DFC-468F-8ADB-554CD8D34B85}" dt="2023-12-04T14:28:35.933" v="4362" actId="1076"/>
          <ac:grpSpMkLst>
            <pc:docMk/>
            <pc:sldMk cId="1295043685" sldId="2147480510"/>
            <ac:grpSpMk id="13" creationId="{D8292D40-362E-55F5-8A84-1B9683FCC623}"/>
          </ac:grpSpMkLst>
        </pc:grpChg>
        <pc:graphicFrameChg chg="mod">
          <ac:chgData name="Cuvillier, Nicolas" userId="c7f17e95-5c3e-462b-8857-a61ca2f84f6f" providerId="ADAL" clId="{421FC56B-1DFC-468F-8ADB-554CD8D34B85}" dt="2023-12-04T14:28:30.947" v="4360"/>
          <ac:graphicFrameMkLst>
            <pc:docMk/>
            <pc:sldMk cId="1295043685" sldId="2147480510"/>
            <ac:graphicFrameMk id="6" creationId="{1532DC8D-EF10-C559-FE82-D80CBE53E380}"/>
          </ac:graphicFrameMkLst>
        </pc:graphicFrameChg>
        <pc:picChg chg="mod">
          <ac:chgData name="Cuvillier, Nicolas" userId="c7f17e95-5c3e-462b-8857-a61ca2f84f6f" providerId="ADAL" clId="{421FC56B-1DFC-468F-8ADB-554CD8D34B85}" dt="2023-12-04T14:28:35.933" v="4362" actId="1076"/>
          <ac:picMkLst>
            <pc:docMk/>
            <pc:sldMk cId="1295043685" sldId="2147480510"/>
            <ac:picMk id="2" creationId="{A597DCFE-0D7A-6AE3-8F57-A7B912C8A10B}"/>
          </ac:picMkLst>
        </pc:picChg>
        <pc:picChg chg="mod">
          <ac:chgData name="Cuvillier, Nicolas" userId="c7f17e95-5c3e-462b-8857-a61ca2f84f6f" providerId="ADAL" clId="{421FC56B-1DFC-468F-8ADB-554CD8D34B85}" dt="2023-12-04T14:28:35.933" v="4362" actId="1076"/>
          <ac:picMkLst>
            <pc:docMk/>
            <pc:sldMk cId="1295043685" sldId="2147480510"/>
            <ac:picMk id="5" creationId="{AD8C3515-AF2C-9985-6CBF-B2D736D5544D}"/>
          </ac:picMkLst>
        </pc:picChg>
        <pc:picChg chg="mod">
          <ac:chgData name="Cuvillier, Nicolas" userId="c7f17e95-5c3e-462b-8857-a61ca2f84f6f" providerId="ADAL" clId="{421FC56B-1DFC-468F-8ADB-554CD8D34B85}" dt="2023-12-04T14:28:35.933" v="4362" actId="1076"/>
          <ac:picMkLst>
            <pc:docMk/>
            <pc:sldMk cId="1295043685" sldId="2147480510"/>
            <ac:picMk id="16" creationId="{C2660DE7-A7F6-567B-4164-2425BC10AA8A}"/>
          </ac:picMkLst>
        </pc:picChg>
        <pc:picChg chg="mod">
          <ac:chgData name="Cuvillier, Nicolas" userId="c7f17e95-5c3e-462b-8857-a61ca2f84f6f" providerId="ADAL" clId="{421FC56B-1DFC-468F-8ADB-554CD8D34B85}" dt="2023-12-04T14:28:35.933" v="4362" actId="1076"/>
          <ac:picMkLst>
            <pc:docMk/>
            <pc:sldMk cId="1295043685" sldId="2147480510"/>
            <ac:picMk id="18" creationId="{EEDFFC2A-6D0D-F93C-201C-DAB80930DE75}"/>
          </ac:picMkLst>
        </pc:picChg>
        <pc:picChg chg="mod">
          <ac:chgData name="Cuvillier, Nicolas" userId="c7f17e95-5c3e-462b-8857-a61ca2f84f6f" providerId="ADAL" clId="{421FC56B-1DFC-468F-8ADB-554CD8D34B85}" dt="2023-12-04T14:28:35.933" v="4362" actId="1076"/>
          <ac:picMkLst>
            <pc:docMk/>
            <pc:sldMk cId="1295043685" sldId="2147480510"/>
            <ac:picMk id="19" creationId="{A1DCFEA2-2F99-B440-7840-6AD59792D673}"/>
          </ac:picMkLst>
        </pc:picChg>
        <pc:picChg chg="add mod">
          <ac:chgData name="Cuvillier, Nicolas" userId="c7f17e95-5c3e-462b-8857-a61ca2f84f6f" providerId="ADAL" clId="{421FC56B-1DFC-468F-8ADB-554CD8D34B85}" dt="2023-12-04T14:33:54.491" v="4969"/>
          <ac:picMkLst>
            <pc:docMk/>
            <pc:sldMk cId="1295043685" sldId="2147480510"/>
            <ac:picMk id="21" creationId="{DED5FA10-22A4-B549-F53B-B03D7A0DC4AA}"/>
          </ac:picMkLst>
        </pc:picChg>
        <pc:picChg chg="mod">
          <ac:chgData name="Cuvillier, Nicolas" userId="c7f17e95-5c3e-462b-8857-a61ca2f84f6f" providerId="ADAL" clId="{421FC56B-1DFC-468F-8ADB-554CD8D34B85}" dt="2023-12-04T14:28:35.933" v="4362" actId="1076"/>
          <ac:picMkLst>
            <pc:docMk/>
            <pc:sldMk cId="1295043685" sldId="2147480510"/>
            <ac:picMk id="30" creationId="{70AF88D3-D5BC-BD5E-331A-63ECD9B0817B}"/>
          </ac:picMkLst>
        </pc:picChg>
        <pc:picChg chg="del mod">
          <ac:chgData name="Cuvillier, Nicolas" userId="c7f17e95-5c3e-462b-8857-a61ca2f84f6f" providerId="ADAL" clId="{421FC56B-1DFC-468F-8ADB-554CD8D34B85}" dt="2023-12-04T14:31:31.718" v="4770" actId="478"/>
          <ac:picMkLst>
            <pc:docMk/>
            <pc:sldMk cId="1295043685" sldId="2147480510"/>
            <ac:picMk id="39" creationId="{52C83BD0-11B4-F38F-F21C-6C0D3C37DA4B}"/>
          </ac:picMkLst>
        </pc:picChg>
        <pc:picChg chg="mod">
          <ac:chgData name="Cuvillier, Nicolas" userId="c7f17e95-5c3e-462b-8857-a61ca2f84f6f" providerId="ADAL" clId="{421FC56B-1DFC-468F-8ADB-554CD8D34B85}" dt="2023-12-04T14:28:35.933" v="4362" actId="1076"/>
          <ac:picMkLst>
            <pc:docMk/>
            <pc:sldMk cId="1295043685" sldId="2147480510"/>
            <ac:picMk id="45" creationId="{D1448623-626A-2AAE-3D98-A749B6240C05}"/>
          </ac:picMkLst>
        </pc:picChg>
        <pc:picChg chg="mod">
          <ac:chgData name="Cuvillier, Nicolas" userId="c7f17e95-5c3e-462b-8857-a61ca2f84f6f" providerId="ADAL" clId="{421FC56B-1DFC-468F-8ADB-554CD8D34B85}" dt="2023-12-04T14:28:35.933" v="4362" actId="1076"/>
          <ac:picMkLst>
            <pc:docMk/>
            <pc:sldMk cId="1295043685" sldId="2147480510"/>
            <ac:picMk id="47" creationId="{189AA276-AF58-1AD3-4754-6A5C89FB3CA1}"/>
          </ac:picMkLst>
        </pc:picChg>
        <pc:picChg chg="add mod">
          <ac:chgData name="Cuvillier, Nicolas" userId="c7f17e95-5c3e-462b-8857-a61ca2f84f6f" providerId="ADAL" clId="{421FC56B-1DFC-468F-8ADB-554CD8D34B85}" dt="2023-12-04T17:25:22.881" v="7075" actId="1076"/>
          <ac:picMkLst>
            <pc:docMk/>
            <pc:sldMk cId="1295043685" sldId="2147480510"/>
            <ac:picMk id="1026" creationId="{76D88CC3-FF6D-C01B-A034-F2D424DA03EF}"/>
          </ac:picMkLst>
        </pc:picChg>
        <pc:cxnChg chg="mod">
          <ac:chgData name="Cuvillier, Nicolas" userId="c7f17e95-5c3e-462b-8857-a61ca2f84f6f" providerId="ADAL" clId="{421FC56B-1DFC-468F-8ADB-554CD8D34B85}" dt="2023-12-04T14:28:35.933" v="4362" actId="1076"/>
          <ac:cxnSpMkLst>
            <pc:docMk/>
            <pc:sldMk cId="1295043685" sldId="2147480510"/>
            <ac:cxnSpMk id="29" creationId="{3C54040F-052F-1BDA-B90C-98184F9750C7}"/>
          </ac:cxnSpMkLst>
        </pc:cxnChg>
        <pc:cxnChg chg="mod">
          <ac:chgData name="Cuvillier, Nicolas" userId="c7f17e95-5c3e-462b-8857-a61ca2f84f6f" providerId="ADAL" clId="{421FC56B-1DFC-468F-8ADB-554CD8D34B85}" dt="2023-12-04T14:28:35.933" v="4362" actId="1076"/>
          <ac:cxnSpMkLst>
            <pc:docMk/>
            <pc:sldMk cId="1295043685" sldId="2147480510"/>
            <ac:cxnSpMk id="34" creationId="{9E3CB111-6AD5-83E5-8626-AAEFD279ABC7}"/>
          </ac:cxnSpMkLst>
        </pc:cxnChg>
      </pc:sldChg>
      <pc:sldChg chg="addSp delSp modSp mod ord">
        <pc:chgData name="Cuvillier, Nicolas" userId="c7f17e95-5c3e-462b-8857-a61ca2f84f6f" providerId="ADAL" clId="{421FC56B-1DFC-468F-8ADB-554CD8D34B85}" dt="2023-12-04T19:28:12.587" v="11463" actId="6549"/>
        <pc:sldMkLst>
          <pc:docMk/>
          <pc:sldMk cId="57719181" sldId="2147480511"/>
        </pc:sldMkLst>
        <pc:spChg chg="add del mod modVis">
          <ac:chgData name="Cuvillier, Nicolas" userId="c7f17e95-5c3e-462b-8857-a61ca2f84f6f" providerId="ADAL" clId="{421FC56B-1DFC-468F-8ADB-554CD8D34B85}" dt="2023-12-04T12:56:40.834" v="1264"/>
          <ac:spMkLst>
            <pc:docMk/>
            <pc:sldMk cId="57719181" sldId="2147480511"/>
            <ac:spMk id="3" creationId="{AED998E7-8995-84DD-9CE5-6630CC5715C8}"/>
          </ac:spMkLst>
        </pc:spChg>
        <pc:spChg chg="mod">
          <ac:chgData name="Cuvillier, Nicolas" userId="c7f17e95-5c3e-462b-8857-a61ca2f84f6f" providerId="ADAL" clId="{421FC56B-1DFC-468F-8ADB-554CD8D34B85}" dt="2023-12-04T14:28:47.656" v="4375" actId="1076"/>
          <ac:spMkLst>
            <pc:docMk/>
            <pc:sldMk cId="57719181" sldId="2147480511"/>
            <ac:spMk id="4" creationId="{DF884FB3-6C01-F685-77F6-4D1FA5C1E1B5}"/>
          </ac:spMkLst>
        </pc:spChg>
        <pc:spChg chg="mod">
          <ac:chgData name="Cuvillier, Nicolas" userId="c7f17e95-5c3e-462b-8857-a61ca2f84f6f" providerId="ADAL" clId="{421FC56B-1DFC-468F-8ADB-554CD8D34B85}" dt="2023-12-04T14:28:47.656" v="4375" actId="1076"/>
          <ac:spMkLst>
            <pc:docMk/>
            <pc:sldMk cId="57719181" sldId="2147480511"/>
            <ac:spMk id="7" creationId="{DA28DF84-7415-DB6D-9B4D-2F4E5DBAC434}"/>
          </ac:spMkLst>
        </pc:spChg>
        <pc:spChg chg="mod">
          <ac:chgData name="Cuvillier, Nicolas" userId="c7f17e95-5c3e-462b-8857-a61ca2f84f6f" providerId="ADAL" clId="{421FC56B-1DFC-468F-8ADB-554CD8D34B85}" dt="2023-12-04T14:28:51.179" v="4376" actId="1076"/>
          <ac:spMkLst>
            <pc:docMk/>
            <pc:sldMk cId="57719181" sldId="2147480511"/>
            <ac:spMk id="8" creationId="{7473B29A-4774-EAB8-12A1-04504C9B87C2}"/>
          </ac:spMkLst>
        </pc:spChg>
        <pc:spChg chg="add del mod">
          <ac:chgData name="Cuvillier, Nicolas" userId="c7f17e95-5c3e-462b-8857-a61ca2f84f6f" providerId="ADAL" clId="{421FC56B-1DFC-468F-8ADB-554CD8D34B85}" dt="2023-12-04T14:28:42.087" v="4369" actId="478"/>
          <ac:spMkLst>
            <pc:docMk/>
            <pc:sldMk cId="57719181" sldId="2147480511"/>
            <ac:spMk id="10" creationId="{D3956850-3566-72CB-8130-547B10ED9FA4}"/>
          </ac:spMkLst>
        </pc:spChg>
        <pc:spChg chg="mod">
          <ac:chgData name="Cuvillier, Nicolas" userId="c7f17e95-5c3e-462b-8857-a61ca2f84f6f" providerId="ADAL" clId="{421FC56B-1DFC-468F-8ADB-554CD8D34B85}" dt="2023-12-04T14:28:51.179" v="4376" actId="1076"/>
          <ac:spMkLst>
            <pc:docMk/>
            <pc:sldMk cId="57719181" sldId="2147480511"/>
            <ac:spMk id="11" creationId="{89273CE8-266C-C02B-E3D2-33FBDFD003A5}"/>
          </ac:spMkLst>
        </pc:spChg>
        <pc:spChg chg="mod">
          <ac:chgData name="Cuvillier, Nicolas" userId="c7f17e95-5c3e-462b-8857-a61ca2f84f6f" providerId="ADAL" clId="{421FC56B-1DFC-468F-8ADB-554CD8D34B85}" dt="2023-12-04T14:28:47.656" v="4375" actId="1076"/>
          <ac:spMkLst>
            <pc:docMk/>
            <pc:sldMk cId="57719181" sldId="2147480511"/>
            <ac:spMk id="12" creationId="{F7540107-2DE9-FA47-709C-1F7CD99EE721}"/>
          </ac:spMkLst>
        </pc:spChg>
        <pc:spChg chg="mod">
          <ac:chgData name="Cuvillier, Nicolas" userId="c7f17e95-5c3e-462b-8857-a61ca2f84f6f" providerId="ADAL" clId="{421FC56B-1DFC-468F-8ADB-554CD8D34B85}" dt="2023-12-04T19:20:05.996" v="11005" actId="20577"/>
          <ac:spMkLst>
            <pc:docMk/>
            <pc:sldMk cId="57719181" sldId="2147480511"/>
            <ac:spMk id="14" creationId="{EC347EB2-A17C-9756-6F8A-FA325CAB65BB}"/>
          </ac:spMkLst>
        </pc:spChg>
        <pc:spChg chg="mod">
          <ac:chgData name="Cuvillier, Nicolas" userId="c7f17e95-5c3e-462b-8857-a61ca2f84f6f" providerId="ADAL" clId="{421FC56B-1DFC-468F-8ADB-554CD8D34B85}" dt="2023-12-04T14:28:47.656" v="4375" actId="1076"/>
          <ac:spMkLst>
            <pc:docMk/>
            <pc:sldMk cId="57719181" sldId="2147480511"/>
            <ac:spMk id="17" creationId="{3119BBCB-5A35-97C6-C2D5-DDB2A67858B4}"/>
          </ac:spMkLst>
        </pc:spChg>
        <pc:spChg chg="del mod">
          <ac:chgData name="Cuvillier, Nicolas" userId="c7f17e95-5c3e-462b-8857-a61ca2f84f6f" providerId="ADAL" clId="{421FC56B-1DFC-468F-8ADB-554CD8D34B85}" dt="2023-12-04T14:28:41.358" v="4364" actId="478"/>
          <ac:spMkLst>
            <pc:docMk/>
            <pc:sldMk cId="57719181" sldId="2147480511"/>
            <ac:spMk id="22" creationId="{23413B08-5FEA-6306-84D4-A9BCC06F2A31}"/>
          </ac:spMkLst>
        </pc:spChg>
        <pc:spChg chg="mod">
          <ac:chgData name="Cuvillier, Nicolas" userId="c7f17e95-5c3e-462b-8857-a61ca2f84f6f" providerId="ADAL" clId="{421FC56B-1DFC-468F-8ADB-554CD8D34B85}" dt="2023-12-04T14:28:47.656" v="4375" actId="1076"/>
          <ac:spMkLst>
            <pc:docMk/>
            <pc:sldMk cId="57719181" sldId="2147480511"/>
            <ac:spMk id="23" creationId="{60597E66-83FC-AF81-6604-C1DB01380F18}"/>
          </ac:spMkLst>
        </pc:spChg>
        <pc:spChg chg="mod">
          <ac:chgData name="Cuvillier, Nicolas" userId="c7f17e95-5c3e-462b-8857-a61ca2f84f6f" providerId="ADAL" clId="{421FC56B-1DFC-468F-8ADB-554CD8D34B85}" dt="2023-12-04T14:28:47.656" v="4375" actId="1076"/>
          <ac:spMkLst>
            <pc:docMk/>
            <pc:sldMk cId="57719181" sldId="2147480511"/>
            <ac:spMk id="24" creationId="{D5173955-0A5F-1F86-E19C-0100540A9836}"/>
          </ac:spMkLst>
        </pc:spChg>
        <pc:spChg chg="mod">
          <ac:chgData name="Cuvillier, Nicolas" userId="c7f17e95-5c3e-462b-8857-a61ca2f84f6f" providerId="ADAL" clId="{421FC56B-1DFC-468F-8ADB-554CD8D34B85}" dt="2023-12-04T19:28:12.587" v="11463" actId="6549"/>
          <ac:spMkLst>
            <pc:docMk/>
            <pc:sldMk cId="57719181" sldId="2147480511"/>
            <ac:spMk id="25" creationId="{958D2966-7E7D-9813-B536-FF656F5DC453}"/>
          </ac:spMkLst>
        </pc:spChg>
        <pc:spChg chg="del">
          <ac:chgData name="Cuvillier, Nicolas" userId="c7f17e95-5c3e-462b-8857-a61ca2f84f6f" providerId="ADAL" clId="{421FC56B-1DFC-468F-8ADB-554CD8D34B85}" dt="2023-12-04T14:28:43.307" v="4374" actId="478"/>
          <ac:spMkLst>
            <pc:docMk/>
            <pc:sldMk cId="57719181" sldId="2147480511"/>
            <ac:spMk id="26" creationId="{49C9CE68-3076-3846-BDBC-BA436D8237D3}"/>
          </ac:spMkLst>
        </pc:spChg>
        <pc:spChg chg="mod">
          <ac:chgData name="Cuvillier, Nicolas" userId="c7f17e95-5c3e-462b-8857-a61ca2f84f6f" providerId="ADAL" clId="{421FC56B-1DFC-468F-8ADB-554CD8D34B85}" dt="2023-12-04T19:18:27.864" v="10929" actId="20577"/>
          <ac:spMkLst>
            <pc:docMk/>
            <pc:sldMk cId="57719181" sldId="2147480511"/>
            <ac:spMk id="27" creationId="{E1366F96-29C8-F300-6344-34F16AE85E10}"/>
          </ac:spMkLst>
        </pc:spChg>
        <pc:spChg chg="mod">
          <ac:chgData name="Cuvillier, Nicolas" userId="c7f17e95-5c3e-462b-8857-a61ca2f84f6f" providerId="ADAL" clId="{421FC56B-1DFC-468F-8ADB-554CD8D34B85}" dt="2023-12-04T14:28:47.656" v="4375" actId="1076"/>
          <ac:spMkLst>
            <pc:docMk/>
            <pc:sldMk cId="57719181" sldId="2147480511"/>
            <ac:spMk id="28" creationId="{91C85F53-0BAC-0392-CDB8-86024CC7523A}"/>
          </ac:spMkLst>
        </pc:spChg>
        <pc:spChg chg="mod">
          <ac:chgData name="Cuvillier, Nicolas" userId="c7f17e95-5c3e-462b-8857-a61ca2f84f6f" providerId="ADAL" clId="{421FC56B-1DFC-468F-8ADB-554CD8D34B85}" dt="2023-12-04T14:28:47.656" v="4375" actId="1076"/>
          <ac:spMkLst>
            <pc:docMk/>
            <pc:sldMk cId="57719181" sldId="2147480511"/>
            <ac:spMk id="35" creationId="{4D3F7C0A-B149-1D73-324F-73B6CC4231CD}"/>
          </ac:spMkLst>
        </pc:spChg>
        <pc:spChg chg="mod">
          <ac:chgData name="Cuvillier, Nicolas" userId="c7f17e95-5c3e-462b-8857-a61ca2f84f6f" providerId="ADAL" clId="{421FC56B-1DFC-468F-8ADB-554CD8D34B85}" dt="2023-12-04T14:28:47.656" v="4375" actId="1076"/>
          <ac:spMkLst>
            <pc:docMk/>
            <pc:sldMk cId="57719181" sldId="2147480511"/>
            <ac:spMk id="37" creationId="{334ADF48-30AE-4246-8BEE-2FDDBB4368CB}"/>
          </ac:spMkLst>
        </pc:spChg>
        <pc:spChg chg="mod">
          <ac:chgData name="Cuvillier, Nicolas" userId="c7f17e95-5c3e-462b-8857-a61ca2f84f6f" providerId="ADAL" clId="{421FC56B-1DFC-468F-8ADB-554CD8D34B85}" dt="2023-12-04T14:28:47.656" v="4375" actId="1076"/>
          <ac:spMkLst>
            <pc:docMk/>
            <pc:sldMk cId="57719181" sldId="2147480511"/>
            <ac:spMk id="38" creationId="{D2D970F1-37BA-0616-2151-DCC1AEF77E1D}"/>
          </ac:spMkLst>
        </pc:spChg>
        <pc:grpChg chg="mod">
          <ac:chgData name="Cuvillier, Nicolas" userId="c7f17e95-5c3e-462b-8857-a61ca2f84f6f" providerId="ADAL" clId="{421FC56B-1DFC-468F-8ADB-554CD8D34B85}" dt="2023-12-04T14:28:47.656" v="4375" actId="1076"/>
          <ac:grpSpMkLst>
            <pc:docMk/>
            <pc:sldMk cId="57719181" sldId="2147480511"/>
            <ac:grpSpMk id="13" creationId="{D8292D40-362E-55F5-8A84-1B9683FCC623}"/>
          </ac:grpSpMkLst>
        </pc:grpChg>
        <pc:graphicFrameChg chg="mod">
          <ac:chgData name="Cuvillier, Nicolas" userId="c7f17e95-5c3e-462b-8857-a61ca2f84f6f" providerId="ADAL" clId="{421FC56B-1DFC-468F-8ADB-554CD8D34B85}" dt="2023-12-04T14:28:42.587" v="4373"/>
          <ac:graphicFrameMkLst>
            <pc:docMk/>
            <pc:sldMk cId="57719181" sldId="2147480511"/>
            <ac:graphicFrameMk id="6" creationId="{1532DC8D-EF10-C559-FE82-D80CBE53E380}"/>
          </ac:graphicFrameMkLst>
        </pc:graphicFrameChg>
        <pc:picChg chg="mod">
          <ac:chgData name="Cuvillier, Nicolas" userId="c7f17e95-5c3e-462b-8857-a61ca2f84f6f" providerId="ADAL" clId="{421FC56B-1DFC-468F-8ADB-554CD8D34B85}" dt="2023-12-04T14:28:47.656" v="4375" actId="1076"/>
          <ac:picMkLst>
            <pc:docMk/>
            <pc:sldMk cId="57719181" sldId="2147480511"/>
            <ac:picMk id="2" creationId="{A597DCFE-0D7A-6AE3-8F57-A7B912C8A10B}"/>
          </ac:picMkLst>
        </pc:picChg>
        <pc:picChg chg="add mod">
          <ac:chgData name="Cuvillier, Nicolas" userId="c7f17e95-5c3e-462b-8857-a61ca2f84f6f" providerId="ADAL" clId="{421FC56B-1DFC-468F-8ADB-554CD8D34B85}" dt="2023-12-04T19:17:34.211" v="10857"/>
          <ac:picMkLst>
            <pc:docMk/>
            <pc:sldMk cId="57719181" sldId="2147480511"/>
            <ac:picMk id="3" creationId="{E7A5E309-4647-DF54-E01C-995D46B0FDCA}"/>
          </ac:picMkLst>
        </pc:picChg>
        <pc:picChg chg="mod">
          <ac:chgData name="Cuvillier, Nicolas" userId="c7f17e95-5c3e-462b-8857-a61ca2f84f6f" providerId="ADAL" clId="{421FC56B-1DFC-468F-8ADB-554CD8D34B85}" dt="2023-12-04T14:28:47.656" v="4375" actId="1076"/>
          <ac:picMkLst>
            <pc:docMk/>
            <pc:sldMk cId="57719181" sldId="2147480511"/>
            <ac:picMk id="5" creationId="{AD8C3515-AF2C-9985-6CBF-B2D736D5544D}"/>
          </ac:picMkLst>
        </pc:picChg>
        <pc:picChg chg="mod">
          <ac:chgData name="Cuvillier, Nicolas" userId="c7f17e95-5c3e-462b-8857-a61ca2f84f6f" providerId="ADAL" clId="{421FC56B-1DFC-468F-8ADB-554CD8D34B85}" dt="2023-12-04T14:28:47.656" v="4375" actId="1076"/>
          <ac:picMkLst>
            <pc:docMk/>
            <pc:sldMk cId="57719181" sldId="2147480511"/>
            <ac:picMk id="16" creationId="{C2660DE7-A7F6-567B-4164-2425BC10AA8A}"/>
          </ac:picMkLst>
        </pc:picChg>
        <pc:picChg chg="mod">
          <ac:chgData name="Cuvillier, Nicolas" userId="c7f17e95-5c3e-462b-8857-a61ca2f84f6f" providerId="ADAL" clId="{421FC56B-1DFC-468F-8ADB-554CD8D34B85}" dt="2023-12-04T14:28:47.656" v="4375" actId="1076"/>
          <ac:picMkLst>
            <pc:docMk/>
            <pc:sldMk cId="57719181" sldId="2147480511"/>
            <ac:picMk id="18" creationId="{EEDFFC2A-6D0D-F93C-201C-DAB80930DE75}"/>
          </ac:picMkLst>
        </pc:picChg>
        <pc:picChg chg="mod">
          <ac:chgData name="Cuvillier, Nicolas" userId="c7f17e95-5c3e-462b-8857-a61ca2f84f6f" providerId="ADAL" clId="{421FC56B-1DFC-468F-8ADB-554CD8D34B85}" dt="2023-12-04T14:28:47.656" v="4375" actId="1076"/>
          <ac:picMkLst>
            <pc:docMk/>
            <pc:sldMk cId="57719181" sldId="2147480511"/>
            <ac:picMk id="19" creationId="{A1DCFEA2-2F99-B440-7840-6AD59792D673}"/>
          </ac:picMkLst>
        </pc:picChg>
        <pc:picChg chg="add mod">
          <ac:chgData name="Cuvillier, Nicolas" userId="c7f17e95-5c3e-462b-8857-a61ca2f84f6f" providerId="ADAL" clId="{421FC56B-1DFC-468F-8ADB-554CD8D34B85}" dt="2023-12-04T14:33:58.540" v="4978"/>
          <ac:picMkLst>
            <pc:docMk/>
            <pc:sldMk cId="57719181" sldId="2147480511"/>
            <ac:picMk id="20" creationId="{56A34C78-4576-16A5-3A47-538999ED6722}"/>
          </ac:picMkLst>
        </pc:picChg>
        <pc:picChg chg="mod">
          <ac:chgData name="Cuvillier, Nicolas" userId="c7f17e95-5c3e-462b-8857-a61ca2f84f6f" providerId="ADAL" clId="{421FC56B-1DFC-468F-8ADB-554CD8D34B85}" dt="2023-12-04T14:28:47.656" v="4375" actId="1076"/>
          <ac:picMkLst>
            <pc:docMk/>
            <pc:sldMk cId="57719181" sldId="2147480511"/>
            <ac:picMk id="30" creationId="{70AF88D3-D5BC-BD5E-331A-63ECD9B0817B}"/>
          </ac:picMkLst>
        </pc:picChg>
        <pc:picChg chg="del mod">
          <ac:chgData name="Cuvillier, Nicolas" userId="c7f17e95-5c3e-462b-8857-a61ca2f84f6f" providerId="ADAL" clId="{421FC56B-1DFC-468F-8ADB-554CD8D34B85}" dt="2023-12-04T14:31:32.503" v="4771" actId="478"/>
          <ac:picMkLst>
            <pc:docMk/>
            <pc:sldMk cId="57719181" sldId="2147480511"/>
            <ac:picMk id="39" creationId="{52C83BD0-11B4-F38F-F21C-6C0D3C37DA4B}"/>
          </ac:picMkLst>
        </pc:picChg>
        <pc:picChg chg="mod">
          <ac:chgData name="Cuvillier, Nicolas" userId="c7f17e95-5c3e-462b-8857-a61ca2f84f6f" providerId="ADAL" clId="{421FC56B-1DFC-468F-8ADB-554CD8D34B85}" dt="2023-12-04T14:28:47.656" v="4375" actId="1076"/>
          <ac:picMkLst>
            <pc:docMk/>
            <pc:sldMk cId="57719181" sldId="2147480511"/>
            <ac:picMk id="45" creationId="{D1448623-626A-2AAE-3D98-A749B6240C05}"/>
          </ac:picMkLst>
        </pc:picChg>
        <pc:picChg chg="mod">
          <ac:chgData name="Cuvillier, Nicolas" userId="c7f17e95-5c3e-462b-8857-a61ca2f84f6f" providerId="ADAL" clId="{421FC56B-1DFC-468F-8ADB-554CD8D34B85}" dt="2023-12-04T14:28:47.656" v="4375" actId="1076"/>
          <ac:picMkLst>
            <pc:docMk/>
            <pc:sldMk cId="57719181" sldId="2147480511"/>
            <ac:picMk id="47" creationId="{189AA276-AF58-1AD3-4754-6A5C89FB3CA1}"/>
          </ac:picMkLst>
        </pc:picChg>
        <pc:cxnChg chg="mod">
          <ac:chgData name="Cuvillier, Nicolas" userId="c7f17e95-5c3e-462b-8857-a61ca2f84f6f" providerId="ADAL" clId="{421FC56B-1DFC-468F-8ADB-554CD8D34B85}" dt="2023-12-04T14:28:47.656" v="4375" actId="1076"/>
          <ac:cxnSpMkLst>
            <pc:docMk/>
            <pc:sldMk cId="57719181" sldId="2147480511"/>
            <ac:cxnSpMk id="29" creationId="{3C54040F-052F-1BDA-B90C-98184F9750C7}"/>
          </ac:cxnSpMkLst>
        </pc:cxnChg>
        <pc:cxnChg chg="mod">
          <ac:chgData name="Cuvillier, Nicolas" userId="c7f17e95-5c3e-462b-8857-a61ca2f84f6f" providerId="ADAL" clId="{421FC56B-1DFC-468F-8ADB-554CD8D34B85}" dt="2023-12-04T14:28:47.656" v="4375" actId="1076"/>
          <ac:cxnSpMkLst>
            <pc:docMk/>
            <pc:sldMk cId="57719181" sldId="2147480511"/>
            <ac:cxnSpMk id="34" creationId="{9E3CB111-6AD5-83E5-8626-AAEFD279ABC7}"/>
          </ac:cxnSpMkLst>
        </pc:cxnChg>
      </pc:sldChg>
      <pc:sldChg chg="addSp delSp modSp add mod">
        <pc:chgData name="Cuvillier, Nicolas" userId="c7f17e95-5c3e-462b-8857-a61ca2f84f6f" providerId="ADAL" clId="{421FC56B-1DFC-468F-8ADB-554CD8D34B85}" dt="2023-12-04T19:28:13.710" v="11464" actId="6549"/>
        <pc:sldMkLst>
          <pc:docMk/>
          <pc:sldMk cId="3688227637" sldId="2147480514"/>
        </pc:sldMkLst>
        <pc:spChg chg="add del mod modVis">
          <ac:chgData name="Cuvillier, Nicolas" userId="c7f17e95-5c3e-462b-8857-a61ca2f84f6f" providerId="ADAL" clId="{421FC56B-1DFC-468F-8ADB-554CD8D34B85}" dt="2023-12-04T12:56:42.388" v="1293"/>
          <ac:spMkLst>
            <pc:docMk/>
            <pc:sldMk cId="3688227637" sldId="2147480514"/>
            <ac:spMk id="2" creationId="{A99BEAB3-385C-E8E7-716C-483AAFF3ED1E}"/>
          </ac:spMkLst>
        </pc:spChg>
        <pc:spChg chg="mod">
          <ac:chgData name="Cuvillier, Nicolas" userId="c7f17e95-5c3e-462b-8857-a61ca2f84f6f" providerId="ADAL" clId="{421FC56B-1DFC-468F-8ADB-554CD8D34B85}" dt="2023-12-04T14:29:00.813" v="4388" actId="1076"/>
          <ac:spMkLst>
            <pc:docMk/>
            <pc:sldMk cId="3688227637" sldId="2147480514"/>
            <ac:spMk id="4" creationId="{DF884FB3-6C01-F685-77F6-4D1FA5C1E1B5}"/>
          </ac:spMkLst>
        </pc:spChg>
        <pc:spChg chg="mod">
          <ac:chgData name="Cuvillier, Nicolas" userId="c7f17e95-5c3e-462b-8857-a61ca2f84f6f" providerId="ADAL" clId="{421FC56B-1DFC-468F-8ADB-554CD8D34B85}" dt="2023-12-04T14:35:22.107" v="5000" actId="1076"/>
          <ac:spMkLst>
            <pc:docMk/>
            <pc:sldMk cId="3688227637" sldId="2147480514"/>
            <ac:spMk id="7" creationId="{DA28DF84-7415-DB6D-9B4D-2F4E5DBAC434}"/>
          </ac:spMkLst>
        </pc:spChg>
        <pc:spChg chg="mod">
          <ac:chgData name="Cuvillier, Nicolas" userId="c7f17e95-5c3e-462b-8857-a61ca2f84f6f" providerId="ADAL" clId="{421FC56B-1DFC-468F-8ADB-554CD8D34B85}" dt="2023-12-04T14:29:05.841" v="4389" actId="1076"/>
          <ac:spMkLst>
            <pc:docMk/>
            <pc:sldMk cId="3688227637" sldId="2147480514"/>
            <ac:spMk id="8" creationId="{7473B29A-4774-EAB8-12A1-04504C9B87C2}"/>
          </ac:spMkLst>
        </pc:spChg>
        <pc:spChg chg="add del mod">
          <ac:chgData name="Cuvillier, Nicolas" userId="c7f17e95-5c3e-462b-8857-a61ca2f84f6f" providerId="ADAL" clId="{421FC56B-1DFC-468F-8ADB-554CD8D34B85}" dt="2023-12-04T14:28:53.482" v="4382" actId="478"/>
          <ac:spMkLst>
            <pc:docMk/>
            <pc:sldMk cId="3688227637" sldId="2147480514"/>
            <ac:spMk id="10" creationId="{7C403B7D-784F-7539-BDB1-71EF0C7215E1}"/>
          </ac:spMkLst>
        </pc:spChg>
        <pc:spChg chg="mod">
          <ac:chgData name="Cuvillier, Nicolas" userId="c7f17e95-5c3e-462b-8857-a61ca2f84f6f" providerId="ADAL" clId="{421FC56B-1DFC-468F-8ADB-554CD8D34B85}" dt="2023-12-04T14:29:05.841" v="4389" actId="1076"/>
          <ac:spMkLst>
            <pc:docMk/>
            <pc:sldMk cId="3688227637" sldId="2147480514"/>
            <ac:spMk id="11" creationId="{89273CE8-266C-C02B-E3D2-33FBDFD003A5}"/>
          </ac:spMkLst>
        </pc:spChg>
        <pc:spChg chg="mod">
          <ac:chgData name="Cuvillier, Nicolas" userId="c7f17e95-5c3e-462b-8857-a61ca2f84f6f" providerId="ADAL" clId="{421FC56B-1DFC-468F-8ADB-554CD8D34B85}" dt="2023-12-04T14:29:00.813" v="4388" actId="1076"/>
          <ac:spMkLst>
            <pc:docMk/>
            <pc:sldMk cId="3688227637" sldId="2147480514"/>
            <ac:spMk id="12" creationId="{F7540107-2DE9-FA47-709C-1F7CD99EE721}"/>
          </ac:spMkLst>
        </pc:spChg>
        <pc:spChg chg="mod">
          <ac:chgData name="Cuvillier, Nicolas" userId="c7f17e95-5c3e-462b-8857-a61ca2f84f6f" providerId="ADAL" clId="{421FC56B-1DFC-468F-8ADB-554CD8D34B85}" dt="2023-12-04T14:06:12.347" v="3809" actId="20577"/>
          <ac:spMkLst>
            <pc:docMk/>
            <pc:sldMk cId="3688227637" sldId="2147480514"/>
            <ac:spMk id="14" creationId="{EC347EB2-A17C-9756-6F8A-FA325CAB65BB}"/>
          </ac:spMkLst>
        </pc:spChg>
        <pc:spChg chg="mod">
          <ac:chgData name="Cuvillier, Nicolas" userId="c7f17e95-5c3e-462b-8857-a61ca2f84f6f" providerId="ADAL" clId="{421FC56B-1DFC-468F-8ADB-554CD8D34B85}" dt="2023-12-04T14:29:00.813" v="4388" actId="1076"/>
          <ac:spMkLst>
            <pc:docMk/>
            <pc:sldMk cId="3688227637" sldId="2147480514"/>
            <ac:spMk id="17" creationId="{3119BBCB-5A35-97C6-C2D5-DDB2A67858B4}"/>
          </ac:spMkLst>
        </pc:spChg>
        <pc:spChg chg="del mod">
          <ac:chgData name="Cuvillier, Nicolas" userId="c7f17e95-5c3e-462b-8857-a61ca2f84f6f" providerId="ADAL" clId="{421FC56B-1DFC-468F-8ADB-554CD8D34B85}" dt="2023-12-04T14:28:52.732" v="4377" actId="478"/>
          <ac:spMkLst>
            <pc:docMk/>
            <pc:sldMk cId="3688227637" sldId="2147480514"/>
            <ac:spMk id="22" creationId="{23413B08-5FEA-6306-84D4-A9BCC06F2A31}"/>
          </ac:spMkLst>
        </pc:spChg>
        <pc:spChg chg="mod">
          <ac:chgData name="Cuvillier, Nicolas" userId="c7f17e95-5c3e-462b-8857-a61ca2f84f6f" providerId="ADAL" clId="{421FC56B-1DFC-468F-8ADB-554CD8D34B85}" dt="2023-12-04T14:29:00.813" v="4388" actId="1076"/>
          <ac:spMkLst>
            <pc:docMk/>
            <pc:sldMk cId="3688227637" sldId="2147480514"/>
            <ac:spMk id="23" creationId="{60597E66-83FC-AF81-6604-C1DB01380F18}"/>
          </ac:spMkLst>
        </pc:spChg>
        <pc:spChg chg="mod">
          <ac:chgData name="Cuvillier, Nicolas" userId="c7f17e95-5c3e-462b-8857-a61ca2f84f6f" providerId="ADAL" clId="{421FC56B-1DFC-468F-8ADB-554CD8D34B85}" dt="2023-12-04T14:35:28.201" v="5011" actId="12788"/>
          <ac:spMkLst>
            <pc:docMk/>
            <pc:sldMk cId="3688227637" sldId="2147480514"/>
            <ac:spMk id="24" creationId="{D5173955-0A5F-1F86-E19C-0100540A9836}"/>
          </ac:spMkLst>
        </pc:spChg>
        <pc:spChg chg="mod">
          <ac:chgData name="Cuvillier, Nicolas" userId="c7f17e95-5c3e-462b-8857-a61ca2f84f6f" providerId="ADAL" clId="{421FC56B-1DFC-468F-8ADB-554CD8D34B85}" dt="2023-12-04T19:28:13.710" v="11464" actId="6549"/>
          <ac:spMkLst>
            <pc:docMk/>
            <pc:sldMk cId="3688227637" sldId="2147480514"/>
            <ac:spMk id="25" creationId="{958D2966-7E7D-9813-B536-FF656F5DC453}"/>
          </ac:spMkLst>
        </pc:spChg>
        <pc:spChg chg="del">
          <ac:chgData name="Cuvillier, Nicolas" userId="c7f17e95-5c3e-462b-8857-a61ca2f84f6f" providerId="ADAL" clId="{421FC56B-1DFC-468F-8ADB-554CD8D34B85}" dt="2023-12-04T14:28:55.216" v="4387" actId="478"/>
          <ac:spMkLst>
            <pc:docMk/>
            <pc:sldMk cId="3688227637" sldId="2147480514"/>
            <ac:spMk id="26" creationId="{49C9CE68-3076-3846-BDBC-BA436D8237D3}"/>
          </ac:spMkLst>
        </pc:spChg>
        <pc:spChg chg="mod">
          <ac:chgData name="Cuvillier, Nicolas" userId="c7f17e95-5c3e-462b-8857-a61ca2f84f6f" providerId="ADAL" clId="{421FC56B-1DFC-468F-8ADB-554CD8D34B85}" dt="2023-12-04T19:19:27.014" v="10992" actId="20577"/>
          <ac:spMkLst>
            <pc:docMk/>
            <pc:sldMk cId="3688227637" sldId="2147480514"/>
            <ac:spMk id="27" creationId="{E1366F96-29C8-F300-6344-34F16AE85E10}"/>
          </ac:spMkLst>
        </pc:spChg>
        <pc:spChg chg="mod">
          <ac:chgData name="Cuvillier, Nicolas" userId="c7f17e95-5c3e-462b-8857-a61ca2f84f6f" providerId="ADAL" clId="{421FC56B-1DFC-468F-8ADB-554CD8D34B85}" dt="2023-12-04T14:29:00.813" v="4388" actId="1076"/>
          <ac:spMkLst>
            <pc:docMk/>
            <pc:sldMk cId="3688227637" sldId="2147480514"/>
            <ac:spMk id="28" creationId="{91C85F53-0BAC-0392-CDB8-86024CC7523A}"/>
          </ac:spMkLst>
        </pc:spChg>
        <pc:spChg chg="mod">
          <ac:chgData name="Cuvillier, Nicolas" userId="c7f17e95-5c3e-462b-8857-a61ca2f84f6f" providerId="ADAL" clId="{421FC56B-1DFC-468F-8ADB-554CD8D34B85}" dt="2023-12-04T14:29:00.813" v="4388" actId="1076"/>
          <ac:spMkLst>
            <pc:docMk/>
            <pc:sldMk cId="3688227637" sldId="2147480514"/>
            <ac:spMk id="35" creationId="{4D3F7C0A-B149-1D73-324F-73B6CC4231CD}"/>
          </ac:spMkLst>
        </pc:spChg>
        <pc:spChg chg="mod">
          <ac:chgData name="Cuvillier, Nicolas" userId="c7f17e95-5c3e-462b-8857-a61ca2f84f6f" providerId="ADAL" clId="{421FC56B-1DFC-468F-8ADB-554CD8D34B85}" dt="2023-12-04T14:29:00.813" v="4388" actId="1076"/>
          <ac:spMkLst>
            <pc:docMk/>
            <pc:sldMk cId="3688227637" sldId="2147480514"/>
            <ac:spMk id="37" creationId="{334ADF48-30AE-4246-8BEE-2FDDBB4368CB}"/>
          </ac:spMkLst>
        </pc:spChg>
        <pc:spChg chg="mod">
          <ac:chgData name="Cuvillier, Nicolas" userId="c7f17e95-5c3e-462b-8857-a61ca2f84f6f" providerId="ADAL" clId="{421FC56B-1DFC-468F-8ADB-554CD8D34B85}" dt="2023-12-04T14:29:00.813" v="4388" actId="1076"/>
          <ac:spMkLst>
            <pc:docMk/>
            <pc:sldMk cId="3688227637" sldId="2147480514"/>
            <ac:spMk id="38" creationId="{D2D970F1-37BA-0616-2151-DCC1AEF77E1D}"/>
          </ac:spMkLst>
        </pc:spChg>
        <pc:grpChg chg="mod">
          <ac:chgData name="Cuvillier, Nicolas" userId="c7f17e95-5c3e-462b-8857-a61ca2f84f6f" providerId="ADAL" clId="{421FC56B-1DFC-468F-8ADB-554CD8D34B85}" dt="2023-12-04T14:29:00.813" v="4388" actId="1076"/>
          <ac:grpSpMkLst>
            <pc:docMk/>
            <pc:sldMk cId="3688227637" sldId="2147480514"/>
            <ac:grpSpMk id="13" creationId="{D8292D40-362E-55F5-8A84-1B9683FCC623}"/>
          </ac:grpSpMkLst>
        </pc:grpChg>
        <pc:graphicFrameChg chg="mod">
          <ac:chgData name="Cuvillier, Nicolas" userId="c7f17e95-5c3e-462b-8857-a61ca2f84f6f" providerId="ADAL" clId="{421FC56B-1DFC-468F-8ADB-554CD8D34B85}" dt="2023-12-04T14:28:53.993" v="4386"/>
          <ac:graphicFrameMkLst>
            <pc:docMk/>
            <pc:sldMk cId="3688227637" sldId="2147480514"/>
            <ac:graphicFrameMk id="6" creationId="{1532DC8D-EF10-C559-FE82-D80CBE53E380}"/>
          </ac:graphicFrameMkLst>
        </pc:graphicFrameChg>
        <pc:picChg chg="del mod ord">
          <ac:chgData name="Cuvillier, Nicolas" userId="c7f17e95-5c3e-462b-8857-a61ca2f84f6f" providerId="ADAL" clId="{421FC56B-1DFC-468F-8ADB-554CD8D34B85}" dt="2023-12-04T08:08:26.093" v="193" actId="478"/>
          <ac:picMkLst>
            <pc:docMk/>
            <pc:sldMk cId="3688227637" sldId="2147480514"/>
            <ac:picMk id="2" creationId="{A597DCFE-0D7A-6AE3-8F57-A7B912C8A10B}"/>
          </ac:picMkLst>
        </pc:picChg>
        <pc:picChg chg="add mod">
          <ac:chgData name="Cuvillier, Nicolas" userId="c7f17e95-5c3e-462b-8857-a61ca2f84f6f" providerId="ADAL" clId="{421FC56B-1DFC-468F-8ADB-554CD8D34B85}" dt="2023-12-04T18:27:05.452" v="8903" actId="1076"/>
          <ac:picMkLst>
            <pc:docMk/>
            <pc:sldMk cId="3688227637" sldId="2147480514"/>
            <ac:picMk id="2" creationId="{D856A54C-F7BA-ABB1-B4AF-BCE2C6196E8E}"/>
          </ac:picMkLst>
        </pc:picChg>
        <pc:picChg chg="add mod ord">
          <ac:chgData name="Cuvillier, Nicolas" userId="c7f17e95-5c3e-462b-8857-a61ca2f84f6f" providerId="ADAL" clId="{421FC56B-1DFC-468F-8ADB-554CD8D34B85}" dt="2023-12-04T14:29:00.813" v="4388" actId="1076"/>
          <ac:picMkLst>
            <pc:docMk/>
            <pc:sldMk cId="3688227637" sldId="2147480514"/>
            <ac:picMk id="3" creationId="{1AD572CD-4086-1D8A-88E9-B542094E6FDF}"/>
          </ac:picMkLst>
        </pc:picChg>
        <pc:picChg chg="mod">
          <ac:chgData name="Cuvillier, Nicolas" userId="c7f17e95-5c3e-462b-8857-a61ca2f84f6f" providerId="ADAL" clId="{421FC56B-1DFC-468F-8ADB-554CD8D34B85}" dt="2023-12-04T14:29:00.813" v="4388" actId="1076"/>
          <ac:picMkLst>
            <pc:docMk/>
            <pc:sldMk cId="3688227637" sldId="2147480514"/>
            <ac:picMk id="5" creationId="{AD8C3515-AF2C-9985-6CBF-B2D736D5544D}"/>
          </ac:picMkLst>
        </pc:picChg>
        <pc:picChg chg="del">
          <ac:chgData name="Cuvillier, Nicolas" userId="c7f17e95-5c3e-462b-8857-a61ca2f84f6f" providerId="ADAL" clId="{421FC56B-1DFC-468F-8ADB-554CD8D34B85}" dt="2023-12-04T08:08:26.093" v="193" actId="478"/>
          <ac:picMkLst>
            <pc:docMk/>
            <pc:sldMk cId="3688227637" sldId="2147480514"/>
            <ac:picMk id="16" creationId="{C2660DE7-A7F6-567B-4164-2425BC10AA8A}"/>
          </ac:picMkLst>
        </pc:picChg>
        <pc:picChg chg="add mod">
          <ac:chgData name="Cuvillier, Nicolas" userId="c7f17e95-5c3e-462b-8857-a61ca2f84f6f" providerId="ADAL" clId="{421FC56B-1DFC-468F-8ADB-554CD8D34B85}" dt="2023-12-04T14:34:01.978" v="4987"/>
          <ac:picMkLst>
            <pc:docMk/>
            <pc:sldMk cId="3688227637" sldId="2147480514"/>
            <ac:picMk id="16" creationId="{DED71616-D1FE-DD23-BE3D-5465EAFB650A}"/>
          </ac:picMkLst>
        </pc:picChg>
        <pc:picChg chg="add mod">
          <ac:chgData name="Cuvillier, Nicolas" userId="c7f17e95-5c3e-462b-8857-a61ca2f84f6f" providerId="ADAL" clId="{421FC56B-1DFC-468F-8ADB-554CD8D34B85}" dt="2023-12-04T14:35:28.201" v="5011" actId="12788"/>
          <ac:picMkLst>
            <pc:docMk/>
            <pc:sldMk cId="3688227637" sldId="2147480514"/>
            <ac:picMk id="18" creationId="{B44ACE2A-D38F-01B6-A8BD-8F598129FB8C}"/>
          </ac:picMkLst>
        </pc:picChg>
        <pc:picChg chg="del mod ord">
          <ac:chgData name="Cuvillier, Nicolas" userId="c7f17e95-5c3e-462b-8857-a61ca2f84f6f" providerId="ADAL" clId="{421FC56B-1DFC-468F-8ADB-554CD8D34B85}" dt="2023-12-04T08:08:38.162" v="219" actId="478"/>
          <ac:picMkLst>
            <pc:docMk/>
            <pc:sldMk cId="3688227637" sldId="2147480514"/>
            <ac:picMk id="18" creationId="{EEDFFC2A-6D0D-F93C-201C-DAB80930DE75}"/>
          </ac:picMkLst>
        </pc:picChg>
        <pc:picChg chg="mod ord">
          <ac:chgData name="Cuvillier, Nicolas" userId="c7f17e95-5c3e-462b-8857-a61ca2f84f6f" providerId="ADAL" clId="{421FC56B-1DFC-468F-8ADB-554CD8D34B85}" dt="2023-12-04T14:29:00.813" v="4388" actId="1076"/>
          <ac:picMkLst>
            <pc:docMk/>
            <pc:sldMk cId="3688227637" sldId="2147480514"/>
            <ac:picMk id="19" creationId="{A1DCFEA2-2F99-B440-7840-6AD59792D673}"/>
          </ac:picMkLst>
        </pc:picChg>
        <pc:picChg chg="mod">
          <ac:chgData name="Cuvillier, Nicolas" userId="c7f17e95-5c3e-462b-8857-a61ca2f84f6f" providerId="ADAL" clId="{421FC56B-1DFC-468F-8ADB-554CD8D34B85}" dt="2023-12-04T14:29:00.813" v="4388" actId="1076"/>
          <ac:picMkLst>
            <pc:docMk/>
            <pc:sldMk cId="3688227637" sldId="2147480514"/>
            <ac:picMk id="30" creationId="{70AF88D3-D5BC-BD5E-331A-63ECD9B0817B}"/>
          </ac:picMkLst>
        </pc:picChg>
        <pc:picChg chg="del mod">
          <ac:chgData name="Cuvillier, Nicolas" userId="c7f17e95-5c3e-462b-8857-a61ca2f84f6f" providerId="ADAL" clId="{421FC56B-1DFC-468F-8ADB-554CD8D34B85}" dt="2023-12-04T14:31:33.324" v="4772" actId="478"/>
          <ac:picMkLst>
            <pc:docMk/>
            <pc:sldMk cId="3688227637" sldId="2147480514"/>
            <ac:picMk id="39" creationId="{52C83BD0-11B4-F38F-F21C-6C0D3C37DA4B}"/>
          </ac:picMkLst>
        </pc:picChg>
        <pc:picChg chg="mod">
          <ac:chgData name="Cuvillier, Nicolas" userId="c7f17e95-5c3e-462b-8857-a61ca2f84f6f" providerId="ADAL" clId="{421FC56B-1DFC-468F-8ADB-554CD8D34B85}" dt="2023-12-04T14:29:00.813" v="4388" actId="1076"/>
          <ac:picMkLst>
            <pc:docMk/>
            <pc:sldMk cId="3688227637" sldId="2147480514"/>
            <ac:picMk id="45" creationId="{D1448623-626A-2AAE-3D98-A749B6240C05}"/>
          </ac:picMkLst>
        </pc:picChg>
        <pc:picChg chg="mod">
          <ac:chgData name="Cuvillier, Nicolas" userId="c7f17e95-5c3e-462b-8857-a61ca2f84f6f" providerId="ADAL" clId="{421FC56B-1DFC-468F-8ADB-554CD8D34B85}" dt="2023-12-04T14:29:00.813" v="4388" actId="1076"/>
          <ac:picMkLst>
            <pc:docMk/>
            <pc:sldMk cId="3688227637" sldId="2147480514"/>
            <ac:picMk id="47" creationId="{189AA276-AF58-1AD3-4754-6A5C89FB3CA1}"/>
          </ac:picMkLst>
        </pc:picChg>
        <pc:cxnChg chg="mod">
          <ac:chgData name="Cuvillier, Nicolas" userId="c7f17e95-5c3e-462b-8857-a61ca2f84f6f" providerId="ADAL" clId="{421FC56B-1DFC-468F-8ADB-554CD8D34B85}" dt="2023-12-04T14:29:00.813" v="4388" actId="1076"/>
          <ac:cxnSpMkLst>
            <pc:docMk/>
            <pc:sldMk cId="3688227637" sldId="2147480514"/>
            <ac:cxnSpMk id="29" creationId="{3C54040F-052F-1BDA-B90C-98184F9750C7}"/>
          </ac:cxnSpMkLst>
        </pc:cxnChg>
        <pc:cxnChg chg="mod">
          <ac:chgData name="Cuvillier, Nicolas" userId="c7f17e95-5c3e-462b-8857-a61ca2f84f6f" providerId="ADAL" clId="{421FC56B-1DFC-468F-8ADB-554CD8D34B85}" dt="2023-12-04T14:29:00.813" v="4388" actId="1076"/>
          <ac:cxnSpMkLst>
            <pc:docMk/>
            <pc:sldMk cId="3688227637" sldId="2147480514"/>
            <ac:cxnSpMk id="34" creationId="{9E3CB111-6AD5-83E5-8626-AAEFD279ABC7}"/>
          </ac:cxnSpMkLst>
        </pc:cxnChg>
      </pc:sldChg>
      <pc:sldChg chg="add del">
        <pc:chgData name="Cuvillier, Nicolas" userId="c7f17e95-5c3e-462b-8857-a61ca2f84f6f" providerId="ADAL" clId="{421FC56B-1DFC-468F-8ADB-554CD8D34B85}" dt="2023-12-04T08:04:37.257" v="119" actId="47"/>
        <pc:sldMkLst>
          <pc:docMk/>
          <pc:sldMk cId="561621012" sldId="2147480515"/>
        </pc:sldMkLst>
      </pc:sldChg>
      <pc:sldChg chg="addSp delSp modSp add mod">
        <pc:chgData name="Cuvillier, Nicolas" userId="c7f17e95-5c3e-462b-8857-a61ca2f84f6f" providerId="ADAL" clId="{421FC56B-1DFC-468F-8ADB-554CD8D34B85}" dt="2023-12-04T19:28:14.775" v="11465" actId="6549"/>
        <pc:sldMkLst>
          <pc:docMk/>
          <pc:sldMk cId="2517997232" sldId="2147480515"/>
        </pc:sldMkLst>
        <pc:spChg chg="add del mod modVis">
          <ac:chgData name="Cuvillier, Nicolas" userId="c7f17e95-5c3e-462b-8857-a61ca2f84f6f" providerId="ADAL" clId="{421FC56B-1DFC-468F-8ADB-554CD8D34B85}" dt="2023-12-04T12:56:43.924" v="1322"/>
          <ac:spMkLst>
            <pc:docMk/>
            <pc:sldMk cId="2517997232" sldId="2147480515"/>
            <ac:spMk id="3" creationId="{47F71F8C-56FC-881D-BE67-AC2F80024FA8}"/>
          </ac:spMkLst>
        </pc:spChg>
        <pc:spChg chg="mod">
          <ac:chgData name="Cuvillier, Nicolas" userId="c7f17e95-5c3e-462b-8857-a61ca2f84f6f" providerId="ADAL" clId="{421FC56B-1DFC-468F-8ADB-554CD8D34B85}" dt="2023-12-04T17:51:48.368" v="8036" actId="20577"/>
          <ac:spMkLst>
            <pc:docMk/>
            <pc:sldMk cId="2517997232" sldId="2147480515"/>
            <ac:spMk id="4" creationId="{DF884FB3-6C01-F685-77F6-4D1FA5C1E1B5}"/>
          </ac:spMkLst>
        </pc:spChg>
        <pc:spChg chg="mod">
          <ac:chgData name="Cuvillier, Nicolas" userId="c7f17e95-5c3e-462b-8857-a61ca2f84f6f" providerId="ADAL" clId="{421FC56B-1DFC-468F-8ADB-554CD8D34B85}" dt="2023-12-04T19:16:26.871" v="10804" actId="1076"/>
          <ac:spMkLst>
            <pc:docMk/>
            <pc:sldMk cId="2517997232" sldId="2147480515"/>
            <ac:spMk id="7" creationId="{DA28DF84-7415-DB6D-9B4D-2F4E5DBAC434}"/>
          </ac:spMkLst>
        </pc:spChg>
        <pc:spChg chg="mod">
          <ac:chgData name="Cuvillier, Nicolas" userId="c7f17e95-5c3e-462b-8857-a61ca2f84f6f" providerId="ADAL" clId="{421FC56B-1DFC-468F-8ADB-554CD8D34B85}" dt="2023-12-04T14:29:20.810" v="4405" actId="1035"/>
          <ac:spMkLst>
            <pc:docMk/>
            <pc:sldMk cId="2517997232" sldId="2147480515"/>
            <ac:spMk id="8" creationId="{7473B29A-4774-EAB8-12A1-04504C9B87C2}"/>
          </ac:spMkLst>
        </pc:spChg>
        <pc:spChg chg="add mod">
          <ac:chgData name="Cuvillier, Nicolas" userId="c7f17e95-5c3e-462b-8857-a61ca2f84f6f" providerId="ADAL" clId="{421FC56B-1DFC-468F-8ADB-554CD8D34B85}" dt="2023-12-04T14:29:14.441" v="4401" actId="1076"/>
          <ac:spMkLst>
            <pc:docMk/>
            <pc:sldMk cId="2517997232" sldId="2147480515"/>
            <ac:spMk id="9" creationId="{B2049CC2-70FB-D8BF-EA08-1FEB3AE5614F}"/>
          </ac:spMkLst>
        </pc:spChg>
        <pc:spChg chg="mod">
          <ac:chgData name="Cuvillier, Nicolas" userId="c7f17e95-5c3e-462b-8857-a61ca2f84f6f" providerId="ADAL" clId="{421FC56B-1DFC-468F-8ADB-554CD8D34B85}" dt="2023-12-04T14:29:20.810" v="4405" actId="1035"/>
          <ac:spMkLst>
            <pc:docMk/>
            <pc:sldMk cId="2517997232" sldId="2147480515"/>
            <ac:spMk id="11" creationId="{89273CE8-266C-C02B-E3D2-33FBDFD003A5}"/>
          </ac:spMkLst>
        </pc:spChg>
        <pc:spChg chg="add mod">
          <ac:chgData name="Cuvillier, Nicolas" userId="c7f17e95-5c3e-462b-8857-a61ca2f84f6f" providerId="ADAL" clId="{421FC56B-1DFC-468F-8ADB-554CD8D34B85}" dt="2023-12-04T14:22:50.537" v="4139" actId="571"/>
          <ac:spMkLst>
            <pc:docMk/>
            <pc:sldMk cId="2517997232" sldId="2147480515"/>
            <ac:spMk id="12" creationId="{777A0B1D-4469-0A8F-3862-0E031C077902}"/>
          </ac:spMkLst>
        </pc:spChg>
        <pc:spChg chg="del">
          <ac:chgData name="Cuvillier, Nicolas" userId="c7f17e95-5c3e-462b-8857-a61ca2f84f6f" providerId="ADAL" clId="{421FC56B-1DFC-468F-8ADB-554CD8D34B85}" dt="2023-12-04T08:10:47.648" v="272" actId="478"/>
          <ac:spMkLst>
            <pc:docMk/>
            <pc:sldMk cId="2517997232" sldId="2147480515"/>
            <ac:spMk id="12" creationId="{F7540107-2DE9-FA47-709C-1F7CD99EE721}"/>
          </ac:spMkLst>
        </pc:spChg>
        <pc:spChg chg="mod">
          <ac:chgData name="Cuvillier, Nicolas" userId="c7f17e95-5c3e-462b-8857-a61ca2f84f6f" providerId="ADAL" clId="{421FC56B-1DFC-468F-8ADB-554CD8D34B85}" dt="2023-12-04T18:36:05.027" v="9166" actId="20577"/>
          <ac:spMkLst>
            <pc:docMk/>
            <pc:sldMk cId="2517997232" sldId="2147480515"/>
            <ac:spMk id="14" creationId="{EC347EB2-A17C-9756-6F8A-FA325CAB65BB}"/>
          </ac:spMkLst>
        </pc:spChg>
        <pc:spChg chg="mod">
          <ac:chgData name="Cuvillier, Nicolas" userId="c7f17e95-5c3e-462b-8857-a61ca2f84f6f" providerId="ADAL" clId="{421FC56B-1DFC-468F-8ADB-554CD8D34B85}" dt="2023-12-04T14:29:14.441" v="4401" actId="1076"/>
          <ac:spMkLst>
            <pc:docMk/>
            <pc:sldMk cId="2517997232" sldId="2147480515"/>
            <ac:spMk id="17" creationId="{3119BBCB-5A35-97C6-C2D5-DDB2A67858B4}"/>
          </ac:spMkLst>
        </pc:spChg>
        <pc:spChg chg="add del mod">
          <ac:chgData name="Cuvillier, Nicolas" userId="c7f17e95-5c3e-462b-8857-a61ca2f84f6f" providerId="ADAL" clId="{421FC56B-1DFC-468F-8ADB-554CD8D34B85}" dt="2023-12-04T14:29:08.260" v="4395" actId="478"/>
          <ac:spMkLst>
            <pc:docMk/>
            <pc:sldMk cId="2517997232" sldId="2147480515"/>
            <ac:spMk id="19" creationId="{E50ADF0C-4461-D8EA-CF6A-12F42FC1A6DF}"/>
          </ac:spMkLst>
        </pc:spChg>
        <pc:spChg chg="del mod">
          <ac:chgData name="Cuvillier, Nicolas" userId="c7f17e95-5c3e-462b-8857-a61ca2f84f6f" providerId="ADAL" clId="{421FC56B-1DFC-468F-8ADB-554CD8D34B85}" dt="2023-12-04T14:29:07.513" v="4390" actId="478"/>
          <ac:spMkLst>
            <pc:docMk/>
            <pc:sldMk cId="2517997232" sldId="2147480515"/>
            <ac:spMk id="22" creationId="{23413B08-5FEA-6306-84D4-A9BCC06F2A31}"/>
          </ac:spMkLst>
        </pc:spChg>
        <pc:spChg chg="mod">
          <ac:chgData name="Cuvillier, Nicolas" userId="c7f17e95-5c3e-462b-8857-a61ca2f84f6f" providerId="ADAL" clId="{421FC56B-1DFC-468F-8ADB-554CD8D34B85}" dt="2023-12-04T14:29:14.441" v="4401" actId="1076"/>
          <ac:spMkLst>
            <pc:docMk/>
            <pc:sldMk cId="2517997232" sldId="2147480515"/>
            <ac:spMk id="23" creationId="{60597E66-83FC-AF81-6604-C1DB01380F18}"/>
          </ac:spMkLst>
        </pc:spChg>
        <pc:spChg chg="mod">
          <ac:chgData name="Cuvillier, Nicolas" userId="c7f17e95-5c3e-462b-8857-a61ca2f84f6f" providerId="ADAL" clId="{421FC56B-1DFC-468F-8ADB-554CD8D34B85}" dt="2023-12-04T14:29:14.441" v="4401" actId="1076"/>
          <ac:spMkLst>
            <pc:docMk/>
            <pc:sldMk cId="2517997232" sldId="2147480515"/>
            <ac:spMk id="24" creationId="{D5173955-0A5F-1F86-E19C-0100540A9836}"/>
          </ac:spMkLst>
        </pc:spChg>
        <pc:spChg chg="mod">
          <ac:chgData name="Cuvillier, Nicolas" userId="c7f17e95-5c3e-462b-8857-a61ca2f84f6f" providerId="ADAL" clId="{421FC56B-1DFC-468F-8ADB-554CD8D34B85}" dt="2023-12-04T19:28:14.775" v="11465" actId="6549"/>
          <ac:spMkLst>
            <pc:docMk/>
            <pc:sldMk cId="2517997232" sldId="2147480515"/>
            <ac:spMk id="25" creationId="{958D2966-7E7D-9813-B536-FF656F5DC453}"/>
          </ac:spMkLst>
        </pc:spChg>
        <pc:spChg chg="del mod">
          <ac:chgData name="Cuvillier, Nicolas" userId="c7f17e95-5c3e-462b-8857-a61ca2f84f6f" providerId="ADAL" clId="{421FC56B-1DFC-468F-8ADB-554CD8D34B85}" dt="2023-12-04T14:29:09.849" v="4400" actId="478"/>
          <ac:spMkLst>
            <pc:docMk/>
            <pc:sldMk cId="2517997232" sldId="2147480515"/>
            <ac:spMk id="26" creationId="{49C9CE68-3076-3846-BDBC-BA436D8237D3}"/>
          </ac:spMkLst>
        </pc:spChg>
        <pc:spChg chg="mod">
          <ac:chgData name="Cuvillier, Nicolas" userId="c7f17e95-5c3e-462b-8857-a61ca2f84f6f" providerId="ADAL" clId="{421FC56B-1DFC-468F-8ADB-554CD8D34B85}" dt="2023-12-04T19:17:09.311" v="10828" actId="21"/>
          <ac:spMkLst>
            <pc:docMk/>
            <pc:sldMk cId="2517997232" sldId="2147480515"/>
            <ac:spMk id="27" creationId="{E1366F96-29C8-F300-6344-34F16AE85E10}"/>
          </ac:spMkLst>
        </pc:spChg>
        <pc:spChg chg="mod">
          <ac:chgData name="Cuvillier, Nicolas" userId="c7f17e95-5c3e-462b-8857-a61ca2f84f6f" providerId="ADAL" clId="{421FC56B-1DFC-468F-8ADB-554CD8D34B85}" dt="2023-12-04T14:29:14.441" v="4401" actId="1076"/>
          <ac:spMkLst>
            <pc:docMk/>
            <pc:sldMk cId="2517997232" sldId="2147480515"/>
            <ac:spMk id="28" creationId="{91C85F53-0BAC-0392-CDB8-86024CC7523A}"/>
          </ac:spMkLst>
        </pc:spChg>
        <pc:spChg chg="mod">
          <ac:chgData name="Cuvillier, Nicolas" userId="c7f17e95-5c3e-462b-8857-a61ca2f84f6f" providerId="ADAL" clId="{421FC56B-1DFC-468F-8ADB-554CD8D34B85}" dt="2023-12-04T14:29:14.441" v="4401" actId="1076"/>
          <ac:spMkLst>
            <pc:docMk/>
            <pc:sldMk cId="2517997232" sldId="2147480515"/>
            <ac:spMk id="35" creationId="{4D3F7C0A-B149-1D73-324F-73B6CC4231CD}"/>
          </ac:spMkLst>
        </pc:spChg>
        <pc:spChg chg="mod">
          <ac:chgData name="Cuvillier, Nicolas" userId="c7f17e95-5c3e-462b-8857-a61ca2f84f6f" providerId="ADAL" clId="{421FC56B-1DFC-468F-8ADB-554CD8D34B85}" dt="2023-12-04T14:29:14.441" v="4401" actId="1076"/>
          <ac:spMkLst>
            <pc:docMk/>
            <pc:sldMk cId="2517997232" sldId="2147480515"/>
            <ac:spMk id="37" creationId="{334ADF48-30AE-4246-8BEE-2FDDBB4368CB}"/>
          </ac:spMkLst>
        </pc:spChg>
        <pc:spChg chg="mod">
          <ac:chgData name="Cuvillier, Nicolas" userId="c7f17e95-5c3e-462b-8857-a61ca2f84f6f" providerId="ADAL" clId="{421FC56B-1DFC-468F-8ADB-554CD8D34B85}" dt="2023-12-04T14:29:14.441" v="4401" actId="1076"/>
          <ac:spMkLst>
            <pc:docMk/>
            <pc:sldMk cId="2517997232" sldId="2147480515"/>
            <ac:spMk id="38" creationId="{D2D970F1-37BA-0616-2151-DCC1AEF77E1D}"/>
          </ac:spMkLst>
        </pc:spChg>
        <pc:grpChg chg="mod">
          <ac:chgData name="Cuvillier, Nicolas" userId="c7f17e95-5c3e-462b-8857-a61ca2f84f6f" providerId="ADAL" clId="{421FC56B-1DFC-468F-8ADB-554CD8D34B85}" dt="2023-12-04T14:29:14.441" v="4401" actId="1076"/>
          <ac:grpSpMkLst>
            <pc:docMk/>
            <pc:sldMk cId="2517997232" sldId="2147480515"/>
            <ac:grpSpMk id="13" creationId="{D8292D40-362E-55F5-8A84-1B9683FCC623}"/>
          </ac:grpSpMkLst>
        </pc:grpChg>
        <pc:graphicFrameChg chg="mod">
          <ac:chgData name="Cuvillier, Nicolas" userId="c7f17e95-5c3e-462b-8857-a61ca2f84f6f" providerId="ADAL" clId="{421FC56B-1DFC-468F-8ADB-554CD8D34B85}" dt="2023-12-04T14:29:08.774" v="4399"/>
          <ac:graphicFrameMkLst>
            <pc:docMk/>
            <pc:sldMk cId="2517997232" sldId="2147480515"/>
            <ac:graphicFrameMk id="6" creationId="{1532DC8D-EF10-C559-FE82-D80CBE53E380}"/>
          </ac:graphicFrameMkLst>
        </pc:graphicFrameChg>
        <pc:picChg chg="add mod">
          <ac:chgData name="Cuvillier, Nicolas" userId="c7f17e95-5c3e-462b-8857-a61ca2f84f6f" providerId="ADAL" clId="{421FC56B-1DFC-468F-8ADB-554CD8D34B85}" dt="2023-12-04T14:29:14.441" v="4401" actId="1076"/>
          <ac:picMkLst>
            <pc:docMk/>
            <pc:sldMk cId="2517997232" sldId="2147480515"/>
            <ac:picMk id="2" creationId="{1731027D-D3B4-4564-CAA5-A42DB4F35465}"/>
          </ac:picMkLst>
        </pc:picChg>
        <pc:picChg chg="del">
          <ac:chgData name="Cuvillier, Nicolas" userId="c7f17e95-5c3e-462b-8857-a61ca2f84f6f" providerId="ADAL" clId="{421FC56B-1DFC-468F-8ADB-554CD8D34B85}" dt="2023-12-04T08:10:47.648" v="272" actId="478"/>
          <ac:picMkLst>
            <pc:docMk/>
            <pc:sldMk cId="2517997232" sldId="2147480515"/>
            <ac:picMk id="3" creationId="{1AD572CD-4086-1D8A-88E9-B542094E6FDF}"/>
          </ac:picMkLst>
        </pc:picChg>
        <pc:picChg chg="add del mod">
          <ac:chgData name="Cuvillier, Nicolas" userId="c7f17e95-5c3e-462b-8857-a61ca2f84f6f" providerId="ADAL" clId="{421FC56B-1DFC-468F-8ADB-554CD8D34B85}" dt="2023-12-04T19:17:32.643" v="10856" actId="21"/>
          <ac:picMkLst>
            <pc:docMk/>
            <pc:sldMk cId="2517997232" sldId="2147480515"/>
            <ac:picMk id="3" creationId="{BA575E5E-DB2C-CB02-0946-95CC49E3B17C}"/>
          </ac:picMkLst>
        </pc:picChg>
        <pc:picChg chg="mod">
          <ac:chgData name="Cuvillier, Nicolas" userId="c7f17e95-5c3e-462b-8857-a61ca2f84f6f" providerId="ADAL" clId="{421FC56B-1DFC-468F-8ADB-554CD8D34B85}" dt="2023-12-04T14:29:14.441" v="4401" actId="1076"/>
          <ac:picMkLst>
            <pc:docMk/>
            <pc:sldMk cId="2517997232" sldId="2147480515"/>
            <ac:picMk id="5" creationId="{AD8C3515-AF2C-9985-6CBF-B2D736D5544D}"/>
          </ac:picMkLst>
        </pc:picChg>
        <pc:picChg chg="add mod">
          <ac:chgData name="Cuvillier, Nicolas" userId="c7f17e95-5c3e-462b-8857-a61ca2f84f6f" providerId="ADAL" clId="{421FC56B-1DFC-468F-8ADB-554CD8D34B85}" dt="2023-12-04T14:29:14.441" v="4401" actId="1076"/>
          <ac:picMkLst>
            <pc:docMk/>
            <pc:sldMk cId="2517997232" sldId="2147480515"/>
            <ac:picMk id="10" creationId="{EDA97F18-DCBB-A30C-9AD3-4C8D1693EB02}"/>
          </ac:picMkLst>
        </pc:picChg>
        <pc:picChg chg="add mod">
          <ac:chgData name="Cuvillier, Nicolas" userId="c7f17e95-5c3e-462b-8857-a61ca2f84f6f" providerId="ADAL" clId="{421FC56B-1DFC-468F-8ADB-554CD8D34B85}" dt="2023-12-04T14:29:14.441" v="4401" actId="1076"/>
          <ac:picMkLst>
            <pc:docMk/>
            <pc:sldMk cId="2517997232" sldId="2147480515"/>
            <ac:picMk id="16" creationId="{C1F56E87-E952-0425-984B-4C0E1B141B99}"/>
          </ac:picMkLst>
        </pc:picChg>
        <pc:picChg chg="add del mod ord">
          <ac:chgData name="Cuvillier, Nicolas" userId="c7f17e95-5c3e-462b-8857-a61ca2f84f6f" providerId="ADAL" clId="{421FC56B-1DFC-468F-8ADB-554CD8D34B85}" dt="2023-12-04T08:12:12.413" v="389" actId="478"/>
          <ac:picMkLst>
            <pc:docMk/>
            <pc:sldMk cId="2517997232" sldId="2147480515"/>
            <ac:picMk id="18" creationId="{CC451C5D-9B65-B2E2-9437-DC32D6518234}"/>
          </ac:picMkLst>
        </pc:picChg>
        <pc:picChg chg="del">
          <ac:chgData name="Cuvillier, Nicolas" userId="c7f17e95-5c3e-462b-8857-a61ca2f84f6f" providerId="ADAL" clId="{421FC56B-1DFC-468F-8ADB-554CD8D34B85}" dt="2023-12-04T08:10:47.648" v="272" actId="478"/>
          <ac:picMkLst>
            <pc:docMk/>
            <pc:sldMk cId="2517997232" sldId="2147480515"/>
            <ac:picMk id="19" creationId="{A1DCFEA2-2F99-B440-7840-6AD59792D673}"/>
          </ac:picMkLst>
        </pc:picChg>
        <pc:picChg chg="add mod">
          <ac:chgData name="Cuvillier, Nicolas" userId="c7f17e95-5c3e-462b-8857-a61ca2f84f6f" providerId="ADAL" clId="{421FC56B-1DFC-468F-8ADB-554CD8D34B85}" dt="2023-12-04T14:34:05.206" v="4996"/>
          <ac:picMkLst>
            <pc:docMk/>
            <pc:sldMk cId="2517997232" sldId="2147480515"/>
            <ac:picMk id="20" creationId="{0D8B61BC-D294-408B-F59D-062B8E6F4431}"/>
          </ac:picMkLst>
        </pc:picChg>
        <pc:picChg chg="add del mod ord">
          <ac:chgData name="Cuvillier, Nicolas" userId="c7f17e95-5c3e-462b-8857-a61ca2f84f6f" providerId="ADAL" clId="{421FC56B-1DFC-468F-8ADB-554CD8D34B85}" dt="2023-12-04T08:12:04.916" v="370" actId="478"/>
          <ac:picMkLst>
            <pc:docMk/>
            <pc:sldMk cId="2517997232" sldId="2147480515"/>
            <ac:picMk id="20" creationId="{CBB9836E-9A7E-9EA7-9142-67C0428268D2}"/>
          </ac:picMkLst>
        </pc:picChg>
        <pc:picChg chg="add mod ord">
          <ac:chgData name="Cuvillier, Nicolas" userId="c7f17e95-5c3e-462b-8857-a61ca2f84f6f" providerId="ADAL" clId="{421FC56B-1DFC-468F-8ADB-554CD8D34B85}" dt="2023-12-04T14:29:14.441" v="4401" actId="1076"/>
          <ac:picMkLst>
            <pc:docMk/>
            <pc:sldMk cId="2517997232" sldId="2147480515"/>
            <ac:picMk id="21" creationId="{199497D1-6029-D560-E8B8-E9C64136D138}"/>
          </ac:picMkLst>
        </pc:picChg>
        <pc:picChg chg="mod">
          <ac:chgData name="Cuvillier, Nicolas" userId="c7f17e95-5c3e-462b-8857-a61ca2f84f6f" providerId="ADAL" clId="{421FC56B-1DFC-468F-8ADB-554CD8D34B85}" dt="2023-12-04T14:29:14.441" v="4401" actId="1076"/>
          <ac:picMkLst>
            <pc:docMk/>
            <pc:sldMk cId="2517997232" sldId="2147480515"/>
            <ac:picMk id="30" creationId="{70AF88D3-D5BC-BD5E-331A-63ECD9B0817B}"/>
          </ac:picMkLst>
        </pc:picChg>
        <pc:picChg chg="add mod ord">
          <ac:chgData name="Cuvillier, Nicolas" userId="c7f17e95-5c3e-462b-8857-a61ca2f84f6f" providerId="ADAL" clId="{421FC56B-1DFC-468F-8ADB-554CD8D34B85}" dt="2023-12-04T14:29:14.441" v="4401" actId="1076"/>
          <ac:picMkLst>
            <pc:docMk/>
            <pc:sldMk cId="2517997232" sldId="2147480515"/>
            <ac:picMk id="31" creationId="{192A2380-3909-6FCB-EC4B-33CC393C171E}"/>
          </ac:picMkLst>
        </pc:picChg>
        <pc:picChg chg="del mod">
          <ac:chgData name="Cuvillier, Nicolas" userId="c7f17e95-5c3e-462b-8857-a61ca2f84f6f" providerId="ADAL" clId="{421FC56B-1DFC-468F-8ADB-554CD8D34B85}" dt="2023-12-04T14:31:34.147" v="4773" actId="478"/>
          <ac:picMkLst>
            <pc:docMk/>
            <pc:sldMk cId="2517997232" sldId="2147480515"/>
            <ac:picMk id="39" creationId="{52C83BD0-11B4-F38F-F21C-6C0D3C37DA4B}"/>
          </ac:picMkLst>
        </pc:picChg>
        <pc:picChg chg="mod">
          <ac:chgData name="Cuvillier, Nicolas" userId="c7f17e95-5c3e-462b-8857-a61ca2f84f6f" providerId="ADAL" clId="{421FC56B-1DFC-468F-8ADB-554CD8D34B85}" dt="2023-12-04T14:29:14.441" v="4401" actId="1076"/>
          <ac:picMkLst>
            <pc:docMk/>
            <pc:sldMk cId="2517997232" sldId="2147480515"/>
            <ac:picMk id="45" creationId="{D1448623-626A-2AAE-3D98-A749B6240C05}"/>
          </ac:picMkLst>
        </pc:picChg>
        <pc:picChg chg="mod">
          <ac:chgData name="Cuvillier, Nicolas" userId="c7f17e95-5c3e-462b-8857-a61ca2f84f6f" providerId="ADAL" clId="{421FC56B-1DFC-468F-8ADB-554CD8D34B85}" dt="2023-12-04T14:29:14.441" v="4401" actId="1076"/>
          <ac:picMkLst>
            <pc:docMk/>
            <pc:sldMk cId="2517997232" sldId="2147480515"/>
            <ac:picMk id="47" creationId="{189AA276-AF58-1AD3-4754-6A5C89FB3CA1}"/>
          </ac:picMkLst>
        </pc:picChg>
        <pc:cxnChg chg="mod">
          <ac:chgData name="Cuvillier, Nicolas" userId="c7f17e95-5c3e-462b-8857-a61ca2f84f6f" providerId="ADAL" clId="{421FC56B-1DFC-468F-8ADB-554CD8D34B85}" dt="2023-12-04T14:29:14.441" v="4401" actId="1076"/>
          <ac:cxnSpMkLst>
            <pc:docMk/>
            <pc:sldMk cId="2517997232" sldId="2147480515"/>
            <ac:cxnSpMk id="29" creationId="{3C54040F-052F-1BDA-B90C-98184F9750C7}"/>
          </ac:cxnSpMkLst>
        </pc:cxnChg>
        <pc:cxnChg chg="mod">
          <ac:chgData name="Cuvillier, Nicolas" userId="c7f17e95-5c3e-462b-8857-a61ca2f84f6f" providerId="ADAL" clId="{421FC56B-1DFC-468F-8ADB-554CD8D34B85}" dt="2023-12-04T14:29:14.441" v="4401" actId="1076"/>
          <ac:cxnSpMkLst>
            <pc:docMk/>
            <pc:sldMk cId="2517997232" sldId="2147480515"/>
            <ac:cxnSpMk id="34" creationId="{9E3CB111-6AD5-83E5-8626-AAEFD279ABC7}"/>
          </ac:cxnSpMkLst>
        </pc:cxnChg>
      </pc:sldChg>
      <pc:sldChg chg="addSp delSp modSp add mod">
        <pc:chgData name="Cuvillier, Nicolas" userId="c7f17e95-5c3e-462b-8857-a61ca2f84f6f" providerId="ADAL" clId="{421FC56B-1DFC-468F-8ADB-554CD8D34B85}" dt="2023-12-04T19:27:57" v="11450" actId="6549"/>
        <pc:sldMkLst>
          <pc:docMk/>
          <pc:sldMk cId="1138567786" sldId="2147480516"/>
        </pc:sldMkLst>
        <pc:spChg chg="mod">
          <ac:chgData name="Cuvillier, Nicolas" userId="c7f17e95-5c3e-462b-8857-a61ca2f84f6f" providerId="ADAL" clId="{421FC56B-1DFC-468F-8ADB-554CD8D34B85}" dt="2023-12-04T18:46:49.401" v="9533" actId="20577"/>
          <ac:spMkLst>
            <pc:docMk/>
            <pc:sldMk cId="1138567786" sldId="2147480516"/>
            <ac:spMk id="4" creationId="{DF884FB3-6C01-F685-77F6-4D1FA5C1E1B5}"/>
          </ac:spMkLst>
        </pc:spChg>
        <pc:spChg chg="mod">
          <ac:chgData name="Cuvillier, Nicolas" userId="c7f17e95-5c3e-462b-8857-a61ca2f84f6f" providerId="ADAL" clId="{421FC56B-1DFC-468F-8ADB-554CD8D34B85}" dt="2023-12-04T14:26:07.759" v="4219" actId="1076"/>
          <ac:spMkLst>
            <pc:docMk/>
            <pc:sldMk cId="1138567786" sldId="2147480516"/>
            <ac:spMk id="7" creationId="{DA28DF84-7415-DB6D-9B4D-2F4E5DBAC434}"/>
          </ac:spMkLst>
        </pc:spChg>
        <pc:spChg chg="add del mod">
          <ac:chgData name="Cuvillier, Nicolas" userId="c7f17e95-5c3e-462b-8857-a61ca2f84f6f" providerId="ADAL" clId="{421FC56B-1DFC-468F-8ADB-554CD8D34B85}" dt="2023-12-04T14:26:01.513" v="4213" actId="478"/>
          <ac:spMkLst>
            <pc:docMk/>
            <pc:sldMk cId="1138567786" sldId="2147480516"/>
            <ac:spMk id="10" creationId="{D11384A2-2BFA-3F20-68CF-6C27E90B8975}"/>
          </ac:spMkLst>
        </pc:spChg>
        <pc:spChg chg="mod">
          <ac:chgData name="Cuvillier, Nicolas" userId="c7f17e95-5c3e-462b-8857-a61ca2f84f6f" providerId="ADAL" clId="{421FC56B-1DFC-468F-8ADB-554CD8D34B85}" dt="2023-12-04T13:17:44.215" v="2279" actId="6549"/>
          <ac:spMkLst>
            <pc:docMk/>
            <pc:sldMk cId="1138567786" sldId="2147480516"/>
            <ac:spMk id="14" creationId="{EC347EB2-A17C-9756-6F8A-FA325CAB65BB}"/>
          </ac:spMkLst>
        </pc:spChg>
        <pc:spChg chg="mod">
          <ac:chgData name="Cuvillier, Nicolas" userId="c7f17e95-5c3e-462b-8857-a61ca2f84f6f" providerId="ADAL" clId="{421FC56B-1DFC-468F-8ADB-554CD8D34B85}" dt="2023-12-04T14:26:13.798" v="4220" actId="1076"/>
          <ac:spMkLst>
            <pc:docMk/>
            <pc:sldMk cId="1138567786" sldId="2147480516"/>
            <ac:spMk id="16" creationId="{9ED70E17-D43A-EB34-683C-DBE41182BC60}"/>
          </ac:spMkLst>
        </pc:spChg>
        <pc:spChg chg="mod">
          <ac:chgData name="Cuvillier, Nicolas" userId="c7f17e95-5c3e-462b-8857-a61ca2f84f6f" providerId="ADAL" clId="{421FC56B-1DFC-468F-8ADB-554CD8D34B85}" dt="2023-12-04T14:26:07.759" v="4219" actId="1076"/>
          <ac:spMkLst>
            <pc:docMk/>
            <pc:sldMk cId="1138567786" sldId="2147480516"/>
            <ac:spMk id="17" creationId="{3119BBCB-5A35-97C6-C2D5-DDB2A67858B4}"/>
          </ac:spMkLst>
        </pc:spChg>
        <pc:spChg chg="mod">
          <ac:chgData name="Cuvillier, Nicolas" userId="c7f17e95-5c3e-462b-8857-a61ca2f84f6f" providerId="ADAL" clId="{421FC56B-1DFC-468F-8ADB-554CD8D34B85}" dt="2023-12-04T14:26:07.759" v="4219" actId="1076"/>
          <ac:spMkLst>
            <pc:docMk/>
            <pc:sldMk cId="1138567786" sldId="2147480516"/>
            <ac:spMk id="18" creationId="{6AC1AD2F-9FF5-8AC4-BA39-F62002030A9B}"/>
          </ac:spMkLst>
        </pc:spChg>
        <pc:spChg chg="mod">
          <ac:chgData name="Cuvillier, Nicolas" userId="c7f17e95-5c3e-462b-8857-a61ca2f84f6f" providerId="ADAL" clId="{421FC56B-1DFC-468F-8ADB-554CD8D34B85}" dt="2023-12-04T14:26:07.759" v="4219" actId="1076"/>
          <ac:spMkLst>
            <pc:docMk/>
            <pc:sldMk cId="1138567786" sldId="2147480516"/>
            <ac:spMk id="21" creationId="{42205D9C-ADE6-DA19-CECA-2D7F23653BCC}"/>
          </ac:spMkLst>
        </pc:spChg>
        <pc:spChg chg="del">
          <ac:chgData name="Cuvillier, Nicolas" userId="c7f17e95-5c3e-462b-8857-a61ca2f84f6f" providerId="ADAL" clId="{421FC56B-1DFC-468F-8ADB-554CD8D34B85}" dt="2023-12-04T14:26:00.702" v="4208" actId="478"/>
          <ac:spMkLst>
            <pc:docMk/>
            <pc:sldMk cId="1138567786" sldId="2147480516"/>
            <ac:spMk id="22" creationId="{23413B08-5FEA-6306-84D4-A9BCC06F2A31}"/>
          </ac:spMkLst>
        </pc:spChg>
        <pc:spChg chg="mod">
          <ac:chgData name="Cuvillier, Nicolas" userId="c7f17e95-5c3e-462b-8857-a61ca2f84f6f" providerId="ADAL" clId="{421FC56B-1DFC-468F-8ADB-554CD8D34B85}" dt="2023-12-04T14:26:07.759" v="4219" actId="1076"/>
          <ac:spMkLst>
            <pc:docMk/>
            <pc:sldMk cId="1138567786" sldId="2147480516"/>
            <ac:spMk id="23" creationId="{60597E66-83FC-AF81-6604-C1DB01380F18}"/>
          </ac:spMkLst>
        </pc:spChg>
        <pc:spChg chg="mod">
          <ac:chgData name="Cuvillier, Nicolas" userId="c7f17e95-5c3e-462b-8857-a61ca2f84f6f" providerId="ADAL" clId="{421FC56B-1DFC-468F-8ADB-554CD8D34B85}" dt="2023-12-04T14:26:07.759" v="4219" actId="1076"/>
          <ac:spMkLst>
            <pc:docMk/>
            <pc:sldMk cId="1138567786" sldId="2147480516"/>
            <ac:spMk id="24" creationId="{D5173955-0A5F-1F86-E19C-0100540A9836}"/>
          </ac:spMkLst>
        </pc:spChg>
        <pc:spChg chg="mod">
          <ac:chgData name="Cuvillier, Nicolas" userId="c7f17e95-5c3e-462b-8857-a61ca2f84f6f" providerId="ADAL" clId="{421FC56B-1DFC-468F-8ADB-554CD8D34B85}" dt="2023-12-04T19:27:57" v="11450" actId="6549"/>
          <ac:spMkLst>
            <pc:docMk/>
            <pc:sldMk cId="1138567786" sldId="2147480516"/>
            <ac:spMk id="25" creationId="{958D2966-7E7D-9813-B536-FF656F5DC453}"/>
          </ac:spMkLst>
        </pc:spChg>
        <pc:spChg chg="del">
          <ac:chgData name="Cuvillier, Nicolas" userId="c7f17e95-5c3e-462b-8857-a61ca2f84f6f" providerId="ADAL" clId="{421FC56B-1DFC-468F-8ADB-554CD8D34B85}" dt="2023-12-04T14:26:03.246" v="4218" actId="478"/>
          <ac:spMkLst>
            <pc:docMk/>
            <pc:sldMk cId="1138567786" sldId="2147480516"/>
            <ac:spMk id="26" creationId="{49C9CE68-3076-3846-BDBC-BA436D8237D3}"/>
          </ac:spMkLst>
        </pc:spChg>
        <pc:spChg chg="mod">
          <ac:chgData name="Cuvillier, Nicolas" userId="c7f17e95-5c3e-462b-8857-a61ca2f84f6f" providerId="ADAL" clId="{421FC56B-1DFC-468F-8ADB-554CD8D34B85}" dt="2023-12-04T18:45:06.276" v="9484" actId="20577"/>
          <ac:spMkLst>
            <pc:docMk/>
            <pc:sldMk cId="1138567786" sldId="2147480516"/>
            <ac:spMk id="27" creationId="{E1366F96-29C8-F300-6344-34F16AE85E10}"/>
          </ac:spMkLst>
        </pc:spChg>
        <pc:spChg chg="mod">
          <ac:chgData name="Cuvillier, Nicolas" userId="c7f17e95-5c3e-462b-8857-a61ca2f84f6f" providerId="ADAL" clId="{421FC56B-1DFC-468F-8ADB-554CD8D34B85}" dt="2023-12-04T19:26:51.854" v="11447" actId="313"/>
          <ac:spMkLst>
            <pc:docMk/>
            <pc:sldMk cId="1138567786" sldId="2147480516"/>
            <ac:spMk id="35" creationId="{4D3F7C0A-B149-1D73-324F-73B6CC4231CD}"/>
          </ac:spMkLst>
        </pc:spChg>
        <pc:spChg chg="mod">
          <ac:chgData name="Cuvillier, Nicolas" userId="c7f17e95-5c3e-462b-8857-a61ca2f84f6f" providerId="ADAL" clId="{421FC56B-1DFC-468F-8ADB-554CD8D34B85}" dt="2023-12-04T14:26:07.759" v="4219" actId="1076"/>
          <ac:spMkLst>
            <pc:docMk/>
            <pc:sldMk cId="1138567786" sldId="2147480516"/>
            <ac:spMk id="37" creationId="{334ADF48-30AE-4246-8BEE-2FDDBB4368CB}"/>
          </ac:spMkLst>
        </pc:spChg>
        <pc:spChg chg="mod">
          <ac:chgData name="Cuvillier, Nicolas" userId="c7f17e95-5c3e-462b-8857-a61ca2f84f6f" providerId="ADAL" clId="{421FC56B-1DFC-468F-8ADB-554CD8D34B85}" dt="2023-12-04T14:26:07.759" v="4219" actId="1076"/>
          <ac:spMkLst>
            <pc:docMk/>
            <pc:sldMk cId="1138567786" sldId="2147480516"/>
            <ac:spMk id="38" creationId="{D2D970F1-37BA-0616-2151-DCC1AEF77E1D}"/>
          </ac:spMkLst>
        </pc:spChg>
        <pc:spChg chg="mod">
          <ac:chgData name="Cuvillier, Nicolas" userId="c7f17e95-5c3e-462b-8857-a61ca2f84f6f" providerId="ADAL" clId="{421FC56B-1DFC-468F-8ADB-554CD8D34B85}" dt="2023-12-04T14:26:13.798" v="4220" actId="1076"/>
          <ac:spMkLst>
            <pc:docMk/>
            <pc:sldMk cId="1138567786" sldId="2147480516"/>
            <ac:spMk id="42" creationId="{485BE980-4CAE-546A-8B7B-9AA67914D615}"/>
          </ac:spMkLst>
        </pc:spChg>
        <pc:spChg chg="mod">
          <ac:chgData name="Cuvillier, Nicolas" userId="c7f17e95-5c3e-462b-8857-a61ca2f84f6f" providerId="ADAL" clId="{421FC56B-1DFC-468F-8ADB-554CD8D34B85}" dt="2023-12-04T14:26:13.798" v="4220" actId="1076"/>
          <ac:spMkLst>
            <pc:docMk/>
            <pc:sldMk cId="1138567786" sldId="2147480516"/>
            <ac:spMk id="43" creationId="{767A204F-B82D-9B45-C891-CB44AC007AB1}"/>
          </ac:spMkLst>
        </pc:spChg>
        <pc:spChg chg="del">
          <ac:chgData name="Cuvillier, Nicolas" userId="c7f17e95-5c3e-462b-8857-a61ca2f84f6f" providerId="ADAL" clId="{421FC56B-1DFC-468F-8ADB-554CD8D34B85}" dt="2023-12-04T13:17:28.859" v="2273" actId="478"/>
          <ac:spMkLst>
            <pc:docMk/>
            <pc:sldMk cId="1138567786" sldId="2147480516"/>
            <ac:spMk id="44" creationId="{07C25CD7-A67D-4B58-563E-085B732B6674}"/>
          </ac:spMkLst>
        </pc:spChg>
        <pc:grpChg chg="mod">
          <ac:chgData name="Cuvillier, Nicolas" userId="c7f17e95-5c3e-462b-8857-a61ca2f84f6f" providerId="ADAL" clId="{421FC56B-1DFC-468F-8ADB-554CD8D34B85}" dt="2023-12-04T14:26:07.759" v="4219" actId="1076"/>
          <ac:grpSpMkLst>
            <pc:docMk/>
            <pc:sldMk cId="1138567786" sldId="2147480516"/>
            <ac:grpSpMk id="13" creationId="{D8292D40-362E-55F5-8A84-1B9683FCC623}"/>
          </ac:grpSpMkLst>
        </pc:grpChg>
        <pc:graphicFrameChg chg="mod">
          <ac:chgData name="Cuvillier, Nicolas" userId="c7f17e95-5c3e-462b-8857-a61ca2f84f6f" providerId="ADAL" clId="{421FC56B-1DFC-468F-8ADB-554CD8D34B85}" dt="2023-12-04T14:26:02.023" v="4217"/>
          <ac:graphicFrameMkLst>
            <pc:docMk/>
            <pc:sldMk cId="1138567786" sldId="2147480516"/>
            <ac:graphicFrameMk id="6" creationId="{1532DC8D-EF10-C559-FE82-D80CBE53E380}"/>
          </ac:graphicFrameMkLst>
        </pc:graphicFrameChg>
        <pc:picChg chg="add mod ord">
          <ac:chgData name="Cuvillier, Nicolas" userId="c7f17e95-5c3e-462b-8857-a61ca2f84f6f" providerId="ADAL" clId="{421FC56B-1DFC-468F-8ADB-554CD8D34B85}" dt="2023-12-04T14:26:07.759" v="4219" actId="1076"/>
          <ac:picMkLst>
            <pc:docMk/>
            <pc:sldMk cId="1138567786" sldId="2147480516"/>
            <ac:picMk id="2" creationId="{A7D3C7DF-7A47-E89D-FC76-2A755B399652}"/>
          </ac:picMkLst>
        </pc:picChg>
        <pc:picChg chg="add mod ord">
          <ac:chgData name="Cuvillier, Nicolas" userId="c7f17e95-5c3e-462b-8857-a61ca2f84f6f" providerId="ADAL" clId="{421FC56B-1DFC-468F-8ADB-554CD8D34B85}" dt="2023-12-04T14:26:07.759" v="4219" actId="1076"/>
          <ac:picMkLst>
            <pc:docMk/>
            <pc:sldMk cId="1138567786" sldId="2147480516"/>
            <ac:picMk id="3" creationId="{2D5D2C6F-2C73-F9A4-9231-D08BE5CFAB99}"/>
          </ac:picMkLst>
        </pc:picChg>
        <pc:picChg chg="mod">
          <ac:chgData name="Cuvillier, Nicolas" userId="c7f17e95-5c3e-462b-8857-a61ca2f84f6f" providerId="ADAL" clId="{421FC56B-1DFC-468F-8ADB-554CD8D34B85}" dt="2023-12-04T14:26:07.759" v="4219" actId="1076"/>
          <ac:picMkLst>
            <pc:docMk/>
            <pc:sldMk cId="1138567786" sldId="2147480516"/>
            <ac:picMk id="5" creationId="{AD8C3515-AF2C-9985-6CBF-B2D736D5544D}"/>
          </ac:picMkLst>
        </pc:picChg>
        <pc:picChg chg="mod ord">
          <ac:chgData name="Cuvillier, Nicolas" userId="c7f17e95-5c3e-462b-8857-a61ca2f84f6f" providerId="ADAL" clId="{421FC56B-1DFC-468F-8ADB-554CD8D34B85}" dt="2023-12-04T14:26:07.759" v="4219" actId="1076"/>
          <ac:picMkLst>
            <pc:docMk/>
            <pc:sldMk cId="1138567786" sldId="2147480516"/>
            <ac:picMk id="8" creationId="{E8D48B78-D60D-020F-8B11-804329944DD8}"/>
          </ac:picMkLst>
        </pc:picChg>
        <pc:picChg chg="add mod">
          <ac:chgData name="Cuvillier, Nicolas" userId="c7f17e95-5c3e-462b-8857-a61ca2f84f6f" providerId="ADAL" clId="{421FC56B-1DFC-468F-8ADB-554CD8D34B85}" dt="2023-12-04T19:11:47.983" v="10673" actId="1076"/>
          <ac:picMkLst>
            <pc:docMk/>
            <pc:sldMk cId="1138567786" sldId="2147480516"/>
            <ac:picMk id="9" creationId="{C6E721FF-021F-808C-6C62-B8C7654022D2}"/>
          </ac:picMkLst>
        </pc:picChg>
        <pc:picChg chg="add mod">
          <ac:chgData name="Cuvillier, Nicolas" userId="c7f17e95-5c3e-462b-8857-a61ca2f84f6f" providerId="ADAL" clId="{421FC56B-1DFC-468F-8ADB-554CD8D34B85}" dt="2023-12-04T19:12:05.929" v="10679" actId="1076"/>
          <ac:picMkLst>
            <pc:docMk/>
            <pc:sldMk cId="1138567786" sldId="2147480516"/>
            <ac:picMk id="10" creationId="{BD1E607C-8823-A9A9-2739-23B7CFFA5BF8}"/>
          </ac:picMkLst>
        </pc:picChg>
        <pc:picChg chg="add mod">
          <ac:chgData name="Cuvillier, Nicolas" userId="c7f17e95-5c3e-462b-8857-a61ca2f84f6f" providerId="ADAL" clId="{421FC56B-1DFC-468F-8ADB-554CD8D34B85}" dt="2023-12-04T19:12:04.186" v="10678" actId="1076"/>
          <ac:picMkLst>
            <pc:docMk/>
            <pc:sldMk cId="1138567786" sldId="2147480516"/>
            <ac:picMk id="11" creationId="{A202A6A1-B384-3E58-D03B-C4B041E1C6DC}"/>
          </ac:picMkLst>
        </pc:picChg>
        <pc:picChg chg="del mod ord">
          <ac:chgData name="Cuvillier, Nicolas" userId="c7f17e95-5c3e-462b-8857-a61ca2f84f6f" providerId="ADAL" clId="{421FC56B-1DFC-468F-8ADB-554CD8D34B85}" dt="2023-12-04T13:16:37.411" v="2256" actId="478"/>
          <ac:picMkLst>
            <pc:docMk/>
            <pc:sldMk cId="1138567786" sldId="2147480516"/>
            <ac:picMk id="11" creationId="{D1CBAEE9-5569-B1E2-1768-E91B0E3128C7}"/>
          </ac:picMkLst>
        </pc:picChg>
        <pc:picChg chg="del mod ord">
          <ac:chgData name="Cuvillier, Nicolas" userId="c7f17e95-5c3e-462b-8857-a61ca2f84f6f" providerId="ADAL" clId="{421FC56B-1DFC-468F-8ADB-554CD8D34B85}" dt="2023-12-04T13:16:37.411" v="2256" actId="478"/>
          <ac:picMkLst>
            <pc:docMk/>
            <pc:sldMk cId="1138567786" sldId="2147480516"/>
            <ac:picMk id="12" creationId="{A266D571-E312-6BAA-2FF6-F2F94089E5AA}"/>
          </ac:picMkLst>
        </pc:picChg>
        <pc:picChg chg="add mod">
          <ac:chgData name="Cuvillier, Nicolas" userId="c7f17e95-5c3e-462b-8857-a61ca2f84f6f" providerId="ADAL" clId="{421FC56B-1DFC-468F-8ADB-554CD8D34B85}" dt="2023-12-04T14:32:34.181" v="4870"/>
          <ac:picMkLst>
            <pc:docMk/>
            <pc:sldMk cId="1138567786" sldId="2147480516"/>
            <ac:picMk id="20" creationId="{73F64157-04DC-9B7D-DEEB-38EAE2606FC5}"/>
          </ac:picMkLst>
        </pc:picChg>
        <pc:picChg chg="mod">
          <ac:chgData name="Cuvillier, Nicolas" userId="c7f17e95-5c3e-462b-8857-a61ca2f84f6f" providerId="ADAL" clId="{421FC56B-1DFC-468F-8ADB-554CD8D34B85}" dt="2023-12-04T14:26:07.759" v="4219" actId="1076"/>
          <ac:picMkLst>
            <pc:docMk/>
            <pc:sldMk cId="1138567786" sldId="2147480516"/>
            <ac:picMk id="30" creationId="{70AF88D3-D5BC-BD5E-331A-63ECD9B0817B}"/>
          </ac:picMkLst>
        </pc:picChg>
        <pc:picChg chg="del mod">
          <ac:chgData name="Cuvillier, Nicolas" userId="c7f17e95-5c3e-462b-8857-a61ca2f84f6f" providerId="ADAL" clId="{421FC56B-1DFC-468F-8ADB-554CD8D34B85}" dt="2023-12-04T14:31:21.069" v="4759" actId="478"/>
          <ac:picMkLst>
            <pc:docMk/>
            <pc:sldMk cId="1138567786" sldId="2147480516"/>
            <ac:picMk id="39" creationId="{52C83BD0-11B4-F38F-F21C-6C0D3C37DA4B}"/>
          </ac:picMkLst>
        </pc:picChg>
        <pc:picChg chg="mod">
          <ac:chgData name="Cuvillier, Nicolas" userId="c7f17e95-5c3e-462b-8857-a61ca2f84f6f" providerId="ADAL" clId="{421FC56B-1DFC-468F-8ADB-554CD8D34B85}" dt="2023-12-04T14:26:07.759" v="4219" actId="1076"/>
          <ac:picMkLst>
            <pc:docMk/>
            <pc:sldMk cId="1138567786" sldId="2147480516"/>
            <ac:picMk id="45" creationId="{D1448623-626A-2AAE-3D98-A749B6240C05}"/>
          </ac:picMkLst>
        </pc:picChg>
        <pc:picChg chg="mod">
          <ac:chgData name="Cuvillier, Nicolas" userId="c7f17e95-5c3e-462b-8857-a61ca2f84f6f" providerId="ADAL" clId="{421FC56B-1DFC-468F-8ADB-554CD8D34B85}" dt="2023-12-04T14:26:07.759" v="4219" actId="1076"/>
          <ac:picMkLst>
            <pc:docMk/>
            <pc:sldMk cId="1138567786" sldId="2147480516"/>
            <ac:picMk id="47" creationId="{189AA276-AF58-1AD3-4754-6A5C89FB3CA1}"/>
          </ac:picMkLst>
        </pc:picChg>
        <pc:cxnChg chg="mod">
          <ac:chgData name="Cuvillier, Nicolas" userId="c7f17e95-5c3e-462b-8857-a61ca2f84f6f" providerId="ADAL" clId="{421FC56B-1DFC-468F-8ADB-554CD8D34B85}" dt="2023-12-04T14:26:07.759" v="4219" actId="1076"/>
          <ac:cxnSpMkLst>
            <pc:docMk/>
            <pc:sldMk cId="1138567786" sldId="2147480516"/>
            <ac:cxnSpMk id="19" creationId="{3F177DEA-56A9-E13A-E6BB-8DB89A89B8D0}"/>
          </ac:cxnSpMkLst>
        </pc:cxnChg>
        <pc:cxnChg chg="mod">
          <ac:chgData name="Cuvillier, Nicolas" userId="c7f17e95-5c3e-462b-8857-a61ca2f84f6f" providerId="ADAL" clId="{421FC56B-1DFC-468F-8ADB-554CD8D34B85}" dt="2023-12-04T14:26:07.759" v="4219" actId="1076"/>
          <ac:cxnSpMkLst>
            <pc:docMk/>
            <pc:sldMk cId="1138567786" sldId="2147480516"/>
            <ac:cxnSpMk id="34" creationId="{9E3CB111-6AD5-83E5-8626-AAEFD279ABC7}"/>
          </ac:cxnSpMkLst>
        </pc:cxnChg>
      </pc:sldChg>
      <pc:sldChg chg="addSp delSp modSp add del mod">
        <pc:chgData name="Cuvillier, Nicolas" userId="c7f17e95-5c3e-462b-8857-a61ca2f84f6f" providerId="ADAL" clId="{421FC56B-1DFC-468F-8ADB-554CD8D34B85}" dt="2023-12-04T14:25:52.577" v="4207" actId="47"/>
        <pc:sldMkLst>
          <pc:docMk/>
          <pc:sldMk cId="3363940549" sldId="2147480517"/>
        </pc:sldMkLst>
        <pc:spChg chg="add del mod">
          <ac:chgData name="Cuvillier, Nicolas" userId="c7f17e95-5c3e-462b-8857-a61ca2f84f6f" providerId="ADAL" clId="{421FC56B-1DFC-468F-8ADB-554CD8D34B85}" dt="2023-12-04T14:24:53.340" v="4174" actId="478"/>
          <ac:spMkLst>
            <pc:docMk/>
            <pc:sldMk cId="3363940549" sldId="2147480517"/>
            <ac:spMk id="3" creationId="{986D3CEE-55D4-16B0-EFDE-0A10E698B73D}"/>
          </ac:spMkLst>
        </pc:spChg>
        <pc:spChg chg="mod">
          <ac:chgData name="Cuvillier, Nicolas" userId="c7f17e95-5c3e-462b-8857-a61ca2f84f6f" providerId="ADAL" clId="{421FC56B-1DFC-468F-8ADB-554CD8D34B85}" dt="2023-12-04T14:24:59.088" v="4179" actId="1076"/>
          <ac:spMkLst>
            <pc:docMk/>
            <pc:sldMk cId="3363940549" sldId="2147480517"/>
            <ac:spMk id="4" creationId="{DF884FB3-6C01-F685-77F6-4D1FA5C1E1B5}"/>
          </ac:spMkLst>
        </pc:spChg>
        <pc:spChg chg="mod">
          <ac:chgData name="Cuvillier, Nicolas" userId="c7f17e95-5c3e-462b-8857-a61ca2f84f6f" providerId="ADAL" clId="{421FC56B-1DFC-468F-8ADB-554CD8D34B85}" dt="2023-12-04T14:24:59.088" v="4179" actId="1076"/>
          <ac:spMkLst>
            <pc:docMk/>
            <pc:sldMk cId="3363940549" sldId="2147480517"/>
            <ac:spMk id="7" creationId="{DA28DF84-7415-DB6D-9B4D-2F4E5DBAC434}"/>
          </ac:spMkLst>
        </pc:spChg>
        <pc:spChg chg="mod">
          <ac:chgData name="Cuvillier, Nicolas" userId="c7f17e95-5c3e-462b-8857-a61ca2f84f6f" providerId="ADAL" clId="{421FC56B-1DFC-468F-8ADB-554CD8D34B85}" dt="2023-12-04T14:25:15.092" v="4184" actId="1076"/>
          <ac:spMkLst>
            <pc:docMk/>
            <pc:sldMk cId="3363940549" sldId="2147480517"/>
            <ac:spMk id="16" creationId="{9ED70E17-D43A-EB34-683C-DBE41182BC60}"/>
          </ac:spMkLst>
        </pc:spChg>
        <pc:spChg chg="mod">
          <ac:chgData name="Cuvillier, Nicolas" userId="c7f17e95-5c3e-462b-8857-a61ca2f84f6f" providerId="ADAL" clId="{421FC56B-1DFC-468F-8ADB-554CD8D34B85}" dt="2023-12-04T14:24:59.088" v="4179" actId="1076"/>
          <ac:spMkLst>
            <pc:docMk/>
            <pc:sldMk cId="3363940549" sldId="2147480517"/>
            <ac:spMk id="17" creationId="{3119BBCB-5A35-97C6-C2D5-DDB2A67858B4}"/>
          </ac:spMkLst>
        </pc:spChg>
        <pc:spChg chg="mod">
          <ac:chgData name="Cuvillier, Nicolas" userId="c7f17e95-5c3e-462b-8857-a61ca2f84f6f" providerId="ADAL" clId="{421FC56B-1DFC-468F-8ADB-554CD8D34B85}" dt="2023-12-04T14:24:59.088" v="4179" actId="1076"/>
          <ac:spMkLst>
            <pc:docMk/>
            <pc:sldMk cId="3363940549" sldId="2147480517"/>
            <ac:spMk id="19" creationId="{CBE38BAF-A334-B923-B82B-1524DF2F2CCC}"/>
          </ac:spMkLst>
        </pc:spChg>
        <pc:spChg chg="del">
          <ac:chgData name="Cuvillier, Nicolas" userId="c7f17e95-5c3e-462b-8857-a61ca2f84f6f" providerId="ADAL" clId="{421FC56B-1DFC-468F-8ADB-554CD8D34B85}" dt="2023-12-04T14:24:52.001" v="4169" actId="478"/>
          <ac:spMkLst>
            <pc:docMk/>
            <pc:sldMk cId="3363940549" sldId="2147480517"/>
            <ac:spMk id="22" creationId="{23413B08-5FEA-6306-84D4-A9BCC06F2A31}"/>
          </ac:spMkLst>
        </pc:spChg>
        <pc:spChg chg="mod">
          <ac:chgData name="Cuvillier, Nicolas" userId="c7f17e95-5c3e-462b-8857-a61ca2f84f6f" providerId="ADAL" clId="{421FC56B-1DFC-468F-8ADB-554CD8D34B85}" dt="2023-12-04T14:24:59.088" v="4179" actId="1076"/>
          <ac:spMkLst>
            <pc:docMk/>
            <pc:sldMk cId="3363940549" sldId="2147480517"/>
            <ac:spMk id="23" creationId="{60597E66-83FC-AF81-6604-C1DB01380F18}"/>
          </ac:spMkLst>
        </pc:spChg>
        <pc:spChg chg="mod">
          <ac:chgData name="Cuvillier, Nicolas" userId="c7f17e95-5c3e-462b-8857-a61ca2f84f6f" providerId="ADAL" clId="{421FC56B-1DFC-468F-8ADB-554CD8D34B85}" dt="2023-12-04T14:24:59.088" v="4179" actId="1076"/>
          <ac:spMkLst>
            <pc:docMk/>
            <pc:sldMk cId="3363940549" sldId="2147480517"/>
            <ac:spMk id="24" creationId="{D5173955-0A5F-1F86-E19C-0100540A9836}"/>
          </ac:spMkLst>
        </pc:spChg>
        <pc:spChg chg="mod">
          <ac:chgData name="Cuvillier, Nicolas" userId="c7f17e95-5c3e-462b-8857-a61ca2f84f6f" providerId="ADAL" clId="{421FC56B-1DFC-468F-8ADB-554CD8D34B85}" dt="2023-12-04T14:25:08.666" v="4183" actId="14100"/>
          <ac:spMkLst>
            <pc:docMk/>
            <pc:sldMk cId="3363940549" sldId="2147480517"/>
            <ac:spMk id="25" creationId="{958D2966-7E7D-9813-B536-FF656F5DC453}"/>
          </ac:spMkLst>
        </pc:spChg>
        <pc:spChg chg="del">
          <ac:chgData name="Cuvillier, Nicolas" userId="c7f17e95-5c3e-462b-8857-a61ca2f84f6f" providerId="ADAL" clId="{421FC56B-1DFC-468F-8ADB-554CD8D34B85}" dt="2023-12-04T14:25:00.541" v="4180" actId="478"/>
          <ac:spMkLst>
            <pc:docMk/>
            <pc:sldMk cId="3363940549" sldId="2147480517"/>
            <ac:spMk id="26" creationId="{49C9CE68-3076-3846-BDBC-BA436D8237D3}"/>
          </ac:spMkLst>
        </pc:spChg>
        <pc:spChg chg="mod">
          <ac:chgData name="Cuvillier, Nicolas" userId="c7f17e95-5c3e-462b-8857-a61ca2f84f6f" providerId="ADAL" clId="{421FC56B-1DFC-468F-8ADB-554CD8D34B85}" dt="2023-12-04T14:25:04.510" v="4181" actId="14100"/>
          <ac:spMkLst>
            <pc:docMk/>
            <pc:sldMk cId="3363940549" sldId="2147480517"/>
            <ac:spMk id="27" creationId="{E1366F96-29C8-F300-6344-34F16AE85E10}"/>
          </ac:spMkLst>
        </pc:spChg>
        <pc:spChg chg="mod">
          <ac:chgData name="Cuvillier, Nicolas" userId="c7f17e95-5c3e-462b-8857-a61ca2f84f6f" providerId="ADAL" clId="{421FC56B-1DFC-468F-8ADB-554CD8D34B85}" dt="2023-12-04T14:24:59.088" v="4179" actId="1076"/>
          <ac:spMkLst>
            <pc:docMk/>
            <pc:sldMk cId="3363940549" sldId="2147480517"/>
            <ac:spMk id="31" creationId="{740AF070-33B2-1F8C-5853-5DBA2EC215A1}"/>
          </ac:spMkLst>
        </pc:spChg>
        <pc:spChg chg="mod">
          <ac:chgData name="Cuvillier, Nicolas" userId="c7f17e95-5c3e-462b-8857-a61ca2f84f6f" providerId="ADAL" clId="{421FC56B-1DFC-468F-8ADB-554CD8D34B85}" dt="2023-12-04T14:24:59.088" v="4179" actId="1076"/>
          <ac:spMkLst>
            <pc:docMk/>
            <pc:sldMk cId="3363940549" sldId="2147480517"/>
            <ac:spMk id="35" creationId="{4D3F7C0A-B149-1D73-324F-73B6CC4231CD}"/>
          </ac:spMkLst>
        </pc:spChg>
        <pc:spChg chg="mod">
          <ac:chgData name="Cuvillier, Nicolas" userId="c7f17e95-5c3e-462b-8857-a61ca2f84f6f" providerId="ADAL" clId="{421FC56B-1DFC-468F-8ADB-554CD8D34B85}" dt="2023-12-04T14:24:59.088" v="4179" actId="1076"/>
          <ac:spMkLst>
            <pc:docMk/>
            <pc:sldMk cId="3363940549" sldId="2147480517"/>
            <ac:spMk id="37" creationId="{334ADF48-30AE-4246-8BEE-2FDDBB4368CB}"/>
          </ac:spMkLst>
        </pc:spChg>
        <pc:spChg chg="mod">
          <ac:chgData name="Cuvillier, Nicolas" userId="c7f17e95-5c3e-462b-8857-a61ca2f84f6f" providerId="ADAL" clId="{421FC56B-1DFC-468F-8ADB-554CD8D34B85}" dt="2023-12-04T14:24:59.088" v="4179" actId="1076"/>
          <ac:spMkLst>
            <pc:docMk/>
            <pc:sldMk cId="3363940549" sldId="2147480517"/>
            <ac:spMk id="38" creationId="{D2D970F1-37BA-0616-2151-DCC1AEF77E1D}"/>
          </ac:spMkLst>
        </pc:spChg>
        <pc:spChg chg="mod">
          <ac:chgData name="Cuvillier, Nicolas" userId="c7f17e95-5c3e-462b-8857-a61ca2f84f6f" providerId="ADAL" clId="{421FC56B-1DFC-468F-8ADB-554CD8D34B85}" dt="2023-12-04T14:25:15.092" v="4184" actId="1076"/>
          <ac:spMkLst>
            <pc:docMk/>
            <pc:sldMk cId="3363940549" sldId="2147480517"/>
            <ac:spMk id="42" creationId="{485BE980-4CAE-546A-8B7B-9AA67914D615}"/>
          </ac:spMkLst>
        </pc:spChg>
        <pc:spChg chg="mod">
          <ac:chgData name="Cuvillier, Nicolas" userId="c7f17e95-5c3e-462b-8857-a61ca2f84f6f" providerId="ADAL" clId="{421FC56B-1DFC-468F-8ADB-554CD8D34B85}" dt="2023-12-04T14:25:15.092" v="4184" actId="1076"/>
          <ac:spMkLst>
            <pc:docMk/>
            <pc:sldMk cId="3363940549" sldId="2147480517"/>
            <ac:spMk id="43" creationId="{767A204F-B82D-9B45-C891-CB44AC007AB1}"/>
          </ac:spMkLst>
        </pc:spChg>
        <pc:grpChg chg="mod">
          <ac:chgData name="Cuvillier, Nicolas" userId="c7f17e95-5c3e-462b-8857-a61ca2f84f6f" providerId="ADAL" clId="{421FC56B-1DFC-468F-8ADB-554CD8D34B85}" dt="2023-12-04T14:24:59.088" v="4179" actId="1076"/>
          <ac:grpSpMkLst>
            <pc:docMk/>
            <pc:sldMk cId="3363940549" sldId="2147480517"/>
            <ac:grpSpMk id="13" creationId="{D8292D40-362E-55F5-8A84-1B9683FCC623}"/>
          </ac:grpSpMkLst>
        </pc:grpChg>
        <pc:graphicFrameChg chg="mod">
          <ac:chgData name="Cuvillier, Nicolas" userId="c7f17e95-5c3e-462b-8857-a61ca2f84f6f" providerId="ADAL" clId="{421FC56B-1DFC-468F-8ADB-554CD8D34B85}" dt="2023-12-04T14:24:53.853" v="4178"/>
          <ac:graphicFrameMkLst>
            <pc:docMk/>
            <pc:sldMk cId="3363940549" sldId="2147480517"/>
            <ac:graphicFrameMk id="6" creationId="{1532DC8D-EF10-C559-FE82-D80CBE53E380}"/>
          </ac:graphicFrameMkLst>
        </pc:graphicFrameChg>
        <pc:picChg chg="mod">
          <ac:chgData name="Cuvillier, Nicolas" userId="c7f17e95-5c3e-462b-8857-a61ca2f84f6f" providerId="ADAL" clId="{421FC56B-1DFC-468F-8ADB-554CD8D34B85}" dt="2023-12-04T14:24:59.088" v="4179" actId="1076"/>
          <ac:picMkLst>
            <pc:docMk/>
            <pc:sldMk cId="3363940549" sldId="2147480517"/>
            <ac:picMk id="5" creationId="{AD8C3515-AF2C-9985-6CBF-B2D736D5544D}"/>
          </ac:picMkLst>
        </pc:picChg>
        <pc:picChg chg="mod">
          <ac:chgData name="Cuvillier, Nicolas" userId="c7f17e95-5c3e-462b-8857-a61ca2f84f6f" providerId="ADAL" clId="{421FC56B-1DFC-468F-8ADB-554CD8D34B85}" dt="2023-12-04T14:24:59.088" v="4179" actId="1076"/>
          <ac:picMkLst>
            <pc:docMk/>
            <pc:sldMk cId="3363940549" sldId="2147480517"/>
            <ac:picMk id="11" creationId="{50D176EB-4F36-6827-C273-43F90B6EFB9F}"/>
          </ac:picMkLst>
        </pc:picChg>
        <pc:picChg chg="mod">
          <ac:chgData name="Cuvillier, Nicolas" userId="c7f17e95-5c3e-462b-8857-a61ca2f84f6f" providerId="ADAL" clId="{421FC56B-1DFC-468F-8ADB-554CD8D34B85}" dt="2023-12-04T14:24:59.088" v="4179" actId="1076"/>
          <ac:picMkLst>
            <pc:docMk/>
            <pc:sldMk cId="3363940549" sldId="2147480517"/>
            <ac:picMk id="18" creationId="{523F52AA-D6A8-650C-4613-576D461B391B}"/>
          </ac:picMkLst>
        </pc:picChg>
        <pc:picChg chg="mod">
          <ac:chgData name="Cuvillier, Nicolas" userId="c7f17e95-5c3e-462b-8857-a61ca2f84f6f" providerId="ADAL" clId="{421FC56B-1DFC-468F-8ADB-554CD8D34B85}" dt="2023-12-04T14:24:59.088" v="4179" actId="1076"/>
          <ac:picMkLst>
            <pc:docMk/>
            <pc:sldMk cId="3363940549" sldId="2147480517"/>
            <ac:picMk id="20" creationId="{154BEF44-625C-CE11-E5B6-8DEA3C4C6DA5}"/>
          </ac:picMkLst>
        </pc:picChg>
        <pc:picChg chg="mod">
          <ac:chgData name="Cuvillier, Nicolas" userId="c7f17e95-5c3e-462b-8857-a61ca2f84f6f" providerId="ADAL" clId="{421FC56B-1DFC-468F-8ADB-554CD8D34B85}" dt="2023-12-04T14:24:59.088" v="4179" actId="1076"/>
          <ac:picMkLst>
            <pc:docMk/>
            <pc:sldMk cId="3363940549" sldId="2147480517"/>
            <ac:picMk id="29" creationId="{627249F1-D669-09B0-AAFE-A3C6AD4D2794}"/>
          </ac:picMkLst>
        </pc:picChg>
        <pc:picChg chg="mod">
          <ac:chgData name="Cuvillier, Nicolas" userId="c7f17e95-5c3e-462b-8857-a61ca2f84f6f" providerId="ADAL" clId="{421FC56B-1DFC-468F-8ADB-554CD8D34B85}" dt="2023-12-04T14:24:59.088" v="4179" actId="1076"/>
          <ac:picMkLst>
            <pc:docMk/>
            <pc:sldMk cId="3363940549" sldId="2147480517"/>
            <ac:picMk id="30" creationId="{70AF88D3-D5BC-BD5E-331A-63ECD9B0817B}"/>
          </ac:picMkLst>
        </pc:picChg>
        <pc:picChg chg="mod">
          <ac:chgData name="Cuvillier, Nicolas" userId="c7f17e95-5c3e-462b-8857-a61ca2f84f6f" providerId="ADAL" clId="{421FC56B-1DFC-468F-8ADB-554CD8D34B85}" dt="2023-12-04T14:24:59.088" v="4179" actId="1076"/>
          <ac:picMkLst>
            <pc:docMk/>
            <pc:sldMk cId="3363940549" sldId="2147480517"/>
            <ac:picMk id="36" creationId="{38E01DB3-94DA-EE4A-182F-E501F7A9E18A}"/>
          </ac:picMkLst>
        </pc:picChg>
        <pc:picChg chg="mod">
          <ac:chgData name="Cuvillier, Nicolas" userId="c7f17e95-5c3e-462b-8857-a61ca2f84f6f" providerId="ADAL" clId="{421FC56B-1DFC-468F-8ADB-554CD8D34B85}" dt="2023-12-04T14:24:59.088" v="4179" actId="1076"/>
          <ac:picMkLst>
            <pc:docMk/>
            <pc:sldMk cId="3363940549" sldId="2147480517"/>
            <ac:picMk id="39" creationId="{52C83BD0-11B4-F38F-F21C-6C0D3C37DA4B}"/>
          </ac:picMkLst>
        </pc:picChg>
        <pc:picChg chg="mod">
          <ac:chgData name="Cuvillier, Nicolas" userId="c7f17e95-5c3e-462b-8857-a61ca2f84f6f" providerId="ADAL" clId="{421FC56B-1DFC-468F-8ADB-554CD8D34B85}" dt="2023-12-04T14:24:59.088" v="4179" actId="1076"/>
          <ac:picMkLst>
            <pc:docMk/>
            <pc:sldMk cId="3363940549" sldId="2147480517"/>
            <ac:picMk id="45" creationId="{D1448623-626A-2AAE-3D98-A749B6240C05}"/>
          </ac:picMkLst>
        </pc:picChg>
        <pc:picChg chg="mod">
          <ac:chgData name="Cuvillier, Nicolas" userId="c7f17e95-5c3e-462b-8857-a61ca2f84f6f" providerId="ADAL" clId="{421FC56B-1DFC-468F-8ADB-554CD8D34B85}" dt="2023-12-04T14:24:59.088" v="4179" actId="1076"/>
          <ac:picMkLst>
            <pc:docMk/>
            <pc:sldMk cId="3363940549" sldId="2147480517"/>
            <ac:picMk id="47" creationId="{189AA276-AF58-1AD3-4754-6A5C89FB3CA1}"/>
          </ac:picMkLst>
        </pc:picChg>
        <pc:cxnChg chg="mod">
          <ac:chgData name="Cuvillier, Nicolas" userId="c7f17e95-5c3e-462b-8857-a61ca2f84f6f" providerId="ADAL" clId="{421FC56B-1DFC-468F-8ADB-554CD8D34B85}" dt="2023-12-04T14:24:59.088" v="4179" actId="1076"/>
          <ac:cxnSpMkLst>
            <pc:docMk/>
            <pc:sldMk cId="3363940549" sldId="2147480517"/>
            <ac:cxnSpMk id="28" creationId="{D3A2CA40-6759-04CA-8BFA-9F3A03375EA5}"/>
          </ac:cxnSpMkLst>
        </pc:cxnChg>
        <pc:cxnChg chg="mod">
          <ac:chgData name="Cuvillier, Nicolas" userId="c7f17e95-5c3e-462b-8857-a61ca2f84f6f" providerId="ADAL" clId="{421FC56B-1DFC-468F-8ADB-554CD8D34B85}" dt="2023-12-04T14:24:59.088" v="4179" actId="1076"/>
          <ac:cxnSpMkLst>
            <pc:docMk/>
            <pc:sldMk cId="3363940549" sldId="2147480517"/>
            <ac:cxnSpMk id="34" creationId="{9E3CB111-6AD5-83E5-8626-AAEFD279ABC7}"/>
          </ac:cxnSpMkLst>
        </pc:cxnChg>
      </pc:sldChg>
    </pc:docChg>
  </pc:docChgLst>
  <pc:docChgLst>
    <pc:chgData name="Tan, Eric" userId="da1798d5-7e4e-4152-b071-9c427090fd02" providerId="ADAL" clId="{7EFF1D89-E885-4441-9CAE-A2070226168E}"/>
    <pc:docChg chg="custSel modSld replTag">
      <pc:chgData name="Tan, Eric" userId="da1798d5-7e4e-4152-b071-9c427090fd02" providerId="ADAL" clId="{7EFF1D89-E885-4441-9CAE-A2070226168E}" dt="2023-12-06T00:30:55.086" v="494"/>
      <pc:docMkLst>
        <pc:docMk/>
      </pc:docMkLst>
      <pc:sldChg chg="addSp delSp modSp mod">
        <pc:chgData name="Tan, Eric" userId="da1798d5-7e4e-4152-b071-9c427090fd02" providerId="ADAL" clId="{7EFF1D89-E885-4441-9CAE-A2070226168E}" dt="2023-12-06T00:30:55.086" v="494"/>
        <pc:sldMkLst>
          <pc:docMk/>
          <pc:sldMk cId="609554260" sldId="2147480158"/>
        </pc:sldMkLst>
        <pc:spChg chg="add del mod modVis">
          <ac:chgData name="Tan, Eric" userId="da1798d5-7e4e-4152-b071-9c427090fd02" providerId="ADAL" clId="{7EFF1D89-E885-4441-9CAE-A2070226168E}" dt="2023-12-06T00:30:54.980" v="492"/>
          <ac:spMkLst>
            <pc:docMk/>
            <pc:sldMk cId="609554260" sldId="2147480158"/>
            <ac:spMk id="2" creationId="{28F73173-8691-0C75-942E-46FD508894FB}"/>
          </ac:spMkLst>
        </pc:spChg>
        <pc:spChg chg="mod">
          <ac:chgData name="Tan, Eric" userId="da1798d5-7e4e-4152-b071-9c427090fd02" providerId="ADAL" clId="{7EFF1D89-E885-4441-9CAE-A2070226168E}" dt="2023-12-06T00:30:54.959" v="459"/>
          <ac:spMkLst>
            <pc:docMk/>
            <pc:sldMk cId="609554260" sldId="2147480158"/>
            <ac:spMk id="10" creationId="{267077BC-B52C-43DE-A5D0-5D07E3CAE224}"/>
          </ac:spMkLst>
        </pc:spChg>
        <pc:spChg chg="mod">
          <ac:chgData name="Tan, Eric" userId="da1798d5-7e4e-4152-b071-9c427090fd02" providerId="ADAL" clId="{7EFF1D89-E885-4441-9CAE-A2070226168E}" dt="2023-12-06T00:30:54.958" v="458"/>
          <ac:spMkLst>
            <pc:docMk/>
            <pc:sldMk cId="609554260" sldId="2147480158"/>
            <ac:spMk id="11" creationId="{29A79585-BF76-4FF2-8DD9-3A30B92A052B}"/>
          </ac:spMkLst>
        </pc:spChg>
        <pc:spChg chg="mod">
          <ac:chgData name="Tan, Eric" userId="da1798d5-7e4e-4152-b071-9c427090fd02" providerId="ADAL" clId="{7EFF1D89-E885-4441-9CAE-A2070226168E}" dt="2023-12-06T00:30:54.956" v="454"/>
          <ac:spMkLst>
            <pc:docMk/>
            <pc:sldMk cId="609554260" sldId="2147480158"/>
            <ac:spMk id="12" creationId="{34E1DDCA-143A-4549-8213-A1DAD65B098A}"/>
          </ac:spMkLst>
        </pc:spChg>
        <pc:spChg chg="mod">
          <ac:chgData name="Tan, Eric" userId="da1798d5-7e4e-4152-b071-9c427090fd02" providerId="ADAL" clId="{7EFF1D89-E885-4441-9CAE-A2070226168E}" dt="2023-12-06T00:30:54.956" v="455"/>
          <ac:spMkLst>
            <pc:docMk/>
            <pc:sldMk cId="609554260" sldId="2147480158"/>
            <ac:spMk id="13" creationId="{C89F3701-368C-4E12-9962-02CC2471189E}"/>
          </ac:spMkLst>
        </pc:spChg>
        <pc:spChg chg="mod">
          <ac:chgData name="Tan, Eric" userId="da1798d5-7e4e-4152-b071-9c427090fd02" providerId="ADAL" clId="{7EFF1D89-E885-4441-9CAE-A2070226168E}" dt="2023-12-06T00:30:54.958" v="457"/>
          <ac:spMkLst>
            <pc:docMk/>
            <pc:sldMk cId="609554260" sldId="2147480158"/>
            <ac:spMk id="14" creationId="{F43BF871-CD18-4126-AAE2-EC2332005824}"/>
          </ac:spMkLst>
        </pc:spChg>
        <pc:spChg chg="mod">
          <ac:chgData name="Tan, Eric" userId="da1798d5-7e4e-4152-b071-9c427090fd02" providerId="ADAL" clId="{7EFF1D89-E885-4441-9CAE-A2070226168E}" dt="2023-12-06T00:30:54.957" v="456"/>
          <ac:spMkLst>
            <pc:docMk/>
            <pc:sldMk cId="609554260" sldId="2147480158"/>
            <ac:spMk id="15" creationId="{1224C1BB-4B0E-47FD-B192-E9387519ACD3}"/>
          </ac:spMkLst>
        </pc:spChg>
        <pc:spChg chg="mod">
          <ac:chgData name="Tan, Eric" userId="da1798d5-7e4e-4152-b071-9c427090fd02" providerId="ADAL" clId="{7EFF1D89-E885-4441-9CAE-A2070226168E}" dt="2023-12-06T00:30:54.959" v="460"/>
          <ac:spMkLst>
            <pc:docMk/>
            <pc:sldMk cId="609554260" sldId="2147480158"/>
            <ac:spMk id="16" creationId="{3E6A6BE4-42B6-4365-B1F0-13D37A3D6CA0}"/>
          </ac:spMkLst>
        </pc:spChg>
        <pc:spChg chg="mod">
          <ac:chgData name="Tan, Eric" userId="da1798d5-7e4e-4152-b071-9c427090fd02" providerId="ADAL" clId="{7EFF1D89-E885-4441-9CAE-A2070226168E}" dt="2023-12-06T00:30:54.960" v="461"/>
          <ac:spMkLst>
            <pc:docMk/>
            <pc:sldMk cId="609554260" sldId="2147480158"/>
            <ac:spMk id="17" creationId="{C8DF8E8E-15EC-42E1-9020-C19CCAD2A519}"/>
          </ac:spMkLst>
        </pc:spChg>
        <pc:spChg chg="mod">
          <ac:chgData name="Tan, Eric" userId="da1798d5-7e4e-4152-b071-9c427090fd02" providerId="ADAL" clId="{7EFF1D89-E885-4441-9CAE-A2070226168E}" dt="2023-12-06T00:30:54.960" v="462"/>
          <ac:spMkLst>
            <pc:docMk/>
            <pc:sldMk cId="609554260" sldId="2147480158"/>
            <ac:spMk id="18" creationId="{D8702814-6205-43D8-863F-5FA40854ADA8}"/>
          </ac:spMkLst>
        </pc:spChg>
        <pc:spChg chg="mod">
          <ac:chgData name="Tan, Eric" userId="da1798d5-7e4e-4152-b071-9c427090fd02" providerId="ADAL" clId="{7EFF1D89-E885-4441-9CAE-A2070226168E}" dt="2023-12-06T00:30:54.961" v="463"/>
          <ac:spMkLst>
            <pc:docMk/>
            <pc:sldMk cId="609554260" sldId="2147480158"/>
            <ac:spMk id="19" creationId="{8D1E39A3-30A7-46ED-8852-07AE136DDCAE}"/>
          </ac:spMkLst>
        </pc:spChg>
        <pc:spChg chg="mod">
          <ac:chgData name="Tan, Eric" userId="da1798d5-7e4e-4152-b071-9c427090fd02" providerId="ADAL" clId="{7EFF1D89-E885-4441-9CAE-A2070226168E}" dt="2023-12-06T00:30:54.961" v="464"/>
          <ac:spMkLst>
            <pc:docMk/>
            <pc:sldMk cId="609554260" sldId="2147480158"/>
            <ac:spMk id="20" creationId="{4FF11D7E-7E18-4681-8134-94601B8403E7}"/>
          </ac:spMkLst>
        </pc:spChg>
        <pc:spChg chg="mod">
          <ac:chgData name="Tan, Eric" userId="da1798d5-7e4e-4152-b071-9c427090fd02" providerId="ADAL" clId="{7EFF1D89-E885-4441-9CAE-A2070226168E}" dt="2023-12-06T00:30:54.962" v="465"/>
          <ac:spMkLst>
            <pc:docMk/>
            <pc:sldMk cId="609554260" sldId="2147480158"/>
            <ac:spMk id="21" creationId="{1805921D-5C37-48F2-BAED-3C4F1E3C7B3A}"/>
          </ac:spMkLst>
        </pc:spChg>
        <pc:spChg chg="mod ord">
          <ac:chgData name="Tan, Eric" userId="da1798d5-7e4e-4152-b071-9c427090fd02" providerId="ADAL" clId="{7EFF1D89-E885-4441-9CAE-A2070226168E}" dt="2023-12-06T00:30:54.963" v="467"/>
          <ac:spMkLst>
            <pc:docMk/>
            <pc:sldMk cId="609554260" sldId="2147480158"/>
            <ac:spMk id="24" creationId="{D876A22F-E0D5-4BA0-A2A0-CC910666B8C6}"/>
          </ac:spMkLst>
        </pc:spChg>
        <pc:spChg chg="mod ord">
          <ac:chgData name="Tan, Eric" userId="da1798d5-7e4e-4152-b071-9c427090fd02" providerId="ADAL" clId="{7EFF1D89-E885-4441-9CAE-A2070226168E}" dt="2023-12-06T00:30:54.964" v="469"/>
          <ac:spMkLst>
            <pc:docMk/>
            <pc:sldMk cId="609554260" sldId="2147480158"/>
            <ac:spMk id="25" creationId="{2A06289C-3D63-4351-8D81-8A7BE56E44E3}"/>
          </ac:spMkLst>
        </pc:spChg>
        <pc:spChg chg="mod ord">
          <ac:chgData name="Tan, Eric" userId="da1798d5-7e4e-4152-b071-9c427090fd02" providerId="ADAL" clId="{7EFF1D89-E885-4441-9CAE-A2070226168E}" dt="2023-12-06T00:30:54.965" v="471"/>
          <ac:spMkLst>
            <pc:docMk/>
            <pc:sldMk cId="609554260" sldId="2147480158"/>
            <ac:spMk id="26" creationId="{1F016ACC-5494-447A-AEF0-E9BB4098C053}"/>
          </ac:spMkLst>
        </pc:spChg>
        <pc:spChg chg="mod">
          <ac:chgData name="Tan, Eric" userId="da1798d5-7e4e-4152-b071-9c427090fd02" providerId="ADAL" clId="{7EFF1D89-E885-4441-9CAE-A2070226168E}" dt="2023-12-06T00:30:54.977" v="488"/>
          <ac:spMkLst>
            <pc:docMk/>
            <pc:sldMk cId="609554260" sldId="2147480158"/>
            <ac:spMk id="34" creationId="{6DA486E8-C69E-4434-86E3-AAE8A294FA1E}"/>
          </ac:spMkLst>
        </pc:spChg>
        <pc:spChg chg="mod ord">
          <ac:chgData name="Tan, Eric" userId="da1798d5-7e4e-4152-b071-9c427090fd02" providerId="ADAL" clId="{7EFF1D89-E885-4441-9CAE-A2070226168E}" dt="2023-12-06T00:30:54.967" v="473"/>
          <ac:spMkLst>
            <pc:docMk/>
            <pc:sldMk cId="609554260" sldId="2147480158"/>
            <ac:spMk id="41" creationId="{88DAFDC7-ADD8-4667-979D-0352A76C4205}"/>
          </ac:spMkLst>
        </pc:spChg>
        <pc:spChg chg="mod ord">
          <ac:chgData name="Tan, Eric" userId="da1798d5-7e4e-4152-b071-9c427090fd02" providerId="ADAL" clId="{7EFF1D89-E885-4441-9CAE-A2070226168E}" dt="2023-12-06T00:30:54.971" v="477"/>
          <ac:spMkLst>
            <pc:docMk/>
            <pc:sldMk cId="609554260" sldId="2147480158"/>
            <ac:spMk id="51" creationId="{92EEA932-28AE-4CD1-9744-4C59883B0272}"/>
          </ac:spMkLst>
        </pc:spChg>
        <pc:spChg chg="mod ord">
          <ac:chgData name="Tan, Eric" userId="da1798d5-7e4e-4152-b071-9c427090fd02" providerId="ADAL" clId="{7EFF1D89-E885-4441-9CAE-A2070226168E}" dt="2023-12-06T00:30:54.972" v="479"/>
          <ac:spMkLst>
            <pc:docMk/>
            <pc:sldMk cId="609554260" sldId="2147480158"/>
            <ac:spMk id="66" creationId="{608209AE-2CAA-4B47-A57E-8FD6BDFD9CC8}"/>
          </ac:spMkLst>
        </pc:spChg>
        <pc:spChg chg="mod ord">
          <ac:chgData name="Tan, Eric" userId="da1798d5-7e4e-4152-b071-9c427090fd02" providerId="ADAL" clId="{7EFF1D89-E885-4441-9CAE-A2070226168E}" dt="2023-12-06T00:30:54.973" v="481"/>
          <ac:spMkLst>
            <pc:docMk/>
            <pc:sldMk cId="609554260" sldId="2147480158"/>
            <ac:spMk id="74" creationId="{A34FA41B-F56A-426D-A3ED-13E05F3D0174}"/>
          </ac:spMkLst>
        </pc:spChg>
        <pc:spChg chg="mod ord">
          <ac:chgData name="Tan, Eric" userId="da1798d5-7e4e-4152-b071-9c427090fd02" providerId="ADAL" clId="{7EFF1D89-E885-4441-9CAE-A2070226168E}" dt="2023-12-06T00:30:54.974" v="483"/>
          <ac:spMkLst>
            <pc:docMk/>
            <pc:sldMk cId="609554260" sldId="2147480158"/>
            <ac:spMk id="81" creationId="{5F0F53E3-F092-40AC-B7F4-538551F08A1B}"/>
          </ac:spMkLst>
        </pc:spChg>
        <pc:spChg chg="mod ord">
          <ac:chgData name="Tan, Eric" userId="da1798d5-7e4e-4152-b071-9c427090fd02" providerId="ADAL" clId="{7EFF1D89-E885-4441-9CAE-A2070226168E}" dt="2023-12-06T00:30:54.975" v="485"/>
          <ac:spMkLst>
            <pc:docMk/>
            <pc:sldMk cId="609554260" sldId="2147480158"/>
            <ac:spMk id="98" creationId="{66D8A7B0-3464-4086-B150-CB03DC783C56}"/>
          </ac:spMkLst>
        </pc:spChg>
        <pc:grpChg chg="mod ord">
          <ac:chgData name="Tan, Eric" userId="da1798d5-7e4e-4152-b071-9c427090fd02" providerId="ADAL" clId="{7EFF1D89-E885-4441-9CAE-A2070226168E}" dt="2023-12-06T00:30:54.976" v="487"/>
          <ac:grpSpMkLst>
            <pc:docMk/>
            <pc:sldMk cId="609554260" sldId="2147480158"/>
            <ac:grpSpMk id="33" creationId="{F9637DA9-1651-E59D-6E87-F101C1BF6EE0}"/>
          </ac:grpSpMkLst>
        </pc:grpChg>
        <pc:graphicFrameChg chg="del">
          <ac:chgData name="Tan, Eric" userId="da1798d5-7e4e-4152-b071-9c427090fd02" providerId="ADAL" clId="{7EFF1D89-E885-4441-9CAE-A2070226168E}" dt="2023-12-06T00:30:54.911" v="445"/>
          <ac:graphicFrameMkLst>
            <pc:docMk/>
            <pc:sldMk cId="609554260" sldId="2147480158"/>
            <ac:graphicFrameMk id="3" creationId="{424E2895-6CD4-1DE2-9E4A-616053FEE926}"/>
          </ac:graphicFrameMkLst>
        </pc:graphicFrameChg>
        <pc:graphicFrameChg chg="add mod replST">
          <ac:chgData name="Tan, Eric" userId="da1798d5-7e4e-4152-b071-9c427090fd02" providerId="ADAL" clId="{7EFF1D89-E885-4441-9CAE-A2070226168E}" dt="2023-12-06T00:30:54.955" v="453"/>
          <ac:graphicFrameMkLst>
            <pc:docMk/>
            <pc:sldMk cId="609554260" sldId="2147480158"/>
            <ac:graphicFrameMk id="4" creationId="{820355B8-71C8-725B-1364-D0755BB6F9AB}"/>
          </ac:graphicFrameMkLst>
        </pc:graphicFrameChg>
        <pc:graphicFrameChg chg="mod">
          <ac:chgData name="Tan, Eric" userId="da1798d5-7e4e-4152-b071-9c427090fd02" providerId="ADAL" clId="{7EFF1D89-E885-4441-9CAE-A2070226168E}" dt="2023-12-06T00:30:55.086" v="494"/>
          <ac:graphicFrameMkLst>
            <pc:docMk/>
            <pc:sldMk cId="609554260" sldId="2147480158"/>
            <ac:graphicFrameMk id="8" creationId="{6D8B821D-22DE-4DDD-8336-EDB5AE08327D}"/>
          </ac:graphicFrameMkLst>
        </pc:graphicFrameChg>
        <pc:graphicFrameChg chg="mod">
          <ac:chgData name="Tan, Eric" userId="da1798d5-7e4e-4152-b071-9c427090fd02" providerId="ADAL" clId="{7EFF1D89-E885-4441-9CAE-A2070226168E}" dt="2023-12-06T00:30:54.955" v="452"/>
          <ac:graphicFrameMkLst>
            <pc:docMk/>
            <pc:sldMk cId="609554260" sldId="2147480158"/>
            <ac:graphicFrameMk id="27" creationId="{061017AC-8F8B-958C-3216-B1BA5C2CC1E1}"/>
          </ac:graphicFrameMkLst>
        </pc:graphicFrameChg>
        <pc:cxnChg chg="mod ord">
          <ac:chgData name="Tan, Eric" userId="da1798d5-7e4e-4152-b071-9c427090fd02" providerId="ADAL" clId="{7EFF1D89-E885-4441-9CAE-A2070226168E}" dt="2023-12-06T00:30:54.969" v="475"/>
          <ac:cxnSpMkLst>
            <pc:docMk/>
            <pc:sldMk cId="609554260" sldId="2147480158"/>
            <ac:cxnSpMk id="45" creationId="{A2F453BF-3ED6-4297-B891-00BFB6DA7255}"/>
          </ac:cxnSpMkLst>
        </pc:cxnChg>
      </pc:sldChg>
      <pc:sldChg chg="addSp delSp modSp mod">
        <pc:chgData name="Tan, Eric" userId="da1798d5-7e4e-4152-b071-9c427090fd02" providerId="ADAL" clId="{7EFF1D89-E885-4441-9CAE-A2070226168E}" dt="2023-12-06T00:30:52.857" v="351"/>
        <pc:sldMkLst>
          <pc:docMk/>
          <pc:sldMk cId="2546154063" sldId="2147480299"/>
        </pc:sldMkLst>
        <pc:spChg chg="mod ord">
          <ac:chgData name="Tan, Eric" userId="da1798d5-7e4e-4152-b071-9c427090fd02" providerId="ADAL" clId="{7EFF1D89-E885-4441-9CAE-A2070226168E}" dt="2023-12-06T00:30:52.556" v="184"/>
          <ac:spMkLst>
            <pc:docMk/>
            <pc:sldMk cId="2546154063" sldId="2147480299"/>
            <ac:spMk id="2" creationId="{5D98E148-C79D-464C-A199-11A0B45FED14}"/>
          </ac:spMkLst>
        </pc:spChg>
        <pc:spChg chg="mod ord">
          <ac:chgData name="Tan, Eric" userId="da1798d5-7e4e-4152-b071-9c427090fd02" providerId="ADAL" clId="{7EFF1D89-E885-4441-9CAE-A2070226168E}" dt="2023-12-06T00:30:52.539" v="158"/>
          <ac:spMkLst>
            <pc:docMk/>
            <pc:sldMk cId="2546154063" sldId="2147480299"/>
            <ac:spMk id="3" creationId="{57EE5634-1F41-4C1E-A1C8-2DB24D32288E}"/>
          </ac:spMkLst>
        </pc:spChg>
        <pc:spChg chg="add del mod modVis">
          <ac:chgData name="Tan, Eric" userId="da1798d5-7e4e-4152-b071-9c427090fd02" providerId="ADAL" clId="{7EFF1D89-E885-4441-9CAE-A2070226168E}" dt="2023-12-06T00:30:52.810" v="349"/>
          <ac:spMkLst>
            <pc:docMk/>
            <pc:sldMk cId="2546154063" sldId="2147480299"/>
            <ac:spMk id="4" creationId="{AEE1A6C0-C641-5BA8-C5F4-95046D9D14F6}"/>
          </ac:spMkLst>
        </pc:spChg>
        <pc:spChg chg="mod ord">
          <ac:chgData name="Tan, Eric" userId="da1798d5-7e4e-4152-b071-9c427090fd02" providerId="ADAL" clId="{7EFF1D89-E885-4441-9CAE-A2070226168E}" dt="2023-12-06T00:30:52.563" v="196"/>
          <ac:spMkLst>
            <pc:docMk/>
            <pc:sldMk cId="2546154063" sldId="2147480299"/>
            <ac:spMk id="5" creationId="{2DE25CE4-BC39-43FE-8212-F0AA3A7F8066}"/>
          </ac:spMkLst>
        </pc:spChg>
        <pc:spChg chg="mod ord">
          <ac:chgData name="Tan, Eric" userId="da1798d5-7e4e-4152-b071-9c427090fd02" providerId="ADAL" clId="{7EFF1D89-E885-4441-9CAE-A2070226168E}" dt="2023-12-06T00:30:52.557" v="186"/>
          <ac:spMkLst>
            <pc:docMk/>
            <pc:sldMk cId="2546154063" sldId="2147480299"/>
            <ac:spMk id="7" creationId="{D93F91B1-551A-CFEE-D2C1-4220B4F0A0BA}"/>
          </ac:spMkLst>
        </pc:spChg>
        <pc:spChg chg="mod ord">
          <ac:chgData name="Tan, Eric" userId="da1798d5-7e4e-4152-b071-9c427090fd02" providerId="ADAL" clId="{7EFF1D89-E885-4441-9CAE-A2070226168E}" dt="2023-12-06T00:30:52.543" v="162"/>
          <ac:spMkLst>
            <pc:docMk/>
            <pc:sldMk cId="2546154063" sldId="2147480299"/>
            <ac:spMk id="10" creationId="{3B0DEC2D-C703-429F-B549-14C539916083}"/>
          </ac:spMkLst>
        </pc:spChg>
        <pc:spChg chg="mod">
          <ac:chgData name="Tan, Eric" userId="da1798d5-7e4e-4152-b071-9c427090fd02" providerId="ADAL" clId="{7EFF1D89-E885-4441-9CAE-A2070226168E}" dt="2023-12-06T00:30:52.532" v="152"/>
          <ac:spMkLst>
            <pc:docMk/>
            <pc:sldMk cId="2546154063" sldId="2147480299"/>
            <ac:spMk id="11" creationId="{3271CF9D-5D0C-4EE6-8619-FDBB7483897E}"/>
          </ac:spMkLst>
        </pc:spChg>
        <pc:spChg chg="mod ord">
          <ac:chgData name="Tan, Eric" userId="da1798d5-7e4e-4152-b071-9c427090fd02" providerId="ADAL" clId="{7EFF1D89-E885-4441-9CAE-A2070226168E}" dt="2023-12-06T00:30:52.558" v="188"/>
          <ac:spMkLst>
            <pc:docMk/>
            <pc:sldMk cId="2546154063" sldId="2147480299"/>
            <ac:spMk id="14" creationId="{61AAB0EA-84CB-A351-EC14-3359725E879E}"/>
          </ac:spMkLst>
        </pc:spChg>
        <pc:spChg chg="mod ord">
          <ac:chgData name="Tan, Eric" userId="da1798d5-7e4e-4152-b071-9c427090fd02" providerId="ADAL" clId="{7EFF1D89-E885-4441-9CAE-A2070226168E}" dt="2023-12-06T00:30:52.536" v="156"/>
          <ac:spMkLst>
            <pc:docMk/>
            <pc:sldMk cId="2546154063" sldId="2147480299"/>
            <ac:spMk id="15" creationId="{80D75419-9211-4AF8-81A7-76F8070E97E8}"/>
          </ac:spMkLst>
        </pc:spChg>
        <pc:spChg chg="mod ord">
          <ac:chgData name="Tan, Eric" userId="da1798d5-7e4e-4152-b071-9c427090fd02" providerId="ADAL" clId="{7EFF1D89-E885-4441-9CAE-A2070226168E}" dt="2023-12-06T00:30:52.559" v="190"/>
          <ac:spMkLst>
            <pc:docMk/>
            <pc:sldMk cId="2546154063" sldId="2147480299"/>
            <ac:spMk id="16" creationId="{8C153FB1-2C43-52E2-D326-762A9B8CD6D6}"/>
          </ac:spMkLst>
        </pc:spChg>
        <pc:spChg chg="mod">
          <ac:chgData name="Tan, Eric" userId="da1798d5-7e4e-4152-b071-9c427090fd02" providerId="ADAL" clId="{7EFF1D89-E885-4441-9CAE-A2070226168E}" dt="2023-12-06T00:30:52.533" v="153"/>
          <ac:spMkLst>
            <pc:docMk/>
            <pc:sldMk cId="2546154063" sldId="2147480299"/>
            <ac:spMk id="17" creationId="{BB63B457-3D0D-4F36-A01F-A05089FEACB1}"/>
          </ac:spMkLst>
        </pc:spChg>
        <pc:spChg chg="mod ord">
          <ac:chgData name="Tan, Eric" userId="da1798d5-7e4e-4152-b071-9c427090fd02" providerId="ADAL" clId="{7EFF1D89-E885-4441-9CAE-A2070226168E}" dt="2023-12-06T00:30:52.560" v="192"/>
          <ac:spMkLst>
            <pc:docMk/>
            <pc:sldMk cId="2546154063" sldId="2147480299"/>
            <ac:spMk id="18" creationId="{73E8A1D0-67EF-93FB-5C25-F2D93FE710DD}"/>
          </ac:spMkLst>
        </pc:spChg>
        <pc:spChg chg="mod">
          <ac:chgData name="Tan, Eric" userId="da1798d5-7e4e-4152-b071-9c427090fd02" providerId="ADAL" clId="{7EFF1D89-E885-4441-9CAE-A2070226168E}" dt="2023-12-06T00:30:52.534" v="154"/>
          <ac:spMkLst>
            <pc:docMk/>
            <pc:sldMk cId="2546154063" sldId="2147480299"/>
            <ac:spMk id="19" creationId="{2A8F0274-D261-4894-97AD-8F2DB20D8AC2}"/>
          </ac:spMkLst>
        </pc:spChg>
        <pc:spChg chg="mod ord">
          <ac:chgData name="Tan, Eric" userId="da1798d5-7e4e-4152-b071-9c427090fd02" providerId="ADAL" clId="{7EFF1D89-E885-4441-9CAE-A2070226168E}" dt="2023-12-06T00:30:52.561" v="194"/>
          <ac:spMkLst>
            <pc:docMk/>
            <pc:sldMk cId="2546154063" sldId="2147480299"/>
            <ac:spMk id="20" creationId="{A9F4B301-5AA8-2776-CF47-0D843C1F222B}"/>
          </ac:spMkLst>
        </pc:spChg>
        <pc:spChg chg="mod">
          <ac:chgData name="Tan, Eric" userId="da1798d5-7e4e-4152-b071-9c427090fd02" providerId="ADAL" clId="{7EFF1D89-E885-4441-9CAE-A2070226168E}" dt="2023-12-06T00:30:52.564" v="197"/>
          <ac:spMkLst>
            <pc:docMk/>
            <pc:sldMk cId="2546154063" sldId="2147480299"/>
            <ac:spMk id="38" creationId="{B1D284C1-D87F-4216-9A9A-14D8C7FEEBBA}"/>
          </ac:spMkLst>
        </pc:spChg>
        <pc:spChg chg="mod ord">
          <ac:chgData name="Tan, Eric" userId="da1798d5-7e4e-4152-b071-9c427090fd02" providerId="ADAL" clId="{7EFF1D89-E885-4441-9CAE-A2070226168E}" dt="2023-12-06T00:30:52.550" v="174"/>
          <ac:spMkLst>
            <pc:docMk/>
            <pc:sldMk cId="2546154063" sldId="2147480299"/>
            <ac:spMk id="54" creationId="{2E7FCCCD-3DC4-45A4-967E-1F7A42C427D9}"/>
          </ac:spMkLst>
        </pc:spChg>
        <pc:spChg chg="mod ord">
          <ac:chgData name="Tan, Eric" userId="da1798d5-7e4e-4152-b071-9c427090fd02" providerId="ADAL" clId="{7EFF1D89-E885-4441-9CAE-A2070226168E}" dt="2023-12-06T00:30:52.551" v="176"/>
          <ac:spMkLst>
            <pc:docMk/>
            <pc:sldMk cId="2546154063" sldId="2147480299"/>
            <ac:spMk id="57" creationId="{0DBDC4DF-7464-48F1-A7E1-36D50B8B8311}"/>
          </ac:spMkLst>
        </pc:spChg>
        <pc:spChg chg="mod ord">
          <ac:chgData name="Tan, Eric" userId="da1798d5-7e4e-4152-b071-9c427090fd02" providerId="ADAL" clId="{7EFF1D89-E885-4441-9CAE-A2070226168E}" dt="2023-12-06T00:30:52.544" v="164"/>
          <ac:spMkLst>
            <pc:docMk/>
            <pc:sldMk cId="2546154063" sldId="2147480299"/>
            <ac:spMk id="59" creationId="{07C5C10B-8A5F-4993-9C95-D665603804B2}"/>
          </ac:spMkLst>
        </pc:spChg>
        <pc:spChg chg="mod ord">
          <ac:chgData name="Tan, Eric" userId="da1798d5-7e4e-4152-b071-9c427090fd02" providerId="ADAL" clId="{7EFF1D89-E885-4441-9CAE-A2070226168E}" dt="2023-12-06T00:30:52.545" v="166"/>
          <ac:spMkLst>
            <pc:docMk/>
            <pc:sldMk cId="2546154063" sldId="2147480299"/>
            <ac:spMk id="60" creationId="{9146E2AD-6E73-4B31-9DEB-0D4262DF4EB6}"/>
          </ac:spMkLst>
        </pc:spChg>
        <pc:spChg chg="mod ord">
          <ac:chgData name="Tan, Eric" userId="da1798d5-7e4e-4152-b071-9c427090fd02" providerId="ADAL" clId="{7EFF1D89-E885-4441-9CAE-A2070226168E}" dt="2023-12-06T00:30:52.546" v="168"/>
          <ac:spMkLst>
            <pc:docMk/>
            <pc:sldMk cId="2546154063" sldId="2147480299"/>
            <ac:spMk id="61" creationId="{EB4BE649-1116-40A7-8C91-CB8232DA1A58}"/>
          </ac:spMkLst>
        </pc:spChg>
        <pc:spChg chg="mod">
          <ac:chgData name="Tan, Eric" userId="da1798d5-7e4e-4152-b071-9c427090fd02" providerId="ADAL" clId="{7EFF1D89-E885-4441-9CAE-A2070226168E}" dt="2023-12-06T00:30:52.526" v="145"/>
          <ac:spMkLst>
            <pc:docMk/>
            <pc:sldMk cId="2546154063" sldId="2147480299"/>
            <ac:spMk id="436" creationId="{E0C3A5E5-B8E5-4371-A21A-1235EBC957F7}"/>
          </ac:spMkLst>
        </pc:spChg>
        <pc:spChg chg="mod">
          <ac:chgData name="Tan, Eric" userId="da1798d5-7e4e-4152-b071-9c427090fd02" providerId="ADAL" clId="{7EFF1D89-E885-4441-9CAE-A2070226168E}" dt="2023-12-06T00:30:52.526" v="146"/>
          <ac:spMkLst>
            <pc:docMk/>
            <pc:sldMk cId="2546154063" sldId="2147480299"/>
            <ac:spMk id="438" creationId="{1D1D8045-B8CE-4CA7-A160-C8774D9644BD}"/>
          </ac:spMkLst>
        </pc:spChg>
        <pc:spChg chg="mod">
          <ac:chgData name="Tan, Eric" userId="da1798d5-7e4e-4152-b071-9c427090fd02" providerId="ADAL" clId="{7EFF1D89-E885-4441-9CAE-A2070226168E}" dt="2023-12-06T00:30:52.527" v="147"/>
          <ac:spMkLst>
            <pc:docMk/>
            <pc:sldMk cId="2546154063" sldId="2147480299"/>
            <ac:spMk id="440" creationId="{02C0226D-F566-463B-83AC-8977DC218AD9}"/>
          </ac:spMkLst>
        </pc:spChg>
        <pc:spChg chg="mod">
          <ac:chgData name="Tan, Eric" userId="da1798d5-7e4e-4152-b071-9c427090fd02" providerId="ADAL" clId="{7EFF1D89-E885-4441-9CAE-A2070226168E}" dt="2023-12-06T00:30:52.528" v="148"/>
          <ac:spMkLst>
            <pc:docMk/>
            <pc:sldMk cId="2546154063" sldId="2147480299"/>
            <ac:spMk id="442" creationId="{B77DE855-F37C-4C0C-862B-19D111F80ED2}"/>
          </ac:spMkLst>
        </pc:spChg>
        <pc:spChg chg="mod">
          <ac:chgData name="Tan, Eric" userId="da1798d5-7e4e-4152-b071-9c427090fd02" providerId="ADAL" clId="{7EFF1D89-E885-4441-9CAE-A2070226168E}" dt="2023-12-06T00:30:52.529" v="149"/>
          <ac:spMkLst>
            <pc:docMk/>
            <pc:sldMk cId="2546154063" sldId="2147480299"/>
            <ac:spMk id="444" creationId="{41C1750C-4FCC-4C46-A311-B17152FA50AE}"/>
          </ac:spMkLst>
        </pc:spChg>
        <pc:spChg chg="mod">
          <ac:chgData name="Tan, Eric" userId="da1798d5-7e4e-4152-b071-9c427090fd02" providerId="ADAL" clId="{7EFF1D89-E885-4441-9CAE-A2070226168E}" dt="2023-12-06T00:30:52.530" v="150"/>
          <ac:spMkLst>
            <pc:docMk/>
            <pc:sldMk cId="2546154063" sldId="2147480299"/>
            <ac:spMk id="446" creationId="{A5EA2E65-74D4-4F6D-9A32-03625890849A}"/>
          </ac:spMkLst>
        </pc:spChg>
        <pc:spChg chg="mod">
          <ac:chgData name="Tan, Eric" userId="da1798d5-7e4e-4152-b071-9c427090fd02" providerId="ADAL" clId="{7EFF1D89-E885-4441-9CAE-A2070226168E}" dt="2023-12-06T00:30:52.531" v="151"/>
          <ac:spMkLst>
            <pc:docMk/>
            <pc:sldMk cId="2546154063" sldId="2147480299"/>
            <ac:spMk id="448" creationId="{A88211D7-6FA3-4B40-BA95-353B47330D34}"/>
          </ac:spMkLst>
        </pc:spChg>
        <pc:spChg chg="mod ord">
          <ac:chgData name="Tan, Eric" userId="da1798d5-7e4e-4152-b071-9c427090fd02" providerId="ADAL" clId="{7EFF1D89-E885-4441-9CAE-A2070226168E}" dt="2023-12-06T00:30:52.554" v="180"/>
          <ac:spMkLst>
            <pc:docMk/>
            <pc:sldMk cId="2546154063" sldId="2147480299"/>
            <ac:spMk id="454" creationId="{2A7C73DF-8FBF-4214-83B6-BE4005FFA34D}"/>
          </ac:spMkLst>
        </pc:spChg>
        <pc:spChg chg="mod ord">
          <ac:chgData name="Tan, Eric" userId="da1798d5-7e4e-4152-b071-9c427090fd02" providerId="ADAL" clId="{7EFF1D89-E885-4441-9CAE-A2070226168E}" dt="2023-12-06T00:30:52.541" v="160"/>
          <ac:spMkLst>
            <pc:docMk/>
            <pc:sldMk cId="2546154063" sldId="2147480299"/>
            <ac:spMk id="484" creationId="{58F512E9-5BCE-46F7-9B8E-A299FCECA1A2}"/>
          </ac:spMkLst>
        </pc:spChg>
        <pc:grpChg chg="mod ord">
          <ac:chgData name="Tan, Eric" userId="da1798d5-7e4e-4152-b071-9c427090fd02" providerId="ADAL" clId="{7EFF1D89-E885-4441-9CAE-A2070226168E}" dt="2023-12-06T00:30:52.555" v="182"/>
          <ac:grpSpMkLst>
            <pc:docMk/>
            <pc:sldMk cId="2546154063" sldId="2147480299"/>
            <ac:grpSpMk id="13" creationId="{B44AC68B-6F30-AFE9-BB10-20FC681C7F2C}"/>
          </ac:grpSpMkLst>
        </pc:grpChg>
        <pc:graphicFrameChg chg="del">
          <ac:chgData name="Tan, Eric" userId="da1798d5-7e4e-4152-b071-9c427090fd02" providerId="ADAL" clId="{7EFF1D89-E885-4441-9CAE-A2070226168E}" dt="2023-12-06T00:30:52.455" v="137"/>
          <ac:graphicFrameMkLst>
            <pc:docMk/>
            <pc:sldMk cId="2546154063" sldId="2147480299"/>
            <ac:graphicFrameMk id="6" creationId="{8E934823-3754-3042-5FE8-5FBFB5244131}"/>
          </ac:graphicFrameMkLst>
        </pc:graphicFrameChg>
        <pc:graphicFrameChg chg="add mod replST">
          <ac:chgData name="Tan, Eric" userId="da1798d5-7e4e-4152-b071-9c427090fd02" providerId="ADAL" clId="{7EFF1D89-E885-4441-9CAE-A2070226168E}" dt="2023-12-06T00:30:52.525" v="144"/>
          <ac:graphicFrameMkLst>
            <pc:docMk/>
            <pc:sldMk cId="2546154063" sldId="2147480299"/>
            <ac:graphicFrameMk id="8" creationId="{F8E9AA79-D64D-E727-4136-8EE7F352801A}"/>
          </ac:graphicFrameMkLst>
        </pc:graphicFrameChg>
        <pc:graphicFrameChg chg="mod">
          <ac:chgData name="Tan, Eric" userId="da1798d5-7e4e-4152-b071-9c427090fd02" providerId="ADAL" clId="{7EFF1D89-E885-4441-9CAE-A2070226168E}" dt="2023-12-06T00:30:52.857" v="351"/>
          <ac:graphicFrameMkLst>
            <pc:docMk/>
            <pc:sldMk cId="2546154063" sldId="2147480299"/>
            <ac:graphicFrameMk id="27" creationId="{B36011EB-6B0D-4BA5-A41D-25E3019ECA18}"/>
          </ac:graphicFrameMkLst>
        </pc:graphicFrameChg>
        <pc:cxnChg chg="mod ord">
          <ac:chgData name="Tan, Eric" userId="da1798d5-7e4e-4152-b071-9c427090fd02" providerId="ADAL" clId="{7EFF1D89-E885-4441-9CAE-A2070226168E}" dt="2023-12-06T00:30:52.547" v="170"/>
          <ac:cxnSpMkLst>
            <pc:docMk/>
            <pc:sldMk cId="2546154063" sldId="2147480299"/>
            <ac:cxnSpMk id="31" creationId="{C4BE0305-9CA6-4C93-9B94-A14663C51773}"/>
          </ac:cxnSpMkLst>
        </pc:cxnChg>
        <pc:cxnChg chg="mod ord">
          <ac:chgData name="Tan, Eric" userId="da1798d5-7e4e-4152-b071-9c427090fd02" providerId="ADAL" clId="{7EFF1D89-E885-4441-9CAE-A2070226168E}" dt="2023-12-06T00:30:52.549" v="172"/>
          <ac:cxnSpMkLst>
            <pc:docMk/>
            <pc:sldMk cId="2546154063" sldId="2147480299"/>
            <ac:cxnSpMk id="62" creationId="{F29B515A-26B3-47EE-A2FA-0520195193BE}"/>
          </ac:cxnSpMkLst>
        </pc:cxnChg>
        <pc:cxnChg chg="mod ord">
          <ac:chgData name="Tan, Eric" userId="da1798d5-7e4e-4152-b071-9c427090fd02" providerId="ADAL" clId="{7EFF1D89-E885-4441-9CAE-A2070226168E}" dt="2023-12-06T00:30:52.553" v="178"/>
          <ac:cxnSpMkLst>
            <pc:docMk/>
            <pc:sldMk cId="2546154063" sldId="2147480299"/>
            <ac:cxnSpMk id="449" creationId="{B01D1FCF-08B2-49CC-A396-40E8E0CB7C37}"/>
          </ac:cxnSpMkLst>
        </pc:cxnChg>
      </pc:sldChg>
      <pc:sldChg chg="addSp delSp modSp mod">
        <pc:chgData name="Tan, Eric" userId="da1798d5-7e4e-4152-b071-9c427090fd02" providerId="ADAL" clId="{7EFF1D89-E885-4441-9CAE-A2070226168E}" dt="2023-12-06T00:30:52.896" v="355"/>
        <pc:sldMkLst>
          <pc:docMk/>
          <pc:sldMk cId="2456046079" sldId="2147480331"/>
        </pc:sldMkLst>
        <pc:spChg chg="mod ord">
          <ac:chgData name="Tan, Eric" userId="da1798d5-7e4e-4152-b071-9c427090fd02" providerId="ADAL" clId="{7EFF1D89-E885-4441-9CAE-A2070226168E}" dt="2023-12-06T00:30:52.773" v="287"/>
          <ac:spMkLst>
            <pc:docMk/>
            <pc:sldMk cId="2456046079" sldId="2147480331"/>
            <ac:spMk id="2" creationId="{FDF4DD68-0661-4AB8-9043-4C931F143101}"/>
          </ac:spMkLst>
        </pc:spChg>
        <pc:spChg chg="mod ord">
          <ac:chgData name="Tan, Eric" userId="da1798d5-7e4e-4152-b071-9c427090fd02" providerId="ADAL" clId="{7EFF1D89-E885-4441-9CAE-A2070226168E}" dt="2023-12-06T00:30:52.774" v="289"/>
          <ac:spMkLst>
            <pc:docMk/>
            <pc:sldMk cId="2456046079" sldId="2147480331"/>
            <ac:spMk id="3" creationId="{A8F780B0-3216-4C43-910A-51B83C5A4ED2}"/>
          </ac:spMkLst>
        </pc:spChg>
        <pc:spChg chg="add del mod modVis">
          <ac:chgData name="Tan, Eric" userId="da1798d5-7e4e-4152-b071-9c427090fd02" providerId="ADAL" clId="{7EFF1D89-E885-4441-9CAE-A2070226168E}" dt="2023-12-06T00:30:52.859" v="353"/>
          <ac:spMkLst>
            <pc:docMk/>
            <pc:sldMk cId="2456046079" sldId="2147480331"/>
            <ac:spMk id="4" creationId="{04B0C950-2CD4-95B2-31D8-71278FF2AE60}"/>
          </ac:spMkLst>
        </pc:spChg>
        <pc:spChg chg="mod ord">
          <ac:chgData name="Tan, Eric" userId="da1798d5-7e4e-4152-b071-9c427090fd02" providerId="ADAL" clId="{7EFF1D89-E885-4441-9CAE-A2070226168E}" dt="2023-12-06T00:30:52.775" v="291"/>
          <ac:spMkLst>
            <pc:docMk/>
            <pc:sldMk cId="2456046079" sldId="2147480331"/>
            <ac:spMk id="5" creationId="{92E1D42A-C52A-4354-B837-A487A4CB7E2D}"/>
          </ac:spMkLst>
        </pc:spChg>
        <pc:spChg chg="mod ord">
          <ac:chgData name="Tan, Eric" userId="da1798d5-7e4e-4152-b071-9c427090fd02" providerId="ADAL" clId="{7EFF1D89-E885-4441-9CAE-A2070226168E}" dt="2023-12-06T00:30:52.784" v="305"/>
          <ac:spMkLst>
            <pc:docMk/>
            <pc:sldMk cId="2456046079" sldId="2147480331"/>
            <ac:spMk id="29" creationId="{9BC17BC6-243B-46DA-8066-9B17DD8C91C3}"/>
          </ac:spMkLst>
        </pc:spChg>
        <pc:spChg chg="mod">
          <ac:chgData name="Tan, Eric" userId="da1798d5-7e4e-4152-b071-9c427090fd02" providerId="ADAL" clId="{7EFF1D89-E885-4441-9CAE-A2070226168E}" dt="2023-12-06T00:30:52.767" v="276"/>
          <ac:spMkLst>
            <pc:docMk/>
            <pc:sldMk cId="2456046079" sldId="2147480331"/>
            <ac:spMk id="49" creationId="{613453EC-7450-48E8-9F76-5E6F6802BDEA}"/>
          </ac:spMkLst>
        </pc:spChg>
        <pc:spChg chg="mod">
          <ac:chgData name="Tan, Eric" userId="da1798d5-7e4e-4152-b071-9c427090fd02" providerId="ADAL" clId="{7EFF1D89-E885-4441-9CAE-A2070226168E}" dt="2023-12-06T00:30:52.767" v="277"/>
          <ac:spMkLst>
            <pc:docMk/>
            <pc:sldMk cId="2456046079" sldId="2147480331"/>
            <ac:spMk id="50" creationId="{E03B5525-C8F3-4994-A7B4-0343D41D92D4}"/>
          </ac:spMkLst>
        </pc:spChg>
        <pc:spChg chg="mod">
          <ac:chgData name="Tan, Eric" userId="da1798d5-7e4e-4152-b071-9c427090fd02" providerId="ADAL" clId="{7EFF1D89-E885-4441-9CAE-A2070226168E}" dt="2023-12-06T00:30:52.768" v="278"/>
          <ac:spMkLst>
            <pc:docMk/>
            <pc:sldMk cId="2456046079" sldId="2147480331"/>
            <ac:spMk id="51" creationId="{24520842-AB6D-41C6-AD6B-D157AE40D426}"/>
          </ac:spMkLst>
        </pc:spChg>
        <pc:spChg chg="mod">
          <ac:chgData name="Tan, Eric" userId="da1798d5-7e4e-4152-b071-9c427090fd02" providerId="ADAL" clId="{7EFF1D89-E885-4441-9CAE-A2070226168E}" dt="2023-12-06T00:30:52.768" v="279"/>
          <ac:spMkLst>
            <pc:docMk/>
            <pc:sldMk cId="2456046079" sldId="2147480331"/>
            <ac:spMk id="52" creationId="{A0A81B36-0825-49F4-AC18-146C6491CF6D}"/>
          </ac:spMkLst>
        </pc:spChg>
        <pc:spChg chg="mod ord">
          <ac:chgData name="Tan, Eric" userId="da1798d5-7e4e-4152-b071-9c427090fd02" providerId="ADAL" clId="{7EFF1D89-E885-4441-9CAE-A2070226168E}" dt="2023-12-06T00:30:52.805" v="343"/>
          <ac:spMkLst>
            <pc:docMk/>
            <pc:sldMk cId="2456046079" sldId="2147480331"/>
            <ac:spMk id="55" creationId="{13D5987A-94D7-49E1-9847-7F6277B0CA1E}"/>
          </ac:spMkLst>
        </pc:spChg>
        <pc:spChg chg="mod ord">
          <ac:chgData name="Tan, Eric" userId="da1798d5-7e4e-4152-b071-9c427090fd02" providerId="ADAL" clId="{7EFF1D89-E885-4441-9CAE-A2070226168E}" dt="2023-12-06T00:30:52.806" v="345"/>
          <ac:spMkLst>
            <pc:docMk/>
            <pc:sldMk cId="2456046079" sldId="2147480331"/>
            <ac:spMk id="59" creationId="{1F53AE46-5CCD-4FF6-91E3-F88D73F75608}"/>
          </ac:spMkLst>
        </pc:spChg>
        <pc:spChg chg="mod">
          <ac:chgData name="Tan, Eric" userId="da1798d5-7e4e-4152-b071-9c427090fd02" providerId="ADAL" clId="{7EFF1D89-E885-4441-9CAE-A2070226168E}" dt="2023-12-06T00:30:52.777" v="293"/>
          <ac:spMkLst>
            <pc:docMk/>
            <pc:sldMk cId="2456046079" sldId="2147480331"/>
            <ac:spMk id="69" creationId="{099FBB6A-148E-437C-A367-C4FB64F9EFDC}"/>
          </ac:spMkLst>
        </pc:spChg>
        <pc:spChg chg="mod ord">
          <ac:chgData name="Tan, Eric" userId="da1798d5-7e4e-4152-b071-9c427090fd02" providerId="ADAL" clId="{7EFF1D89-E885-4441-9CAE-A2070226168E}" dt="2023-12-06T00:30:52.785" v="307"/>
          <ac:spMkLst>
            <pc:docMk/>
            <pc:sldMk cId="2456046079" sldId="2147480331"/>
            <ac:spMk id="91" creationId="{C1F17FAA-917D-4146-A2CC-FA3A1C84D274}"/>
          </ac:spMkLst>
        </pc:spChg>
        <pc:spChg chg="mod ord">
          <ac:chgData name="Tan, Eric" userId="da1798d5-7e4e-4152-b071-9c427090fd02" providerId="ADAL" clId="{7EFF1D89-E885-4441-9CAE-A2070226168E}" dt="2023-12-06T00:30:52.786" v="309"/>
          <ac:spMkLst>
            <pc:docMk/>
            <pc:sldMk cId="2456046079" sldId="2147480331"/>
            <ac:spMk id="92" creationId="{27EE9C08-3FE8-4D66-AC7E-67167B315115}"/>
          </ac:spMkLst>
        </pc:spChg>
        <pc:spChg chg="mod ord">
          <ac:chgData name="Tan, Eric" userId="da1798d5-7e4e-4152-b071-9c427090fd02" providerId="ADAL" clId="{7EFF1D89-E885-4441-9CAE-A2070226168E}" dt="2023-12-06T00:30:52.788" v="311"/>
          <ac:spMkLst>
            <pc:docMk/>
            <pc:sldMk cId="2456046079" sldId="2147480331"/>
            <ac:spMk id="104" creationId="{A22ABF4D-341B-4288-9D1F-79FE5E2070C2}"/>
          </ac:spMkLst>
        </pc:spChg>
        <pc:spChg chg="mod ord">
          <ac:chgData name="Tan, Eric" userId="da1798d5-7e4e-4152-b071-9c427090fd02" providerId="ADAL" clId="{7EFF1D89-E885-4441-9CAE-A2070226168E}" dt="2023-12-06T00:30:52.789" v="313"/>
          <ac:spMkLst>
            <pc:docMk/>
            <pc:sldMk cId="2456046079" sldId="2147480331"/>
            <ac:spMk id="111" creationId="{0BBBA59C-CAA5-46D8-AE26-03073B0B3784}"/>
          </ac:spMkLst>
        </pc:spChg>
        <pc:spChg chg="mod ord">
          <ac:chgData name="Tan, Eric" userId="da1798d5-7e4e-4152-b071-9c427090fd02" providerId="ADAL" clId="{7EFF1D89-E885-4441-9CAE-A2070226168E}" dt="2023-12-06T00:30:52.790" v="315"/>
          <ac:spMkLst>
            <pc:docMk/>
            <pc:sldMk cId="2456046079" sldId="2147480331"/>
            <ac:spMk id="147" creationId="{87F3A7A7-265D-4C37-9423-2144EAA9BCDD}"/>
          </ac:spMkLst>
        </pc:spChg>
        <pc:spChg chg="mod ord">
          <ac:chgData name="Tan, Eric" userId="da1798d5-7e4e-4152-b071-9c427090fd02" providerId="ADAL" clId="{7EFF1D89-E885-4441-9CAE-A2070226168E}" dt="2023-12-06T00:30:52.791" v="317"/>
          <ac:spMkLst>
            <pc:docMk/>
            <pc:sldMk cId="2456046079" sldId="2147480331"/>
            <ac:spMk id="160" creationId="{77C3638D-D7C0-4B52-AFC6-F654E842D2D5}"/>
          </ac:spMkLst>
        </pc:spChg>
        <pc:spChg chg="mod ord">
          <ac:chgData name="Tan, Eric" userId="da1798d5-7e4e-4152-b071-9c427090fd02" providerId="ADAL" clId="{7EFF1D89-E885-4441-9CAE-A2070226168E}" dt="2023-12-06T00:30:52.793" v="321"/>
          <ac:spMkLst>
            <pc:docMk/>
            <pc:sldMk cId="2456046079" sldId="2147480331"/>
            <ac:spMk id="222" creationId="{9424BA91-45B7-4237-8E75-E14C32ACD590}"/>
          </ac:spMkLst>
        </pc:spChg>
        <pc:spChg chg="mod ord">
          <ac:chgData name="Tan, Eric" userId="da1798d5-7e4e-4152-b071-9c427090fd02" providerId="ADAL" clId="{7EFF1D89-E885-4441-9CAE-A2070226168E}" dt="2023-12-06T00:30:52.795" v="323"/>
          <ac:spMkLst>
            <pc:docMk/>
            <pc:sldMk cId="2456046079" sldId="2147480331"/>
            <ac:spMk id="225" creationId="{1674AE26-0271-4A4B-A93F-41E347B84FBD}"/>
          </ac:spMkLst>
        </pc:spChg>
        <pc:spChg chg="mod ord">
          <ac:chgData name="Tan, Eric" userId="da1798d5-7e4e-4152-b071-9c427090fd02" providerId="ADAL" clId="{7EFF1D89-E885-4441-9CAE-A2070226168E}" dt="2023-12-06T00:30:52.796" v="325"/>
          <ac:spMkLst>
            <pc:docMk/>
            <pc:sldMk cId="2456046079" sldId="2147480331"/>
            <ac:spMk id="234" creationId="{112D9C05-6442-4A84-BF84-D47FA0834A14}"/>
          </ac:spMkLst>
        </pc:spChg>
        <pc:spChg chg="mod ord">
          <ac:chgData name="Tan, Eric" userId="da1798d5-7e4e-4152-b071-9c427090fd02" providerId="ADAL" clId="{7EFF1D89-E885-4441-9CAE-A2070226168E}" dt="2023-12-06T00:30:52.797" v="327"/>
          <ac:spMkLst>
            <pc:docMk/>
            <pc:sldMk cId="2456046079" sldId="2147480331"/>
            <ac:spMk id="235" creationId="{35A80F48-F66D-4F45-BF5A-C5027EA238AD}"/>
          </ac:spMkLst>
        </pc:spChg>
        <pc:spChg chg="mod ord">
          <ac:chgData name="Tan, Eric" userId="da1798d5-7e4e-4152-b071-9c427090fd02" providerId="ADAL" clId="{7EFF1D89-E885-4441-9CAE-A2070226168E}" dt="2023-12-06T00:30:52.798" v="329"/>
          <ac:spMkLst>
            <pc:docMk/>
            <pc:sldMk cId="2456046079" sldId="2147480331"/>
            <ac:spMk id="236" creationId="{1F8C9159-4F4C-4355-92E2-80F5C0B848EB}"/>
          </ac:spMkLst>
        </pc:spChg>
        <pc:spChg chg="mod ord">
          <ac:chgData name="Tan, Eric" userId="da1798d5-7e4e-4152-b071-9c427090fd02" providerId="ADAL" clId="{7EFF1D89-E885-4441-9CAE-A2070226168E}" dt="2023-12-06T00:30:52.799" v="331"/>
          <ac:spMkLst>
            <pc:docMk/>
            <pc:sldMk cId="2456046079" sldId="2147480331"/>
            <ac:spMk id="237" creationId="{67E13AD5-9C38-4DB9-A6A3-B3A45FF40CBE}"/>
          </ac:spMkLst>
        </pc:spChg>
        <pc:spChg chg="mod ord">
          <ac:chgData name="Tan, Eric" userId="da1798d5-7e4e-4152-b071-9c427090fd02" providerId="ADAL" clId="{7EFF1D89-E885-4441-9CAE-A2070226168E}" dt="2023-12-06T00:30:52.800" v="333"/>
          <ac:spMkLst>
            <pc:docMk/>
            <pc:sldMk cId="2456046079" sldId="2147480331"/>
            <ac:spMk id="238" creationId="{E8499E06-ED15-47D4-B8EC-34EACD82BB56}"/>
          </ac:spMkLst>
        </pc:spChg>
        <pc:spChg chg="mod ord">
          <ac:chgData name="Tan, Eric" userId="da1798d5-7e4e-4152-b071-9c427090fd02" providerId="ADAL" clId="{7EFF1D89-E885-4441-9CAE-A2070226168E}" dt="2023-12-06T00:30:52.801" v="335"/>
          <ac:spMkLst>
            <pc:docMk/>
            <pc:sldMk cId="2456046079" sldId="2147480331"/>
            <ac:spMk id="239" creationId="{7E0E948F-6AB7-4777-AB5E-B472AB6F5A88}"/>
          </ac:spMkLst>
        </pc:spChg>
        <pc:spChg chg="mod ord">
          <ac:chgData name="Tan, Eric" userId="da1798d5-7e4e-4152-b071-9c427090fd02" providerId="ADAL" clId="{7EFF1D89-E885-4441-9CAE-A2070226168E}" dt="2023-12-06T00:30:52.802" v="337"/>
          <ac:spMkLst>
            <pc:docMk/>
            <pc:sldMk cId="2456046079" sldId="2147480331"/>
            <ac:spMk id="241" creationId="{A2079992-753A-47AD-938F-04BEA7952817}"/>
          </ac:spMkLst>
        </pc:spChg>
        <pc:spChg chg="mod">
          <ac:chgData name="Tan, Eric" userId="da1798d5-7e4e-4152-b071-9c427090fd02" providerId="ADAL" clId="{7EFF1D89-E885-4441-9CAE-A2070226168E}" dt="2023-12-06T00:30:52.780" v="299"/>
          <ac:spMkLst>
            <pc:docMk/>
            <pc:sldMk cId="2456046079" sldId="2147480331"/>
            <ac:spMk id="321" creationId="{0DFF7248-01C8-4C2E-A12E-66269845DB24}"/>
          </ac:spMkLst>
        </pc:spChg>
        <pc:spChg chg="mod">
          <ac:chgData name="Tan, Eric" userId="da1798d5-7e4e-4152-b071-9c427090fd02" providerId="ADAL" clId="{7EFF1D89-E885-4441-9CAE-A2070226168E}" dt="2023-12-06T00:30:52.781" v="300"/>
          <ac:spMkLst>
            <pc:docMk/>
            <pc:sldMk cId="2456046079" sldId="2147480331"/>
            <ac:spMk id="325" creationId="{44A40B06-06D1-45CC-9259-CE41C21ABF46}"/>
          </ac:spMkLst>
        </pc:spChg>
        <pc:spChg chg="mod">
          <ac:chgData name="Tan, Eric" userId="da1798d5-7e4e-4152-b071-9c427090fd02" providerId="ADAL" clId="{7EFF1D89-E885-4441-9CAE-A2070226168E}" dt="2023-12-06T00:30:52.781" v="301"/>
          <ac:spMkLst>
            <pc:docMk/>
            <pc:sldMk cId="2456046079" sldId="2147480331"/>
            <ac:spMk id="329" creationId="{17CF44C1-5948-49B1-B4A9-ACFEF53C36E1}"/>
          </ac:spMkLst>
        </pc:spChg>
        <pc:spChg chg="mod">
          <ac:chgData name="Tan, Eric" userId="da1798d5-7e4e-4152-b071-9c427090fd02" providerId="ADAL" clId="{7EFF1D89-E885-4441-9CAE-A2070226168E}" dt="2023-12-06T00:30:52.777" v="294"/>
          <ac:spMkLst>
            <pc:docMk/>
            <pc:sldMk cId="2456046079" sldId="2147480331"/>
            <ac:spMk id="341" creationId="{E08B9300-5388-47C8-A8AB-DAF682F8F1EB}"/>
          </ac:spMkLst>
        </pc:spChg>
        <pc:spChg chg="mod">
          <ac:chgData name="Tan, Eric" userId="da1798d5-7e4e-4152-b071-9c427090fd02" providerId="ADAL" clId="{7EFF1D89-E885-4441-9CAE-A2070226168E}" dt="2023-12-06T00:30:52.778" v="295"/>
          <ac:spMkLst>
            <pc:docMk/>
            <pc:sldMk cId="2456046079" sldId="2147480331"/>
            <ac:spMk id="345" creationId="{D680F452-C281-4D15-965F-786D4BB73986}"/>
          </ac:spMkLst>
        </pc:spChg>
        <pc:spChg chg="mod">
          <ac:chgData name="Tan, Eric" userId="da1798d5-7e4e-4152-b071-9c427090fd02" providerId="ADAL" clId="{7EFF1D89-E885-4441-9CAE-A2070226168E}" dt="2023-12-06T00:30:52.779" v="296"/>
          <ac:spMkLst>
            <pc:docMk/>
            <pc:sldMk cId="2456046079" sldId="2147480331"/>
            <ac:spMk id="349" creationId="{84D20EA8-B92C-407D-AAC3-EEEF7B01ACA6}"/>
          </ac:spMkLst>
        </pc:spChg>
        <pc:spChg chg="mod">
          <ac:chgData name="Tan, Eric" userId="da1798d5-7e4e-4152-b071-9c427090fd02" providerId="ADAL" clId="{7EFF1D89-E885-4441-9CAE-A2070226168E}" dt="2023-12-06T00:30:52.779" v="297"/>
          <ac:spMkLst>
            <pc:docMk/>
            <pc:sldMk cId="2456046079" sldId="2147480331"/>
            <ac:spMk id="360" creationId="{932A010D-778E-4E94-ABEE-808C26793F23}"/>
          </ac:spMkLst>
        </pc:spChg>
        <pc:spChg chg="mod">
          <ac:chgData name="Tan, Eric" userId="da1798d5-7e4e-4152-b071-9c427090fd02" providerId="ADAL" clId="{7EFF1D89-E885-4441-9CAE-A2070226168E}" dt="2023-12-06T00:30:52.780" v="298"/>
          <ac:spMkLst>
            <pc:docMk/>
            <pc:sldMk cId="2456046079" sldId="2147480331"/>
            <ac:spMk id="362" creationId="{641AE471-97DF-4EA0-84A9-DB0503246119}"/>
          </ac:spMkLst>
        </pc:spChg>
        <pc:spChg chg="mod">
          <ac:chgData name="Tan, Eric" userId="da1798d5-7e4e-4152-b071-9c427090fd02" providerId="ADAL" clId="{7EFF1D89-E885-4441-9CAE-A2070226168E}" dt="2023-12-06T00:30:52.771" v="284"/>
          <ac:spMkLst>
            <pc:docMk/>
            <pc:sldMk cId="2456046079" sldId="2147480331"/>
            <ac:spMk id="430" creationId="{F7111433-DD5D-4E6E-876E-529DA79F4274}"/>
          </ac:spMkLst>
        </pc:spChg>
        <pc:spChg chg="mod ord">
          <ac:chgData name="Tan, Eric" userId="da1798d5-7e4e-4152-b071-9c427090fd02" providerId="ADAL" clId="{7EFF1D89-E885-4441-9CAE-A2070226168E}" dt="2023-12-06T00:30:52.782" v="303"/>
          <ac:spMkLst>
            <pc:docMk/>
            <pc:sldMk cId="2456046079" sldId="2147480331"/>
            <ac:spMk id="454" creationId="{A54FF3D0-8EA9-4E34-94BB-3D1F498C9838}"/>
          </ac:spMkLst>
        </pc:spChg>
        <pc:spChg chg="mod">
          <ac:chgData name="Tan, Eric" userId="da1798d5-7e4e-4152-b071-9c427090fd02" providerId="ADAL" clId="{7EFF1D89-E885-4441-9CAE-A2070226168E}" dt="2023-12-06T00:30:52.769" v="280"/>
          <ac:spMkLst>
            <pc:docMk/>
            <pc:sldMk cId="2456046079" sldId="2147480331"/>
            <ac:spMk id="537" creationId="{84D661F9-23D5-42BC-BFF0-70A035E21CB2}"/>
          </ac:spMkLst>
        </pc:spChg>
        <pc:spChg chg="mod">
          <ac:chgData name="Tan, Eric" userId="da1798d5-7e4e-4152-b071-9c427090fd02" providerId="ADAL" clId="{7EFF1D89-E885-4441-9CAE-A2070226168E}" dt="2023-12-06T00:30:52.769" v="281"/>
          <ac:spMkLst>
            <pc:docMk/>
            <pc:sldMk cId="2456046079" sldId="2147480331"/>
            <ac:spMk id="590" creationId="{30A7B0BA-80E6-4A9A-B051-D4E6D79C0243}"/>
          </ac:spMkLst>
        </pc:spChg>
        <pc:spChg chg="mod">
          <ac:chgData name="Tan, Eric" userId="da1798d5-7e4e-4152-b071-9c427090fd02" providerId="ADAL" clId="{7EFF1D89-E885-4441-9CAE-A2070226168E}" dt="2023-12-06T00:30:52.770" v="282"/>
          <ac:spMkLst>
            <pc:docMk/>
            <pc:sldMk cId="2456046079" sldId="2147480331"/>
            <ac:spMk id="591" creationId="{BBB9E0A7-C985-4D78-927B-C2CD0F059094}"/>
          </ac:spMkLst>
        </pc:spChg>
        <pc:spChg chg="mod">
          <ac:chgData name="Tan, Eric" userId="da1798d5-7e4e-4152-b071-9c427090fd02" providerId="ADAL" clId="{7EFF1D89-E885-4441-9CAE-A2070226168E}" dt="2023-12-06T00:30:52.771" v="283"/>
          <ac:spMkLst>
            <pc:docMk/>
            <pc:sldMk cId="2456046079" sldId="2147480331"/>
            <ac:spMk id="592" creationId="{5CFE6DED-3F6C-4DA3-B837-76BF1E34CA62}"/>
          </ac:spMkLst>
        </pc:spChg>
        <pc:spChg chg="mod">
          <ac:chgData name="Tan, Eric" userId="da1798d5-7e4e-4152-b071-9c427090fd02" providerId="ADAL" clId="{7EFF1D89-E885-4441-9CAE-A2070226168E}" dt="2023-12-06T00:30:52.772" v="285"/>
          <ac:spMkLst>
            <pc:docMk/>
            <pc:sldMk cId="2456046079" sldId="2147480331"/>
            <ac:spMk id="593" creationId="{EDF66EFF-062F-45A3-A8C6-88738F2A8B5D}"/>
          </ac:spMkLst>
        </pc:spChg>
        <pc:graphicFrameChg chg="del">
          <ac:chgData name="Tan, Eric" userId="da1798d5-7e4e-4152-b071-9c427090fd02" providerId="ADAL" clId="{7EFF1D89-E885-4441-9CAE-A2070226168E}" dt="2023-12-06T00:30:52.624" v="233"/>
          <ac:graphicFrameMkLst>
            <pc:docMk/>
            <pc:sldMk cId="2456046079" sldId="2147480331"/>
            <ac:graphicFrameMk id="6" creationId="{E71F4E16-FF5D-A8FE-3B65-6F7176C582C3}"/>
          </ac:graphicFrameMkLst>
        </pc:graphicFrameChg>
        <pc:graphicFrameChg chg="del">
          <ac:chgData name="Tan, Eric" userId="da1798d5-7e4e-4152-b071-9c427090fd02" providerId="ADAL" clId="{7EFF1D89-E885-4441-9CAE-A2070226168E}" dt="2023-12-06T00:30:52.725" v="268"/>
          <ac:graphicFrameMkLst>
            <pc:docMk/>
            <pc:sldMk cId="2456046079" sldId="2147480331"/>
            <ac:graphicFrameMk id="7" creationId="{377AD9E9-A32D-E15D-292C-D6992D751CE1}"/>
          </ac:graphicFrameMkLst>
        </pc:graphicFrameChg>
        <pc:graphicFrameChg chg="mod">
          <ac:chgData name="Tan, Eric" userId="da1798d5-7e4e-4152-b071-9c427090fd02" providerId="ADAL" clId="{7EFF1D89-E885-4441-9CAE-A2070226168E}" dt="2023-12-06T00:30:52.896" v="355"/>
          <ac:graphicFrameMkLst>
            <pc:docMk/>
            <pc:sldMk cId="2456046079" sldId="2147480331"/>
            <ac:graphicFrameMk id="8" creationId="{8AAEB06C-B1C5-4540-8D30-664DFB1F6D5D}"/>
          </ac:graphicFrameMkLst>
        </pc:graphicFrameChg>
        <pc:graphicFrameChg chg="add mod replST">
          <ac:chgData name="Tan, Eric" userId="da1798d5-7e4e-4152-b071-9c427090fd02" providerId="ADAL" clId="{7EFF1D89-E885-4441-9CAE-A2070226168E}" dt="2023-12-06T00:30:52.766" v="275"/>
          <ac:graphicFrameMkLst>
            <pc:docMk/>
            <pc:sldMk cId="2456046079" sldId="2147480331"/>
            <ac:graphicFrameMk id="9" creationId="{0B073EC6-8630-9585-0C6B-8C48EE884F89}"/>
          </ac:graphicFrameMkLst>
        </pc:graphicFrameChg>
        <pc:graphicFrameChg chg="add mod replST">
          <ac:chgData name="Tan, Eric" userId="da1798d5-7e4e-4152-b071-9c427090fd02" providerId="ADAL" clId="{7EFF1D89-E885-4441-9CAE-A2070226168E}" dt="2023-12-06T00:30:52.776" v="292"/>
          <ac:graphicFrameMkLst>
            <pc:docMk/>
            <pc:sldMk cId="2456046079" sldId="2147480331"/>
            <ac:graphicFrameMk id="10" creationId="{33CE47E4-62A5-C1C4-E06D-89DBED180455}"/>
          </ac:graphicFrameMkLst>
        </pc:graphicFrameChg>
        <pc:picChg chg="mod">
          <ac:chgData name="Tan, Eric" userId="da1798d5-7e4e-4152-b071-9c427090fd02" providerId="ADAL" clId="{7EFF1D89-E885-4441-9CAE-A2070226168E}" dt="2023-12-06T00:30:52.792" v="318"/>
          <ac:picMkLst>
            <pc:docMk/>
            <pc:sldMk cId="2456046079" sldId="2147480331"/>
            <ac:picMk id="468" creationId="{2233B054-BDB3-4669-97A8-A4FC4AD04D13}"/>
          </ac:picMkLst>
        </pc:picChg>
        <pc:picChg chg="mod">
          <ac:chgData name="Tan, Eric" userId="da1798d5-7e4e-4152-b071-9c427090fd02" providerId="ADAL" clId="{7EFF1D89-E885-4441-9CAE-A2070226168E}" dt="2023-12-06T00:30:52.792" v="319"/>
          <ac:picMkLst>
            <pc:docMk/>
            <pc:sldMk cId="2456046079" sldId="2147480331"/>
            <ac:picMk id="1028" creationId="{CF2DDBDB-F9EE-45CA-A624-18FEBCE81D92}"/>
          </ac:picMkLst>
        </pc:picChg>
        <pc:cxnChg chg="mod ord">
          <ac:chgData name="Tan, Eric" userId="da1798d5-7e4e-4152-b071-9c427090fd02" providerId="ADAL" clId="{7EFF1D89-E885-4441-9CAE-A2070226168E}" dt="2023-12-06T00:30:52.803" v="339"/>
          <ac:cxnSpMkLst>
            <pc:docMk/>
            <pc:sldMk cId="2456046079" sldId="2147480331"/>
            <ac:cxnSpMk id="54" creationId="{44065F5C-413F-40EF-BB13-F133424394C4}"/>
          </ac:cxnSpMkLst>
        </pc:cxnChg>
        <pc:cxnChg chg="mod ord">
          <ac:chgData name="Tan, Eric" userId="da1798d5-7e4e-4152-b071-9c427090fd02" providerId="ADAL" clId="{7EFF1D89-E885-4441-9CAE-A2070226168E}" dt="2023-12-06T00:30:52.804" v="341"/>
          <ac:cxnSpMkLst>
            <pc:docMk/>
            <pc:sldMk cId="2456046079" sldId="2147480331"/>
            <ac:cxnSpMk id="56" creationId="{9E67A79F-F00E-428F-AFDF-9F40D37C423A}"/>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17.bin"/><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mmcglobal-my.sharepoint.com/personal/ben_simpfendorfer_oliverwyman_com/Documents/2_Projects/Dashboards/Asia%20Macro/Data%20Output/asia_inflation.xlsx" TargetMode="Externa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20.bin"/><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25.bin"/><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chartUserShapes" Target="../drawings/drawing2.xml"/><Relationship Id="rId4" Type="http://schemas.openxmlformats.org/officeDocument/2006/relationships/oleObject" Target="https://mmcglobal-my.sharepoint.com/personal/ben_simpfendorfer_oliverwyman_com/Documents/2_Projects/Dashboards/Asia%20Macro/Data%20Output/supply%20chain.xlsx" TargetMode="Externa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48701012769706E-2"/>
          <c:y val="2.5987006496751622E-2"/>
          <c:w val="0.97710259797446064"/>
          <c:h val="0.94802598700649676"/>
        </c:manualLayout>
      </c:layout>
      <c:scatterChart>
        <c:scatterStyle val="lineMarker"/>
        <c:varyColors val="0"/>
        <c:ser>
          <c:idx val="0"/>
          <c:order val="0"/>
          <c:spPr>
            <a:ln w="19050" cmpd="sng" algn="ctr">
              <a:solidFill>
                <a:schemeClr val="accent3"/>
              </a:solidFill>
              <a:prstDash val="solid"/>
            </a:ln>
          </c:spPr>
          <c:marker>
            <c:symbol val="none"/>
          </c:marker>
          <c:xVal>
            <c:numRef>
              <c:f>Sheet1!$A$1:$IS$1</c:f>
              <c:numCache>
                <c:formatCode>General</c:formatCode>
                <c:ptCount val="253"/>
                <c:pt idx="0">
                  <c:v>-3653</c:v>
                </c:pt>
                <c:pt idx="1">
                  <c:v>-3562</c:v>
                </c:pt>
                <c:pt idx="2">
                  <c:v>-3471</c:v>
                </c:pt>
                <c:pt idx="3">
                  <c:v>-3379</c:v>
                </c:pt>
                <c:pt idx="4">
                  <c:v>-3287</c:v>
                </c:pt>
                <c:pt idx="5">
                  <c:v>-3197</c:v>
                </c:pt>
                <c:pt idx="6">
                  <c:v>-3106</c:v>
                </c:pt>
                <c:pt idx="7">
                  <c:v>-3014</c:v>
                </c:pt>
                <c:pt idx="8">
                  <c:v>-2922</c:v>
                </c:pt>
                <c:pt idx="9">
                  <c:v>-2832</c:v>
                </c:pt>
                <c:pt idx="10">
                  <c:v>-2741</c:v>
                </c:pt>
                <c:pt idx="11">
                  <c:v>-2649</c:v>
                </c:pt>
                <c:pt idx="12">
                  <c:v>-2557</c:v>
                </c:pt>
                <c:pt idx="13">
                  <c:v>-2467</c:v>
                </c:pt>
                <c:pt idx="14">
                  <c:v>-2376</c:v>
                </c:pt>
                <c:pt idx="15">
                  <c:v>-2284</c:v>
                </c:pt>
                <c:pt idx="16">
                  <c:v>-2192</c:v>
                </c:pt>
                <c:pt idx="17">
                  <c:v>-2101</c:v>
                </c:pt>
                <c:pt idx="18">
                  <c:v>-2010</c:v>
                </c:pt>
                <c:pt idx="19">
                  <c:v>-1918</c:v>
                </c:pt>
                <c:pt idx="20">
                  <c:v>-1826</c:v>
                </c:pt>
                <c:pt idx="21">
                  <c:v>-1736</c:v>
                </c:pt>
                <c:pt idx="22">
                  <c:v>-1645</c:v>
                </c:pt>
                <c:pt idx="23">
                  <c:v>-1553</c:v>
                </c:pt>
                <c:pt idx="24">
                  <c:v>-1461</c:v>
                </c:pt>
                <c:pt idx="25">
                  <c:v>-1371</c:v>
                </c:pt>
                <c:pt idx="26">
                  <c:v>-1280</c:v>
                </c:pt>
                <c:pt idx="27">
                  <c:v>-1188</c:v>
                </c:pt>
                <c:pt idx="28">
                  <c:v>-1096</c:v>
                </c:pt>
                <c:pt idx="29">
                  <c:v>-1006</c:v>
                </c:pt>
                <c:pt idx="30">
                  <c:v>-915</c:v>
                </c:pt>
                <c:pt idx="31">
                  <c:v>-823</c:v>
                </c:pt>
                <c:pt idx="32">
                  <c:v>-731</c:v>
                </c:pt>
                <c:pt idx="33">
                  <c:v>-640</c:v>
                </c:pt>
                <c:pt idx="34">
                  <c:v>-549</c:v>
                </c:pt>
                <c:pt idx="35">
                  <c:v>-457</c:v>
                </c:pt>
                <c:pt idx="36">
                  <c:v>-365</c:v>
                </c:pt>
                <c:pt idx="37">
                  <c:v>-275</c:v>
                </c:pt>
                <c:pt idx="38">
                  <c:v>-184</c:v>
                </c:pt>
                <c:pt idx="39">
                  <c:v>-92</c:v>
                </c:pt>
                <c:pt idx="40">
                  <c:v>0</c:v>
                </c:pt>
                <c:pt idx="41">
                  <c:v>90</c:v>
                </c:pt>
                <c:pt idx="42">
                  <c:v>181</c:v>
                </c:pt>
                <c:pt idx="43">
                  <c:v>273</c:v>
                </c:pt>
                <c:pt idx="44">
                  <c:v>365</c:v>
                </c:pt>
                <c:pt idx="45">
                  <c:v>455</c:v>
                </c:pt>
                <c:pt idx="46">
                  <c:v>546</c:v>
                </c:pt>
                <c:pt idx="47">
                  <c:v>638</c:v>
                </c:pt>
                <c:pt idx="48">
                  <c:v>730</c:v>
                </c:pt>
                <c:pt idx="49">
                  <c:v>821</c:v>
                </c:pt>
                <c:pt idx="50">
                  <c:v>912</c:v>
                </c:pt>
                <c:pt idx="51">
                  <c:v>1004</c:v>
                </c:pt>
                <c:pt idx="52">
                  <c:v>1096</c:v>
                </c:pt>
                <c:pt idx="53">
                  <c:v>1186</c:v>
                </c:pt>
                <c:pt idx="54">
                  <c:v>1277</c:v>
                </c:pt>
                <c:pt idx="55">
                  <c:v>1369</c:v>
                </c:pt>
                <c:pt idx="56">
                  <c:v>1461</c:v>
                </c:pt>
                <c:pt idx="57">
                  <c:v>1551</c:v>
                </c:pt>
                <c:pt idx="58">
                  <c:v>1642</c:v>
                </c:pt>
                <c:pt idx="59">
                  <c:v>1734</c:v>
                </c:pt>
                <c:pt idx="60">
                  <c:v>1826</c:v>
                </c:pt>
                <c:pt idx="61">
                  <c:v>1916</c:v>
                </c:pt>
                <c:pt idx="62">
                  <c:v>2007</c:v>
                </c:pt>
                <c:pt idx="63">
                  <c:v>2099</c:v>
                </c:pt>
                <c:pt idx="64">
                  <c:v>2191</c:v>
                </c:pt>
                <c:pt idx="65">
                  <c:v>2282</c:v>
                </c:pt>
                <c:pt idx="66">
                  <c:v>2373</c:v>
                </c:pt>
                <c:pt idx="67">
                  <c:v>2465</c:v>
                </c:pt>
                <c:pt idx="68">
                  <c:v>2557</c:v>
                </c:pt>
                <c:pt idx="69">
                  <c:v>2647</c:v>
                </c:pt>
                <c:pt idx="70">
                  <c:v>2738</c:v>
                </c:pt>
                <c:pt idx="71">
                  <c:v>2830</c:v>
                </c:pt>
                <c:pt idx="72">
                  <c:v>2922</c:v>
                </c:pt>
                <c:pt idx="73">
                  <c:v>3012</c:v>
                </c:pt>
                <c:pt idx="74">
                  <c:v>3103</c:v>
                </c:pt>
                <c:pt idx="75">
                  <c:v>3195</c:v>
                </c:pt>
                <c:pt idx="76">
                  <c:v>3287</c:v>
                </c:pt>
                <c:pt idx="77">
                  <c:v>3377</c:v>
                </c:pt>
                <c:pt idx="78">
                  <c:v>3468</c:v>
                </c:pt>
                <c:pt idx="79">
                  <c:v>3560</c:v>
                </c:pt>
                <c:pt idx="80">
                  <c:v>3652</c:v>
                </c:pt>
                <c:pt idx="81">
                  <c:v>3743</c:v>
                </c:pt>
                <c:pt idx="82">
                  <c:v>3834</c:v>
                </c:pt>
                <c:pt idx="83">
                  <c:v>3926</c:v>
                </c:pt>
                <c:pt idx="84">
                  <c:v>4018</c:v>
                </c:pt>
                <c:pt idx="85">
                  <c:v>4108</c:v>
                </c:pt>
                <c:pt idx="86">
                  <c:v>4199</c:v>
                </c:pt>
                <c:pt idx="87">
                  <c:v>4291</c:v>
                </c:pt>
                <c:pt idx="88">
                  <c:v>4383</c:v>
                </c:pt>
                <c:pt idx="89">
                  <c:v>4473</c:v>
                </c:pt>
                <c:pt idx="90">
                  <c:v>4564</c:v>
                </c:pt>
                <c:pt idx="91">
                  <c:v>4656</c:v>
                </c:pt>
                <c:pt idx="92">
                  <c:v>4748</c:v>
                </c:pt>
                <c:pt idx="93">
                  <c:v>4838</c:v>
                </c:pt>
                <c:pt idx="94">
                  <c:v>4929</c:v>
                </c:pt>
                <c:pt idx="95">
                  <c:v>5021</c:v>
                </c:pt>
                <c:pt idx="96">
                  <c:v>5113</c:v>
                </c:pt>
                <c:pt idx="97">
                  <c:v>5204</c:v>
                </c:pt>
                <c:pt idx="98">
                  <c:v>5295</c:v>
                </c:pt>
                <c:pt idx="99">
                  <c:v>5387</c:v>
                </c:pt>
                <c:pt idx="100">
                  <c:v>5479</c:v>
                </c:pt>
                <c:pt idx="101">
                  <c:v>5569</c:v>
                </c:pt>
                <c:pt idx="102">
                  <c:v>5660</c:v>
                </c:pt>
                <c:pt idx="103">
                  <c:v>5752</c:v>
                </c:pt>
                <c:pt idx="104">
                  <c:v>5844</c:v>
                </c:pt>
                <c:pt idx="105">
                  <c:v>5934</c:v>
                </c:pt>
                <c:pt idx="106">
                  <c:v>6025</c:v>
                </c:pt>
                <c:pt idx="107">
                  <c:v>6117</c:v>
                </c:pt>
                <c:pt idx="108">
                  <c:v>6209</c:v>
                </c:pt>
                <c:pt idx="109">
                  <c:v>6299</c:v>
                </c:pt>
                <c:pt idx="110">
                  <c:v>6390</c:v>
                </c:pt>
                <c:pt idx="111">
                  <c:v>6482</c:v>
                </c:pt>
                <c:pt idx="112">
                  <c:v>6574</c:v>
                </c:pt>
                <c:pt idx="113">
                  <c:v>6665</c:v>
                </c:pt>
                <c:pt idx="114">
                  <c:v>6756</c:v>
                </c:pt>
                <c:pt idx="115">
                  <c:v>6848</c:v>
                </c:pt>
                <c:pt idx="116">
                  <c:v>6940</c:v>
                </c:pt>
                <c:pt idx="117">
                  <c:v>7030</c:v>
                </c:pt>
                <c:pt idx="118">
                  <c:v>7121</c:v>
                </c:pt>
                <c:pt idx="119">
                  <c:v>7213</c:v>
                </c:pt>
                <c:pt idx="120">
                  <c:v>7305</c:v>
                </c:pt>
                <c:pt idx="121">
                  <c:v>7395</c:v>
                </c:pt>
                <c:pt idx="122">
                  <c:v>7486</c:v>
                </c:pt>
                <c:pt idx="123">
                  <c:v>7578</c:v>
                </c:pt>
                <c:pt idx="124">
                  <c:v>7670</c:v>
                </c:pt>
                <c:pt idx="125">
                  <c:v>7760</c:v>
                </c:pt>
                <c:pt idx="126">
                  <c:v>7851</c:v>
                </c:pt>
                <c:pt idx="127">
                  <c:v>7943</c:v>
                </c:pt>
                <c:pt idx="128">
                  <c:v>8035</c:v>
                </c:pt>
                <c:pt idx="129">
                  <c:v>8126</c:v>
                </c:pt>
                <c:pt idx="130">
                  <c:v>8217</c:v>
                </c:pt>
                <c:pt idx="131">
                  <c:v>8309</c:v>
                </c:pt>
                <c:pt idx="132">
                  <c:v>8401</c:v>
                </c:pt>
                <c:pt idx="133">
                  <c:v>8491</c:v>
                </c:pt>
                <c:pt idx="134">
                  <c:v>8582</c:v>
                </c:pt>
                <c:pt idx="135">
                  <c:v>8674</c:v>
                </c:pt>
                <c:pt idx="136">
                  <c:v>8766</c:v>
                </c:pt>
                <c:pt idx="137">
                  <c:v>8856</c:v>
                </c:pt>
                <c:pt idx="138">
                  <c:v>8947</c:v>
                </c:pt>
                <c:pt idx="139">
                  <c:v>9039</c:v>
                </c:pt>
                <c:pt idx="140">
                  <c:v>9131</c:v>
                </c:pt>
                <c:pt idx="141">
                  <c:v>9221</c:v>
                </c:pt>
                <c:pt idx="142">
                  <c:v>9312</c:v>
                </c:pt>
                <c:pt idx="143">
                  <c:v>9404</c:v>
                </c:pt>
                <c:pt idx="144">
                  <c:v>9496</c:v>
                </c:pt>
                <c:pt idx="145">
                  <c:v>9587</c:v>
                </c:pt>
                <c:pt idx="146">
                  <c:v>9678</c:v>
                </c:pt>
                <c:pt idx="147">
                  <c:v>9770</c:v>
                </c:pt>
                <c:pt idx="148">
                  <c:v>9862</c:v>
                </c:pt>
                <c:pt idx="149">
                  <c:v>9952</c:v>
                </c:pt>
                <c:pt idx="150">
                  <c:v>10043</c:v>
                </c:pt>
                <c:pt idx="151">
                  <c:v>10135</c:v>
                </c:pt>
                <c:pt idx="152">
                  <c:v>10227</c:v>
                </c:pt>
                <c:pt idx="153">
                  <c:v>10317</c:v>
                </c:pt>
                <c:pt idx="154">
                  <c:v>10408</c:v>
                </c:pt>
                <c:pt idx="155">
                  <c:v>10500</c:v>
                </c:pt>
                <c:pt idx="156">
                  <c:v>10592</c:v>
                </c:pt>
                <c:pt idx="157">
                  <c:v>10682</c:v>
                </c:pt>
                <c:pt idx="158">
                  <c:v>10773</c:v>
                </c:pt>
                <c:pt idx="159">
                  <c:v>10865</c:v>
                </c:pt>
                <c:pt idx="160">
                  <c:v>10957</c:v>
                </c:pt>
                <c:pt idx="161">
                  <c:v>11048</c:v>
                </c:pt>
                <c:pt idx="162">
                  <c:v>11139</c:v>
                </c:pt>
                <c:pt idx="163">
                  <c:v>11231</c:v>
                </c:pt>
                <c:pt idx="164">
                  <c:v>11323</c:v>
                </c:pt>
                <c:pt idx="165">
                  <c:v>11413</c:v>
                </c:pt>
                <c:pt idx="166">
                  <c:v>11504</c:v>
                </c:pt>
                <c:pt idx="167">
                  <c:v>11596</c:v>
                </c:pt>
                <c:pt idx="168">
                  <c:v>11688</c:v>
                </c:pt>
                <c:pt idx="169">
                  <c:v>11778</c:v>
                </c:pt>
                <c:pt idx="170">
                  <c:v>11869</c:v>
                </c:pt>
                <c:pt idx="171">
                  <c:v>11961</c:v>
                </c:pt>
                <c:pt idx="172">
                  <c:v>12053</c:v>
                </c:pt>
                <c:pt idx="173">
                  <c:v>12143</c:v>
                </c:pt>
                <c:pt idx="174">
                  <c:v>12234</c:v>
                </c:pt>
                <c:pt idx="175">
                  <c:v>12326</c:v>
                </c:pt>
                <c:pt idx="176">
                  <c:v>12418</c:v>
                </c:pt>
                <c:pt idx="177">
                  <c:v>12509</c:v>
                </c:pt>
                <c:pt idx="178">
                  <c:v>12600</c:v>
                </c:pt>
                <c:pt idx="179">
                  <c:v>12692</c:v>
                </c:pt>
                <c:pt idx="180">
                  <c:v>12784</c:v>
                </c:pt>
                <c:pt idx="181">
                  <c:v>12874</c:v>
                </c:pt>
                <c:pt idx="182">
                  <c:v>12965</c:v>
                </c:pt>
                <c:pt idx="183">
                  <c:v>13057</c:v>
                </c:pt>
                <c:pt idx="184">
                  <c:v>13149</c:v>
                </c:pt>
                <c:pt idx="185">
                  <c:v>13239</c:v>
                </c:pt>
                <c:pt idx="186">
                  <c:v>13330</c:v>
                </c:pt>
                <c:pt idx="187">
                  <c:v>13422</c:v>
                </c:pt>
                <c:pt idx="188">
                  <c:v>13514</c:v>
                </c:pt>
                <c:pt idx="189">
                  <c:v>13604</c:v>
                </c:pt>
                <c:pt idx="190">
                  <c:v>13695</c:v>
                </c:pt>
                <c:pt idx="191">
                  <c:v>13787</c:v>
                </c:pt>
                <c:pt idx="192">
                  <c:v>13879</c:v>
                </c:pt>
                <c:pt idx="193">
                  <c:v>13970</c:v>
                </c:pt>
                <c:pt idx="194">
                  <c:v>14061</c:v>
                </c:pt>
                <c:pt idx="195">
                  <c:v>14153</c:v>
                </c:pt>
                <c:pt idx="196">
                  <c:v>14245</c:v>
                </c:pt>
                <c:pt idx="197">
                  <c:v>14335</c:v>
                </c:pt>
                <c:pt idx="198">
                  <c:v>14426</c:v>
                </c:pt>
                <c:pt idx="199">
                  <c:v>14518</c:v>
                </c:pt>
                <c:pt idx="200">
                  <c:v>14610</c:v>
                </c:pt>
                <c:pt idx="201">
                  <c:v>14700</c:v>
                </c:pt>
                <c:pt idx="202">
                  <c:v>14791</c:v>
                </c:pt>
                <c:pt idx="203">
                  <c:v>14883</c:v>
                </c:pt>
                <c:pt idx="204">
                  <c:v>14975</c:v>
                </c:pt>
                <c:pt idx="205">
                  <c:v>15065</c:v>
                </c:pt>
                <c:pt idx="206">
                  <c:v>15156</c:v>
                </c:pt>
                <c:pt idx="207">
                  <c:v>15248</c:v>
                </c:pt>
                <c:pt idx="208">
                  <c:v>15340</c:v>
                </c:pt>
                <c:pt idx="209">
                  <c:v>15431</c:v>
                </c:pt>
                <c:pt idx="210">
                  <c:v>15522</c:v>
                </c:pt>
                <c:pt idx="211">
                  <c:v>15614</c:v>
                </c:pt>
                <c:pt idx="212">
                  <c:v>15706</c:v>
                </c:pt>
                <c:pt idx="213">
                  <c:v>15796</c:v>
                </c:pt>
                <c:pt idx="214">
                  <c:v>15887</c:v>
                </c:pt>
                <c:pt idx="215">
                  <c:v>15979</c:v>
                </c:pt>
                <c:pt idx="216">
                  <c:v>16071</c:v>
                </c:pt>
                <c:pt idx="217">
                  <c:v>16161</c:v>
                </c:pt>
                <c:pt idx="218">
                  <c:v>16252</c:v>
                </c:pt>
                <c:pt idx="219">
                  <c:v>16344</c:v>
                </c:pt>
                <c:pt idx="220">
                  <c:v>16436</c:v>
                </c:pt>
                <c:pt idx="221">
                  <c:v>16526</c:v>
                </c:pt>
                <c:pt idx="222">
                  <c:v>16617</c:v>
                </c:pt>
                <c:pt idx="223">
                  <c:v>16709</c:v>
                </c:pt>
                <c:pt idx="224">
                  <c:v>16801</c:v>
                </c:pt>
                <c:pt idx="225">
                  <c:v>16892</c:v>
                </c:pt>
                <c:pt idx="226">
                  <c:v>16983</c:v>
                </c:pt>
                <c:pt idx="227">
                  <c:v>17075</c:v>
                </c:pt>
                <c:pt idx="228">
                  <c:v>17167</c:v>
                </c:pt>
                <c:pt idx="229">
                  <c:v>17257</c:v>
                </c:pt>
                <c:pt idx="230">
                  <c:v>17348</c:v>
                </c:pt>
                <c:pt idx="231">
                  <c:v>17440</c:v>
                </c:pt>
                <c:pt idx="232">
                  <c:v>17532</c:v>
                </c:pt>
                <c:pt idx="233">
                  <c:v>17622</c:v>
                </c:pt>
                <c:pt idx="234">
                  <c:v>17713</c:v>
                </c:pt>
                <c:pt idx="235">
                  <c:v>17805</c:v>
                </c:pt>
                <c:pt idx="236">
                  <c:v>17897</c:v>
                </c:pt>
                <c:pt idx="237">
                  <c:v>17987</c:v>
                </c:pt>
                <c:pt idx="238">
                  <c:v>18078</c:v>
                </c:pt>
                <c:pt idx="239">
                  <c:v>18170</c:v>
                </c:pt>
                <c:pt idx="240">
                  <c:v>18262</c:v>
                </c:pt>
                <c:pt idx="241">
                  <c:v>18353</c:v>
                </c:pt>
                <c:pt idx="242">
                  <c:v>18444</c:v>
                </c:pt>
                <c:pt idx="243">
                  <c:v>18536</c:v>
                </c:pt>
                <c:pt idx="244">
                  <c:v>18628</c:v>
                </c:pt>
                <c:pt idx="245">
                  <c:v>18718</c:v>
                </c:pt>
                <c:pt idx="246">
                  <c:v>18809</c:v>
                </c:pt>
                <c:pt idx="247">
                  <c:v>18901</c:v>
                </c:pt>
                <c:pt idx="248">
                  <c:v>18993</c:v>
                </c:pt>
                <c:pt idx="249">
                  <c:v>19083</c:v>
                </c:pt>
                <c:pt idx="250">
                  <c:v>19174</c:v>
                </c:pt>
                <c:pt idx="251">
                  <c:v>19266</c:v>
                </c:pt>
                <c:pt idx="252">
                  <c:v>19358</c:v>
                </c:pt>
              </c:numCache>
            </c:numRef>
          </c:xVal>
          <c:yVal>
            <c:numRef>
              <c:f>Sheet1!$A$2:$IS$2</c:f>
              <c:numCache>
                <c:formatCode>General</c:formatCode>
                <c:ptCount val="253"/>
                <c:pt idx="0">
                  <c:v>9484.429838480215</c:v>
                </c:pt>
                <c:pt idx="1">
                  <c:v>2623.0190610052991</c:v>
                </c:pt>
                <c:pt idx="2">
                  <c:v>15935.452385036717</c:v>
                </c:pt>
                <c:pt idx="3">
                  <c:v>2365.6395204550945</c:v>
                </c:pt>
                <c:pt idx="4">
                  <c:v>5490.7398335668804</c:v>
                </c:pt>
                <c:pt idx="5">
                  <c:v>9038.4962135942333</c:v>
                </c:pt>
                <c:pt idx="6">
                  <c:v>5409.7326828556961</c:v>
                </c:pt>
                <c:pt idx="7">
                  <c:v>10707.231278191284</c:v>
                </c:pt>
                <c:pt idx="8">
                  <c:v>5382.4864586973599</c:v>
                </c:pt>
                <c:pt idx="9">
                  <c:v>17467.134912317906</c:v>
                </c:pt>
                <c:pt idx="10">
                  <c:v>8716.861445891067</c:v>
                </c:pt>
                <c:pt idx="11">
                  <c:v>3213.7707098866831</c:v>
                </c:pt>
                <c:pt idx="12">
                  <c:v>5909.9639286585689</c:v>
                </c:pt>
                <c:pt idx="13">
                  <c:v>7476.4425929286544</c:v>
                </c:pt>
                <c:pt idx="14">
                  <c:v>11040.902709605543</c:v>
                </c:pt>
                <c:pt idx="15">
                  <c:v>17308.076182984434</c:v>
                </c:pt>
                <c:pt idx="16">
                  <c:v>10256.688336936744</c:v>
                </c:pt>
                <c:pt idx="17">
                  <c:v>4220.6722071994109</c:v>
                </c:pt>
                <c:pt idx="18">
                  <c:v>6971.3560782153227</c:v>
                </c:pt>
                <c:pt idx="19">
                  <c:v>10168.708494638662</c:v>
                </c:pt>
                <c:pt idx="20">
                  <c:v>12150.823392841065</c:v>
                </c:pt>
                <c:pt idx="21">
                  <c:v>16187.989778317427</c:v>
                </c:pt>
                <c:pt idx="22">
                  <c:v>12537.799291655905</c:v>
                </c:pt>
                <c:pt idx="23">
                  <c:v>15850.905755793026</c:v>
                </c:pt>
                <c:pt idx="24">
                  <c:v>14862.849927298859</c:v>
                </c:pt>
                <c:pt idx="25">
                  <c:v>19834.137141013733</c:v>
                </c:pt>
                <c:pt idx="26">
                  <c:v>17844.952209533287</c:v>
                </c:pt>
                <c:pt idx="27">
                  <c:v>7345.0235955582466</c:v>
                </c:pt>
                <c:pt idx="28">
                  <c:v>14194.891705258153</c:v>
                </c:pt>
                <c:pt idx="29">
                  <c:v>9413.587939952833</c:v>
                </c:pt>
                <c:pt idx="30">
                  <c:v>5354.7460407366007</c:v>
                </c:pt>
                <c:pt idx="31">
                  <c:v>15238.740048049238</c:v>
                </c:pt>
                <c:pt idx="32">
                  <c:v>20270.015505087689</c:v>
                </c:pt>
                <c:pt idx="33">
                  <c:v>10384.116927907566</c:v>
                </c:pt>
                <c:pt idx="34">
                  <c:v>11800.649122524481</c:v>
                </c:pt>
                <c:pt idx="35">
                  <c:v>15149.919937183889</c:v>
                </c:pt>
                <c:pt idx="36">
                  <c:v>7556.7527883057401</c:v>
                </c:pt>
                <c:pt idx="37">
                  <c:v>7744.7251122753187</c:v>
                </c:pt>
                <c:pt idx="38">
                  <c:v>16792.219322345565</c:v>
                </c:pt>
                <c:pt idx="39">
                  <c:v>10186.646761331705</c:v>
                </c:pt>
                <c:pt idx="40">
                  <c:v>7717.4744734922915</c:v>
                </c:pt>
                <c:pt idx="41">
                  <c:v>4294.573984769916</c:v>
                </c:pt>
                <c:pt idx="42">
                  <c:v>6824.1607575094467</c:v>
                </c:pt>
                <c:pt idx="43">
                  <c:v>7371.6278734725265</c:v>
                </c:pt>
                <c:pt idx="44">
                  <c:v>10144.497987730025</c:v>
                </c:pt>
                <c:pt idx="45">
                  <c:v>8767.5722671946878</c:v>
                </c:pt>
                <c:pt idx="46">
                  <c:v>18161.636809927193</c:v>
                </c:pt>
                <c:pt idx="47">
                  <c:v>17508.98386195708</c:v>
                </c:pt>
                <c:pt idx="48">
                  <c:v>13449.317341855734</c:v>
                </c:pt>
                <c:pt idx="49">
                  <c:v>14098.562284390815</c:v>
                </c:pt>
                <c:pt idx="50">
                  <c:v>9022.3492384538695</c:v>
                </c:pt>
                <c:pt idx="51">
                  <c:v>17756.302477982492</c:v>
                </c:pt>
                <c:pt idx="52">
                  <c:v>14091.766424906094</c:v>
                </c:pt>
                <c:pt idx="53">
                  <c:v>10258.73609359064</c:v>
                </c:pt>
                <c:pt idx="54">
                  <c:v>6485.9541089971744</c:v>
                </c:pt>
                <c:pt idx="55">
                  <c:v>8082.8377834215262</c:v>
                </c:pt>
                <c:pt idx="56">
                  <c:v>11611.256991667959</c:v>
                </c:pt>
                <c:pt idx="57">
                  <c:v>16337.507013684755</c:v>
                </c:pt>
                <c:pt idx="58">
                  <c:v>10551.408814611495</c:v>
                </c:pt>
                <c:pt idx="59">
                  <c:v>17562.189312766233</c:v>
                </c:pt>
                <c:pt idx="60">
                  <c:v>16833.372541734156</c:v>
                </c:pt>
                <c:pt idx="61">
                  <c:v>12624.808696274078</c:v>
                </c:pt>
                <c:pt idx="62">
                  <c:v>11338.631858424131</c:v>
                </c:pt>
                <c:pt idx="63">
                  <c:v>8768.4501215042201</c:v>
                </c:pt>
                <c:pt idx="64">
                  <c:v>11905.136681540786</c:v>
                </c:pt>
                <c:pt idx="65">
                  <c:v>9637.8644040178388</c:v>
                </c:pt>
                <c:pt idx="66">
                  <c:v>11128.209020874086</c:v>
                </c:pt>
                <c:pt idx="67">
                  <c:v>15294.478842123704</c:v>
                </c:pt>
                <c:pt idx="68">
                  <c:v>16431.699098643192</c:v>
                </c:pt>
                <c:pt idx="69">
                  <c:v>12183.508761051387</c:v>
                </c:pt>
                <c:pt idx="70">
                  <c:v>8658.4104451206913</c:v>
                </c:pt>
                <c:pt idx="71">
                  <c:v>23958.866474450719</c:v>
                </c:pt>
                <c:pt idx="72">
                  <c:v>12659.237792499025</c:v>
                </c:pt>
                <c:pt idx="73">
                  <c:v>10736.667264533806</c:v>
                </c:pt>
                <c:pt idx="74">
                  <c:v>10584.259262030953</c:v>
                </c:pt>
                <c:pt idx="75">
                  <c:v>4856.1117607289116</c:v>
                </c:pt>
                <c:pt idx="76">
                  <c:v>12402.759561043449</c:v>
                </c:pt>
                <c:pt idx="77">
                  <c:v>10986.592211322912</c:v>
                </c:pt>
                <c:pt idx="78">
                  <c:v>9353.1849732444443</c:v>
                </c:pt>
                <c:pt idx="79">
                  <c:v>15108.992758462375</c:v>
                </c:pt>
                <c:pt idx="80">
                  <c:v>9879.8125357781082</c:v>
                </c:pt>
                <c:pt idx="81">
                  <c:v>8272.5226942373083</c:v>
                </c:pt>
                <c:pt idx="82">
                  <c:v>9664.7160017065271</c:v>
                </c:pt>
                <c:pt idx="83">
                  <c:v>7459.791896171786</c:v>
                </c:pt>
                <c:pt idx="84">
                  <c:v>13102.279051936841</c:v>
                </c:pt>
                <c:pt idx="85">
                  <c:v>11037.332484798973</c:v>
                </c:pt>
                <c:pt idx="86">
                  <c:v>8819.2819646865864</c:v>
                </c:pt>
                <c:pt idx="87">
                  <c:v>14966.367852541345</c:v>
                </c:pt>
                <c:pt idx="88">
                  <c:v>13170.083041582315</c:v>
                </c:pt>
                <c:pt idx="89">
                  <c:v>12490.29545338191</c:v>
                </c:pt>
                <c:pt idx="90">
                  <c:v>10607.191909183113</c:v>
                </c:pt>
                <c:pt idx="91">
                  <c:v>7652.4770117323224</c:v>
                </c:pt>
                <c:pt idx="92">
                  <c:v>12508.162473476428</c:v>
                </c:pt>
                <c:pt idx="93">
                  <c:v>10676.980757263744</c:v>
                </c:pt>
                <c:pt idx="94">
                  <c:v>8316.8785752211916</c:v>
                </c:pt>
                <c:pt idx="95">
                  <c:v>4489.2621663517293</c:v>
                </c:pt>
                <c:pt idx="96">
                  <c:v>6759.8198837053214</c:v>
                </c:pt>
                <c:pt idx="97">
                  <c:v>2218.6410585974149</c:v>
                </c:pt>
                <c:pt idx="98">
                  <c:v>3144.3886861779201</c:v>
                </c:pt>
                <c:pt idx="99">
                  <c:v>3461.0551417091178</c:v>
                </c:pt>
                <c:pt idx="100">
                  <c:v>1060.6650252182808</c:v>
                </c:pt>
                <c:pt idx="101">
                  <c:v>3191.041520766662</c:v>
                </c:pt>
                <c:pt idx="102">
                  <c:v>2794.6119677291722</c:v>
                </c:pt>
                <c:pt idx="103">
                  <c:v>4833.2439510612767</c:v>
                </c:pt>
                <c:pt idx="104">
                  <c:v>4075.5915007385202</c:v>
                </c:pt>
                <c:pt idx="105">
                  <c:v>2967.51448284053</c:v>
                </c:pt>
                <c:pt idx="106">
                  <c:v>5486.3781200189778</c:v>
                </c:pt>
                <c:pt idx="107">
                  <c:v>7074.4717458546738</c:v>
                </c:pt>
                <c:pt idx="108">
                  <c:v>3401.9389234596661</c:v>
                </c:pt>
                <c:pt idx="109">
                  <c:v>4809.0363802699894</c:v>
                </c:pt>
                <c:pt idx="110">
                  <c:v>5882.4535473912774</c:v>
                </c:pt>
                <c:pt idx="111">
                  <c:v>10706.945601148866</c:v>
                </c:pt>
                <c:pt idx="112">
                  <c:v>17343.707706007386</c:v>
                </c:pt>
                <c:pt idx="113">
                  <c:v>19583.967956088542</c:v>
                </c:pt>
                <c:pt idx="114">
                  <c:v>16123.717169189971</c:v>
                </c:pt>
                <c:pt idx="115">
                  <c:v>9028.1372112341105</c:v>
                </c:pt>
                <c:pt idx="116">
                  <c:v>14219.962887482046</c:v>
                </c:pt>
                <c:pt idx="117">
                  <c:v>13290.470317663858</c:v>
                </c:pt>
                <c:pt idx="118">
                  <c:v>6419.7034509456507</c:v>
                </c:pt>
                <c:pt idx="119">
                  <c:v>5142.7459519911454</c:v>
                </c:pt>
                <c:pt idx="120">
                  <c:v>12496.468444095071</c:v>
                </c:pt>
                <c:pt idx="121">
                  <c:v>8769.9644649276179</c:v>
                </c:pt>
                <c:pt idx="122">
                  <c:v>16198.833111551497</c:v>
                </c:pt>
                <c:pt idx="123">
                  <c:v>11872.272851366741</c:v>
                </c:pt>
                <c:pt idx="124">
                  <c:v>8223.5489868296008</c:v>
                </c:pt>
                <c:pt idx="125">
                  <c:v>10483.814968393035</c:v>
                </c:pt>
                <c:pt idx="126">
                  <c:v>6208.32124335559</c:v>
                </c:pt>
                <c:pt idx="127">
                  <c:v>7314.1325446283263</c:v>
                </c:pt>
                <c:pt idx="128">
                  <c:v>12616.904856485076</c:v>
                </c:pt>
                <c:pt idx="129">
                  <c:v>7358.8356817448866</c:v>
                </c:pt>
                <c:pt idx="130">
                  <c:v>6777.6110006463869</c:v>
                </c:pt>
                <c:pt idx="131">
                  <c:v>13982.373801907988</c:v>
                </c:pt>
                <c:pt idx="132">
                  <c:v>13705.720520198764</c:v>
                </c:pt>
                <c:pt idx="133">
                  <c:v>10558.894374094596</c:v>
                </c:pt>
                <c:pt idx="134">
                  <c:v>15698.877008964408</c:v>
                </c:pt>
                <c:pt idx="135">
                  <c:v>11880.081853813526</c:v>
                </c:pt>
                <c:pt idx="136">
                  <c:v>9655.8520971435919</c:v>
                </c:pt>
                <c:pt idx="137">
                  <c:v>9446.2360401956503</c:v>
                </c:pt>
                <c:pt idx="138">
                  <c:v>12937.129843769177</c:v>
                </c:pt>
                <c:pt idx="139">
                  <c:v>8478.3189931077613</c:v>
                </c:pt>
                <c:pt idx="140">
                  <c:v>11010.065090875103</c:v>
                </c:pt>
                <c:pt idx="141">
                  <c:v>9926.9747932519676</c:v>
                </c:pt>
                <c:pt idx="142">
                  <c:v>8000.6676681566287</c:v>
                </c:pt>
                <c:pt idx="143">
                  <c:v>11781.522040253505</c:v>
                </c:pt>
                <c:pt idx="144">
                  <c:v>10780.950071150337</c:v>
                </c:pt>
                <c:pt idx="145">
                  <c:v>11799.20109902026</c:v>
                </c:pt>
                <c:pt idx="146">
                  <c:v>9862.247169406317</c:v>
                </c:pt>
                <c:pt idx="147">
                  <c:v>8467.3970167047846</c:v>
                </c:pt>
                <c:pt idx="148">
                  <c:v>8311.3035872964192</c:v>
                </c:pt>
                <c:pt idx="149">
                  <c:v>11003.55978728933</c:v>
                </c:pt>
                <c:pt idx="150">
                  <c:v>8718.8449388365752</c:v>
                </c:pt>
                <c:pt idx="151">
                  <c:v>6869.1068106428611</c:v>
                </c:pt>
                <c:pt idx="152">
                  <c:v>13808.126702777305</c:v>
                </c:pt>
                <c:pt idx="153">
                  <c:v>9724.4831354531652</c:v>
                </c:pt>
                <c:pt idx="154">
                  <c:v>14250.31026999174</c:v>
                </c:pt>
                <c:pt idx="155">
                  <c:v>9511.1056888517214</c:v>
                </c:pt>
                <c:pt idx="156">
                  <c:v>11074.91811734863</c:v>
                </c:pt>
                <c:pt idx="157">
                  <c:v>13018.255028237505</c:v>
                </c:pt>
                <c:pt idx="158">
                  <c:v>5777.7698840315861</c:v>
                </c:pt>
                <c:pt idx="159">
                  <c:v>7862.549095172265</c:v>
                </c:pt>
                <c:pt idx="160">
                  <c:v>5832.3335691823549</c:v>
                </c:pt>
                <c:pt idx="161">
                  <c:v>5569.9415745240985</c:v>
                </c:pt>
                <c:pt idx="162">
                  <c:v>13816.668588140037</c:v>
                </c:pt>
                <c:pt idx="163">
                  <c:v>11881.049270304202</c:v>
                </c:pt>
                <c:pt idx="164">
                  <c:v>22324.512495500796</c:v>
                </c:pt>
                <c:pt idx="165">
                  <c:v>13179.212085193692</c:v>
                </c:pt>
                <c:pt idx="166">
                  <c:v>25155.945731206579</c:v>
                </c:pt>
                <c:pt idx="167">
                  <c:v>23448.177895914025</c:v>
                </c:pt>
                <c:pt idx="168">
                  <c:v>22597.36174211089</c:v>
                </c:pt>
                <c:pt idx="169">
                  <c:v>17938.44695811666</c:v>
                </c:pt>
                <c:pt idx="170">
                  <c:v>14136.45383013619</c:v>
                </c:pt>
                <c:pt idx="171">
                  <c:v>27832.886422273223</c:v>
                </c:pt>
                <c:pt idx="172">
                  <c:v>25718.618097942679</c:v>
                </c:pt>
                <c:pt idx="173">
                  <c:v>34454.823490475348</c:v>
                </c:pt>
                <c:pt idx="174">
                  <c:v>23886.343359417551</c:v>
                </c:pt>
                <c:pt idx="175">
                  <c:v>12058.206950046713</c:v>
                </c:pt>
                <c:pt idx="176">
                  <c:v>16122.308341131173</c:v>
                </c:pt>
                <c:pt idx="177">
                  <c:v>9975.3385864258071</c:v>
                </c:pt>
                <c:pt idx="178">
                  <c:v>14397.815083008392</c:v>
                </c:pt>
                <c:pt idx="179">
                  <c:v>13202.733376150583</c:v>
                </c:pt>
                <c:pt idx="180">
                  <c:v>11537.8992245024</c:v>
                </c:pt>
                <c:pt idx="181">
                  <c:v>11866.979645059733</c:v>
                </c:pt>
                <c:pt idx="182">
                  <c:v>20193.725935671588</c:v>
                </c:pt>
                <c:pt idx="183">
                  <c:v>12165.632832817388</c:v>
                </c:pt>
                <c:pt idx="184">
                  <c:v>11552.832304040063</c:v>
                </c:pt>
                <c:pt idx="185">
                  <c:v>8235.1584217026411</c:v>
                </c:pt>
                <c:pt idx="186">
                  <c:v>11854.687981569508</c:v>
                </c:pt>
                <c:pt idx="187">
                  <c:v>9051.4289555589112</c:v>
                </c:pt>
                <c:pt idx="188">
                  <c:v>13357.512075094603</c:v>
                </c:pt>
                <c:pt idx="189">
                  <c:v>18459.611032490371</c:v>
                </c:pt>
                <c:pt idx="190">
                  <c:v>21867.712412773519</c:v>
                </c:pt>
                <c:pt idx="191">
                  <c:v>13843.677078203156</c:v>
                </c:pt>
                <c:pt idx="192">
                  <c:v>13176.865324167966</c:v>
                </c:pt>
                <c:pt idx="193">
                  <c:v>18019.046451078953</c:v>
                </c:pt>
                <c:pt idx="194">
                  <c:v>14048.151710168189</c:v>
                </c:pt>
                <c:pt idx="195">
                  <c:v>13245.420380797057</c:v>
                </c:pt>
                <c:pt idx="196">
                  <c:v>21794.106089411416</c:v>
                </c:pt>
                <c:pt idx="197">
                  <c:v>18972.070353232535</c:v>
                </c:pt>
                <c:pt idx="198">
                  <c:v>14507.251216002509</c:v>
                </c:pt>
                <c:pt idx="199">
                  <c:v>18951.79247303907</c:v>
                </c:pt>
                <c:pt idx="200">
                  <c:v>19711.915378637903</c:v>
                </c:pt>
                <c:pt idx="201">
                  <c:v>21449.029937203704</c:v>
                </c:pt>
                <c:pt idx="202">
                  <c:v>19653.439010199818</c:v>
                </c:pt>
                <c:pt idx="203">
                  <c:v>14901.644745507283</c:v>
                </c:pt>
                <c:pt idx="204">
                  <c:v>13397.824527752384</c:v>
                </c:pt>
                <c:pt idx="205">
                  <c:v>14121.004241373128</c:v>
                </c:pt>
                <c:pt idx="206">
                  <c:v>20227.561510120449</c:v>
                </c:pt>
                <c:pt idx="207">
                  <c:v>19436.975739764042</c:v>
                </c:pt>
                <c:pt idx="208">
                  <c:v>18629.879802821513</c:v>
                </c:pt>
                <c:pt idx="209">
                  <c:v>36827.881424504543</c:v>
                </c:pt>
                <c:pt idx="210">
                  <c:v>25945.235152651519</c:v>
                </c:pt>
                <c:pt idx="211">
                  <c:v>38752.274507865019</c:v>
                </c:pt>
                <c:pt idx="212">
                  <c:v>31598.916945355217</c:v>
                </c:pt>
                <c:pt idx="213">
                  <c:v>14113.903792454677</c:v>
                </c:pt>
                <c:pt idx="214">
                  <c:v>15802.533174019529</c:v>
                </c:pt>
                <c:pt idx="215">
                  <c:v>18492.012281448366</c:v>
                </c:pt>
                <c:pt idx="216">
                  <c:v>19536.862521738251</c:v>
                </c:pt>
                <c:pt idx="217">
                  <c:v>20086.097021979829</c:v>
                </c:pt>
                <c:pt idx="218">
                  <c:v>14211.19543983618</c:v>
                </c:pt>
                <c:pt idx="219">
                  <c:v>17252.02530880841</c:v>
                </c:pt>
                <c:pt idx="220">
                  <c:v>29838.1941405656</c:v>
                </c:pt>
                <c:pt idx="221">
                  <c:v>25360.735542123959</c:v>
                </c:pt>
                <c:pt idx="222">
                  <c:v>21280.468689556463</c:v>
                </c:pt>
                <c:pt idx="223">
                  <c:v>18517.903339737961</c:v>
                </c:pt>
                <c:pt idx="224">
                  <c:v>22826.078362605822</c:v>
                </c:pt>
                <c:pt idx="225">
                  <c:v>18513.213453499146</c:v>
                </c:pt>
                <c:pt idx="226">
                  <c:v>30182.29252157958</c:v>
                </c:pt>
                <c:pt idx="227">
                  <c:v>32031.300217559288</c:v>
                </c:pt>
                <c:pt idx="228">
                  <c:v>29910.108781805644</c:v>
                </c:pt>
                <c:pt idx="229">
                  <c:v>16514.353481774768</c:v>
                </c:pt>
                <c:pt idx="230">
                  <c:v>16325.612517878431</c:v>
                </c:pt>
                <c:pt idx="231">
                  <c:v>28396.560757602409</c:v>
                </c:pt>
                <c:pt idx="232">
                  <c:v>13622.159886997568</c:v>
                </c:pt>
                <c:pt idx="233">
                  <c:v>25653.233581954399</c:v>
                </c:pt>
                <c:pt idx="234">
                  <c:v>28710.75789193725</c:v>
                </c:pt>
                <c:pt idx="235">
                  <c:v>26443.051960654433</c:v>
                </c:pt>
                <c:pt idx="236">
                  <c:v>36588.022490798547</c:v>
                </c:pt>
                <c:pt idx="237">
                  <c:v>40489.043607974403</c:v>
                </c:pt>
                <c:pt idx="238">
                  <c:v>32800.97770410731</c:v>
                </c:pt>
                <c:pt idx="239">
                  <c:v>52716.260158837191</c:v>
                </c:pt>
                <c:pt idx="240">
                  <c:v>55684.714279882988</c:v>
                </c:pt>
                <c:pt idx="241">
                  <c:v>28914.362394330179</c:v>
                </c:pt>
                <c:pt idx="242">
                  <c:v>27497.724821932501</c:v>
                </c:pt>
                <c:pt idx="243">
                  <c:v>22319.615633036803</c:v>
                </c:pt>
                <c:pt idx="244">
                  <c:v>11888.731334500029</c:v>
                </c:pt>
                <c:pt idx="245">
                  <c:v>18072.810378309488</c:v>
                </c:pt>
                <c:pt idx="246">
                  <c:v>21508.564913008209</c:v>
                </c:pt>
                <c:pt idx="247">
                  <c:v>19802.651073661629</c:v>
                </c:pt>
                <c:pt idx="248">
                  <c:v>26455.022555248299</c:v>
                </c:pt>
                <c:pt idx="249">
                  <c:v>29343.638955296046</c:v>
                </c:pt>
                <c:pt idx="250">
                  <c:v>24504.760869635909</c:v>
                </c:pt>
                <c:pt idx="251">
                  <c:v>26500.428973380756</c:v>
                </c:pt>
                <c:pt idx="252">
                  <c:v>26400.054932173749</c:v>
                </c:pt>
              </c:numCache>
            </c:numRef>
          </c:yVal>
          <c:smooth val="0"/>
          <c:extLst>
            <c:ext xmlns:c16="http://schemas.microsoft.com/office/drawing/2014/chart" uri="{C3380CC4-5D6E-409C-BE32-E72D297353CC}">
              <c16:uniqueId val="{00000000-D3D0-4FCB-B213-EE08FE00C37A}"/>
            </c:ext>
          </c:extLst>
        </c:ser>
        <c:dLbls>
          <c:showLegendKey val="0"/>
          <c:showVal val="0"/>
          <c:showCatName val="0"/>
          <c:showSerName val="0"/>
          <c:showPercent val="0"/>
          <c:showBubbleSize val="0"/>
        </c:dLbls>
        <c:axId val="4"/>
        <c:axId val="5"/>
      </c:scatterChart>
      <c:valAx>
        <c:axId val="4"/>
        <c:scaling>
          <c:orientation val="minMax"/>
          <c:max val="20089"/>
          <c:min val="-3653"/>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600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84872439813153E-2"/>
          <c:y val="2.0288724151385096E-2"/>
          <c:w val="0.9626302551203737"/>
          <c:h val="0.95942255169722979"/>
        </c:manualLayout>
      </c:layout>
      <c:scatterChart>
        <c:scatterStyle val="lineMarker"/>
        <c:varyColors val="0"/>
        <c:ser>
          <c:idx val="0"/>
          <c:order val="0"/>
          <c:spPr>
            <a:ln w="19050" cmpd="sng" algn="ctr">
              <a:solidFill>
                <a:schemeClr val="accent3"/>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2:$P$2</c:f>
              <c:numCache>
                <c:formatCode>General</c:formatCode>
                <c:ptCount val="16"/>
                <c:pt idx="0">
                  <c:v>1</c:v>
                </c:pt>
                <c:pt idx="1">
                  <c:v>1.681792830507429</c:v>
                </c:pt>
                <c:pt idx="2">
                  <c:v>2.8284271247461903</c:v>
                </c:pt>
                <c:pt idx="3">
                  <c:v>4.7568284600108841</c:v>
                </c:pt>
                <c:pt idx="4">
                  <c:v>8</c:v>
                </c:pt>
                <c:pt idx="5">
                  <c:v>10.350267857634293</c:v>
                </c:pt>
                <c:pt idx="6">
                  <c:v>13.391005590597198</c:v>
                </c:pt>
                <c:pt idx="7">
                  <c:v>15.231546211727817</c:v>
                </c:pt>
                <c:pt idx="8">
                  <c:v>17.32506184321991</c:v>
                </c:pt>
                <c:pt idx="9">
                  <c:v>19.706322897164725</c:v>
                </c:pt>
                <c:pt idx="10">
                  <c:v>22.414878840925674</c:v>
                </c:pt>
                <c:pt idx="11">
                  <c:v>25.495715059335843</c:v>
                </c:pt>
                <c:pt idx="12">
                  <c:v>29</c:v>
                </c:pt>
                <c:pt idx="13">
                  <c:v>31.932987966868584</c:v>
                </c:pt>
                <c:pt idx="14">
                  <c:v>46.94677837722201</c:v>
                </c:pt>
                <c:pt idx="15">
                  <c:v>76</c:v>
                </c:pt>
              </c:numCache>
            </c:numRef>
          </c:yVal>
          <c:smooth val="0"/>
          <c:extLst>
            <c:ext xmlns:c16="http://schemas.microsoft.com/office/drawing/2014/chart" uri="{C3380CC4-5D6E-409C-BE32-E72D297353CC}">
              <c16:uniqueId val="{00000000-579D-4EA1-B2DE-A2E9BDBC44DB}"/>
            </c:ext>
          </c:extLst>
        </c:ser>
        <c:ser>
          <c:idx val="1"/>
          <c:order val="1"/>
          <c:spPr>
            <a:ln w="19050" cmpd="sng" algn="ctr">
              <a:solidFill>
                <a:srgbClr val="009DE0"/>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3:$P$3</c:f>
              <c:numCache>
                <c:formatCode>General</c:formatCode>
                <c:ptCount val="16"/>
              </c:numCache>
            </c:numRef>
          </c:yVal>
          <c:smooth val="0"/>
          <c:extLst>
            <c:ext xmlns:c16="http://schemas.microsoft.com/office/drawing/2014/chart" uri="{C3380CC4-5D6E-409C-BE32-E72D297353CC}">
              <c16:uniqueId val="{00000001-579D-4EA1-B2DE-A2E9BDBC44DB}"/>
            </c:ext>
          </c:extLst>
        </c:ser>
        <c:ser>
          <c:idx val="2"/>
          <c:order val="2"/>
          <c:spPr>
            <a:ln w="19050" cmpd="sng" algn="ctr">
              <a:solidFill>
                <a:srgbClr val="BED3E4"/>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4:$P$4</c:f>
              <c:numCache>
                <c:formatCode>General</c:formatCode>
                <c:ptCount val="16"/>
                <c:pt idx="2">
                  <c:v>7</c:v>
                </c:pt>
                <c:pt idx="3">
                  <c:v>10.009784038161101</c:v>
                </c:pt>
                <c:pt idx="4">
                  <c:v>14.313682355803536</c:v>
                </c:pt>
                <c:pt idx="5">
                  <c:v>20.46812416749006</c:v>
                </c:pt>
                <c:pt idx="6">
                  <c:v>29.268786083263073</c:v>
                </c:pt>
                <c:pt idx="7">
                  <c:v>35</c:v>
                </c:pt>
                <c:pt idx="8">
                  <c:v>40.431600628783301</c:v>
                </c:pt>
                <c:pt idx="9">
                  <c:v>46.706123697297997</c:v>
                </c:pt>
                <c:pt idx="10">
                  <c:v>53.954381149934406</c:v>
                </c:pt>
                <c:pt idx="11">
                  <c:v>62.32748545220862</c:v>
                </c:pt>
                <c:pt idx="12">
                  <c:v>72</c:v>
                </c:pt>
                <c:pt idx="13">
                  <c:v>80.526737859850414</c:v>
                </c:pt>
                <c:pt idx="14">
                  <c:v>126</c:v>
                </c:pt>
                <c:pt idx="15">
                  <c:v>208</c:v>
                </c:pt>
              </c:numCache>
            </c:numRef>
          </c:yVal>
          <c:smooth val="0"/>
          <c:extLst>
            <c:ext xmlns:c16="http://schemas.microsoft.com/office/drawing/2014/chart" uri="{C3380CC4-5D6E-409C-BE32-E72D297353CC}">
              <c16:uniqueId val="{00000002-579D-4EA1-B2DE-A2E9BDBC44DB}"/>
            </c:ext>
          </c:extLst>
        </c:ser>
        <c:ser>
          <c:idx val="3"/>
          <c:order val="3"/>
          <c:spPr>
            <a:ln w="19050" cmpd="sng" algn="ctr">
              <a:solidFill>
                <a:srgbClr val="8096B2"/>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5:$P$5</c:f>
              <c:numCache>
                <c:formatCode>General</c:formatCode>
                <c:ptCount val="16"/>
                <c:pt idx="3">
                  <c:v>15</c:v>
                </c:pt>
                <c:pt idx="4">
                  <c:v>21.965632598554969</c:v>
                </c:pt>
                <c:pt idx="5">
                  <c:v>32.165934363646706</c:v>
                </c:pt>
                <c:pt idx="6">
                  <c:v>47.103006428073172</c:v>
                </c:pt>
                <c:pt idx="7">
                  <c:v>57</c:v>
                </c:pt>
                <c:pt idx="8">
                  <c:v>65.009738868990041</c:v>
                </c:pt>
                <c:pt idx="9">
                  <c:v>74.14502013709253</c:v>
                </c:pt>
                <c:pt idx="10">
                  <c:v>84.564006974533228</c:v>
                </c:pt>
                <c:pt idx="11">
                  <c:v>96.447087914558907</c:v>
                </c:pt>
                <c:pt idx="12">
                  <c:v>110</c:v>
                </c:pt>
                <c:pt idx="13">
                  <c:v>123.59684741924747</c:v>
                </c:pt>
                <c:pt idx="14">
                  <c:v>197</c:v>
                </c:pt>
                <c:pt idx="15">
                  <c:v>294</c:v>
                </c:pt>
              </c:numCache>
            </c:numRef>
          </c:yVal>
          <c:smooth val="0"/>
          <c:extLst>
            <c:ext xmlns:c16="http://schemas.microsoft.com/office/drawing/2014/chart" uri="{C3380CC4-5D6E-409C-BE32-E72D297353CC}">
              <c16:uniqueId val="{00000003-579D-4EA1-B2DE-A2E9BDBC44DB}"/>
            </c:ext>
          </c:extLst>
        </c:ser>
        <c:ser>
          <c:idx val="4"/>
          <c:order val="4"/>
          <c:spPr>
            <a:ln w="19050" cmpd="sng" algn="ctr">
              <a:solidFill>
                <a:srgbClr val="4E6287"/>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6:$P$6</c:f>
              <c:numCache>
                <c:formatCode>General</c:formatCode>
                <c:ptCount val="16"/>
                <c:pt idx="4">
                  <c:v>38</c:v>
                </c:pt>
                <c:pt idx="5">
                  <c:v>66.335610485401247</c:v>
                </c:pt>
                <c:pt idx="6">
                  <c:v>115.80034785449675</c:v>
                </c:pt>
                <c:pt idx="7">
                  <c:v>153</c:v>
                </c:pt>
                <c:pt idx="8">
                  <c:v>170.89504546697958</c:v>
                </c:pt>
                <c:pt idx="9">
                  <c:v>190.88311480497399</c:v>
                </c:pt>
                <c:pt idx="10">
                  <c:v>213.20901034950791</c:v>
                </c:pt>
                <c:pt idx="11">
                  <c:v>238.14616678201881</c:v>
                </c:pt>
                <c:pt idx="12">
                  <c:v>266</c:v>
                </c:pt>
                <c:pt idx="13">
                  <c:v>285.36694720191292</c:v>
                </c:pt>
                <c:pt idx="14">
                  <c:v>378</c:v>
                </c:pt>
                <c:pt idx="15">
                  <c:v>491</c:v>
                </c:pt>
              </c:numCache>
            </c:numRef>
          </c:yVal>
          <c:smooth val="0"/>
          <c:extLst>
            <c:ext xmlns:c16="http://schemas.microsoft.com/office/drawing/2014/chart" uri="{C3380CC4-5D6E-409C-BE32-E72D297353CC}">
              <c16:uniqueId val="{00000004-579D-4EA1-B2DE-A2E9BDBC44DB}"/>
            </c:ext>
          </c:extLst>
        </c:ser>
        <c:ser>
          <c:idx val="5"/>
          <c:order val="5"/>
          <c:spPr>
            <a:ln w="19050" cmpd="sng" algn="ctr">
              <a:solidFill>
                <a:srgbClr val="8096B2"/>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7:$P$7</c:f>
              <c:numCache>
                <c:formatCode>General</c:formatCode>
                <c:ptCount val="16"/>
              </c:numCache>
            </c:numRef>
          </c:yVal>
          <c:smooth val="0"/>
          <c:extLst>
            <c:ext xmlns:c16="http://schemas.microsoft.com/office/drawing/2014/chart" uri="{C3380CC4-5D6E-409C-BE32-E72D297353CC}">
              <c16:uniqueId val="{00000005-579D-4EA1-B2DE-A2E9BDBC44DB}"/>
            </c:ext>
          </c:extLst>
        </c:ser>
        <c:ser>
          <c:idx val="6"/>
          <c:order val="6"/>
          <c:spPr>
            <a:ln w="19050" cmpd="sng" algn="ctr">
              <a:solidFill>
                <a:srgbClr val="BFE4F5"/>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8:$P$8</c:f>
              <c:numCache>
                <c:formatCode>General</c:formatCode>
                <c:ptCount val="16"/>
                <c:pt idx="6">
                  <c:v>176</c:v>
                </c:pt>
                <c:pt idx="7">
                  <c:v>208.10606429227201</c:v>
                </c:pt>
                <c:pt idx="8">
                  <c:v>246.06894315465482</c:v>
                </c:pt>
                <c:pt idx="9">
                  <c:v>290.9570415026933</c:v>
                </c:pt>
                <c:pt idx="10">
                  <c:v>344.03366355254968</c:v>
                </c:pt>
                <c:pt idx="11">
                  <c:v>406.79256651120903</c:v>
                </c:pt>
                <c:pt idx="12">
                  <c:v>481</c:v>
                </c:pt>
                <c:pt idx="13">
                  <c:v>520.68764104816171</c:v>
                </c:pt>
                <c:pt idx="14">
                  <c:v>715</c:v>
                </c:pt>
                <c:pt idx="15">
                  <c:v>949</c:v>
                </c:pt>
              </c:numCache>
            </c:numRef>
          </c:yVal>
          <c:smooth val="0"/>
          <c:extLst>
            <c:ext xmlns:c16="http://schemas.microsoft.com/office/drawing/2014/chart" uri="{C3380CC4-5D6E-409C-BE32-E72D297353CC}">
              <c16:uniqueId val="{00000006-579D-4EA1-B2DE-A2E9BDBC44DB}"/>
            </c:ext>
          </c:extLst>
        </c:ser>
        <c:ser>
          <c:idx val="7"/>
          <c:order val="7"/>
          <c:spPr>
            <a:ln w="19050" cmpd="sng" algn="ctr">
              <a:solidFill>
                <a:srgbClr val="8246AF"/>
              </a:solidFill>
              <a:prstDash val="solid"/>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9:$P$9</c:f>
              <c:numCache>
                <c:formatCode>General</c:formatCode>
                <c:ptCount val="16"/>
              </c:numCache>
            </c:numRef>
          </c:yVal>
          <c:smooth val="0"/>
          <c:extLst>
            <c:ext xmlns:c16="http://schemas.microsoft.com/office/drawing/2014/chart" uri="{C3380CC4-5D6E-409C-BE32-E72D297353CC}">
              <c16:uniqueId val="{00000007-579D-4EA1-B2DE-A2E9BDBC44DB}"/>
            </c:ext>
          </c:extLst>
        </c:ser>
        <c:ser>
          <c:idx val="8"/>
          <c:order val="8"/>
          <c:spPr>
            <a:ln w="19050" cmpd="sng" algn="ctr">
              <a:solidFill>
                <a:srgbClr val="76D3FF"/>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10:$P$10</c:f>
              <c:numCache>
                <c:formatCode>General</c:formatCode>
                <c:ptCount val="16"/>
                <c:pt idx="8">
                  <c:v>300</c:v>
                </c:pt>
                <c:pt idx="9">
                  <c:v>398</c:v>
                </c:pt>
                <c:pt idx="10">
                  <c:v>452.39118226737713</c:v>
                </c:pt>
                <c:pt idx="11">
                  <c:v>514.21553214390769</c:v>
                </c:pt>
                <c:pt idx="12">
                  <c:v>584.48887569555495</c:v>
                </c:pt>
                <c:pt idx="13">
                  <c:v>664.36586306040738</c:v>
                </c:pt>
                <c:pt idx="14">
                  <c:v>1109</c:v>
                </c:pt>
                <c:pt idx="15">
                  <c:v>1589</c:v>
                </c:pt>
              </c:numCache>
            </c:numRef>
          </c:yVal>
          <c:smooth val="0"/>
          <c:extLst>
            <c:ext xmlns:c16="http://schemas.microsoft.com/office/drawing/2014/chart" uri="{C3380CC4-5D6E-409C-BE32-E72D297353CC}">
              <c16:uniqueId val="{00000008-579D-4EA1-B2DE-A2E9BDBC44DB}"/>
            </c:ext>
          </c:extLst>
        </c:ser>
        <c:ser>
          <c:idx val="9"/>
          <c:order val="9"/>
          <c:spPr>
            <a:ln w="19050" cmpd="sng" algn="ctr">
              <a:solidFill>
                <a:srgbClr val="002C77"/>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11:$P$11</c:f>
              <c:numCache>
                <c:formatCode>General</c:formatCode>
                <c:ptCount val="16"/>
              </c:numCache>
            </c:numRef>
          </c:yVal>
          <c:smooth val="0"/>
          <c:extLst>
            <c:ext xmlns:c16="http://schemas.microsoft.com/office/drawing/2014/chart" uri="{C3380CC4-5D6E-409C-BE32-E72D297353CC}">
              <c16:uniqueId val="{00000009-579D-4EA1-B2DE-A2E9BDBC44DB}"/>
            </c:ext>
          </c:extLst>
        </c:ser>
        <c:ser>
          <c:idx val="10"/>
          <c:order val="10"/>
          <c:spPr>
            <a:ln w="19050" cmpd="sng" algn="ctr">
              <a:solidFill>
                <a:schemeClr val="accent2"/>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12:$P$12</c:f>
              <c:numCache>
                <c:formatCode>General</c:formatCode>
                <c:ptCount val="16"/>
                <c:pt idx="10">
                  <c:v>495</c:v>
                </c:pt>
                <c:pt idx="11">
                  <c:v>603</c:v>
                </c:pt>
                <c:pt idx="12">
                  <c:v>721.81077814884543</c:v>
                </c:pt>
                <c:pt idx="13">
                  <c:v>864.03117653705067</c:v>
                </c:pt>
                <c:pt idx="14">
                  <c:v>1774</c:v>
                </c:pt>
                <c:pt idx="15">
                  <c:v>3125</c:v>
                </c:pt>
              </c:numCache>
            </c:numRef>
          </c:yVal>
          <c:smooth val="0"/>
          <c:extLst>
            <c:ext xmlns:c16="http://schemas.microsoft.com/office/drawing/2014/chart" uri="{C3380CC4-5D6E-409C-BE32-E72D297353CC}">
              <c16:uniqueId val="{0000000A-579D-4EA1-B2DE-A2E9BDBC44DB}"/>
            </c:ext>
          </c:extLst>
        </c:ser>
        <c:ser>
          <c:idx val="11"/>
          <c:order val="11"/>
          <c:spPr>
            <a:ln w="19050" cmpd="sng" algn="ctr">
              <a:solidFill>
                <a:srgbClr val="00AC41"/>
              </a:solidFill>
              <a:prstDash val="solid"/>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13:$P$13</c:f>
              <c:numCache>
                <c:formatCode>General</c:formatCode>
                <c:ptCount val="16"/>
              </c:numCache>
            </c:numRef>
          </c:yVal>
          <c:smooth val="0"/>
          <c:extLst>
            <c:ext xmlns:c16="http://schemas.microsoft.com/office/drawing/2014/chart" uri="{C3380CC4-5D6E-409C-BE32-E72D297353CC}">
              <c16:uniqueId val="{0000000B-579D-4EA1-B2DE-A2E9BDBC44DB}"/>
            </c:ext>
          </c:extLst>
        </c:ser>
        <c:ser>
          <c:idx val="12"/>
          <c:order val="12"/>
          <c:spPr>
            <a:ln w="19050" cmpd="sng" algn="ctr">
              <a:solidFill>
                <a:schemeClr val="accent1"/>
              </a:solidFill>
              <a:prstDash val="lgDash"/>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14:$P$14</c:f>
              <c:numCache>
                <c:formatCode>General</c:formatCode>
                <c:ptCount val="16"/>
                <c:pt idx="12">
                  <c:v>741</c:v>
                </c:pt>
                <c:pt idx="13">
                  <c:v>892</c:v>
                </c:pt>
                <c:pt idx="14">
                  <c:v>1927.8591155295012</c:v>
                </c:pt>
                <c:pt idx="15">
                  <c:v>5052</c:v>
                </c:pt>
              </c:numCache>
            </c:numRef>
          </c:yVal>
          <c:smooth val="0"/>
          <c:extLst>
            <c:ext xmlns:c16="http://schemas.microsoft.com/office/drawing/2014/chart" uri="{C3380CC4-5D6E-409C-BE32-E72D297353CC}">
              <c16:uniqueId val="{0000000C-579D-4EA1-B2DE-A2E9BDBC44DB}"/>
            </c:ext>
          </c:extLst>
        </c:ser>
        <c:ser>
          <c:idx val="13"/>
          <c:order val="13"/>
          <c:spPr>
            <a:ln w="38100" cmpd="sng" algn="ctr">
              <a:solidFill>
                <a:schemeClr val="tx1"/>
              </a:solidFill>
              <a:prstDash val="solid"/>
            </a:ln>
          </c:spPr>
          <c:marker>
            <c:symbol val="none"/>
          </c:marker>
          <c:xVal>
            <c:numRef>
              <c:f>Sheet1!$A$1:$P$1</c:f>
              <c:numCache>
                <c:formatCode>General</c:formatCode>
                <c:ptCount val="16"/>
                <c:pt idx="0">
                  <c:v>2002</c:v>
                </c:pt>
                <c:pt idx="1">
                  <c:v>2004</c:v>
                </c:pt>
                <c:pt idx="2">
                  <c:v>2006</c:v>
                </c:pt>
                <c:pt idx="3">
                  <c:v>2008</c:v>
                </c:pt>
                <c:pt idx="4">
                  <c:v>2010</c:v>
                </c:pt>
                <c:pt idx="5">
                  <c:v>2012</c:v>
                </c:pt>
                <c:pt idx="6">
                  <c:v>2014</c:v>
                </c:pt>
                <c:pt idx="7">
                  <c:v>2015</c:v>
                </c:pt>
                <c:pt idx="8">
                  <c:v>2016</c:v>
                </c:pt>
                <c:pt idx="9">
                  <c:v>2017</c:v>
                </c:pt>
                <c:pt idx="10">
                  <c:v>2018</c:v>
                </c:pt>
                <c:pt idx="11">
                  <c:v>2019</c:v>
                </c:pt>
                <c:pt idx="12">
                  <c:v>2020</c:v>
                </c:pt>
                <c:pt idx="13">
                  <c:v>2021</c:v>
                </c:pt>
                <c:pt idx="14">
                  <c:v>2025</c:v>
                </c:pt>
                <c:pt idx="15">
                  <c:v>2030</c:v>
                </c:pt>
              </c:numCache>
            </c:numRef>
          </c:xVal>
          <c:yVal>
            <c:numRef>
              <c:f>Sheet1!$A$15:$P$15</c:f>
              <c:numCache>
                <c:formatCode>General</c:formatCode>
                <c:ptCount val="16"/>
                <c:pt idx="0">
                  <c:v>1</c:v>
                </c:pt>
                <c:pt idx="1">
                  <c:v>4</c:v>
                </c:pt>
                <c:pt idx="2">
                  <c:v>7</c:v>
                </c:pt>
                <c:pt idx="3">
                  <c:v>15</c:v>
                </c:pt>
                <c:pt idx="4">
                  <c:v>39</c:v>
                </c:pt>
                <c:pt idx="5">
                  <c:v>98</c:v>
                </c:pt>
                <c:pt idx="6">
                  <c:v>176</c:v>
                </c:pt>
                <c:pt idx="7">
                  <c:v>225</c:v>
                </c:pt>
                <c:pt idx="8">
                  <c:v>300</c:v>
                </c:pt>
                <c:pt idx="9">
                  <c:v>399</c:v>
                </c:pt>
                <c:pt idx="10">
                  <c:v>495</c:v>
                </c:pt>
                <c:pt idx="11">
                  <c:v>605</c:v>
                </c:pt>
                <c:pt idx="12">
                  <c:v>741</c:v>
                </c:pt>
                <c:pt idx="13">
                  <c:v>892</c:v>
                </c:pt>
              </c:numCache>
            </c:numRef>
          </c:yVal>
          <c:smooth val="0"/>
          <c:extLst>
            <c:ext xmlns:c16="http://schemas.microsoft.com/office/drawing/2014/chart" uri="{C3380CC4-5D6E-409C-BE32-E72D297353CC}">
              <c16:uniqueId val="{0000000D-579D-4EA1-B2DE-A2E9BDBC44DB}"/>
            </c:ext>
          </c:extLst>
        </c:ser>
        <c:dLbls>
          <c:showLegendKey val="0"/>
          <c:showVal val="0"/>
          <c:showCatName val="0"/>
          <c:showSerName val="0"/>
          <c:showPercent val="0"/>
          <c:showBubbleSize val="0"/>
        </c:dLbls>
        <c:axId val="4"/>
        <c:axId val="5"/>
      </c:scatterChart>
      <c:valAx>
        <c:axId val="4"/>
        <c:scaling>
          <c:orientation val="minMax"/>
          <c:max val="2030"/>
          <c:min val="200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logBase val="10"/>
          <c:orientation val="minMax"/>
          <c:max val="10000"/>
          <c:min val="1"/>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26937002172341E-2"/>
          <c:y val="2.0700636942675158E-2"/>
          <c:w val="0.96234612599565528"/>
          <c:h val="0.95859872611464969"/>
        </c:manualLayout>
      </c:layout>
      <c:lineChart>
        <c:grouping val="standard"/>
        <c:varyColors val="0"/>
        <c:ser>
          <c:idx val="0"/>
          <c:order val="0"/>
          <c:spPr>
            <a:ln w="38100" cmpd="sng" algn="ctr">
              <a:solidFill>
                <a:schemeClr val="tx1"/>
              </a:solidFill>
              <a:prstDash val="solid"/>
            </a:ln>
          </c:spPr>
          <c:marker>
            <c:symbol val="none"/>
          </c:marker>
          <c:val>
            <c:numRef>
              <c:f>Sheet1!$A$1:$L$1</c:f>
              <c:numCache>
                <c:formatCode>General</c:formatCode>
                <c:ptCount val="12"/>
                <c:pt idx="0">
                  <c:v>1.0999999999999999</c:v>
                </c:pt>
                <c:pt idx="1">
                  <c:v>0.23333333333333331</c:v>
                </c:pt>
                <c:pt idx="2">
                  <c:v>-3.3333333333333326E-2</c:v>
                </c:pt>
                <c:pt idx="3">
                  <c:v>-0.3</c:v>
                </c:pt>
                <c:pt idx="4">
                  <c:v>1.0333333333333334</c:v>
                </c:pt>
                <c:pt idx="5">
                  <c:v>1.8333333333333333</c:v>
                </c:pt>
                <c:pt idx="6">
                  <c:v>2.8666666666666667</c:v>
                </c:pt>
                <c:pt idx="7">
                  <c:v>4.666666666666667</c:v>
                </c:pt>
                <c:pt idx="8">
                  <c:v>6.1333333333333329</c:v>
                </c:pt>
                <c:pt idx="9">
                  <c:v>8.0333333333333332</c:v>
                </c:pt>
                <c:pt idx="10">
                  <c:v>9.2999999999999989</c:v>
                </c:pt>
                <c:pt idx="11">
                  <c:v>9.9666666666666668</c:v>
                </c:pt>
              </c:numCache>
            </c:numRef>
          </c:val>
          <c:smooth val="0"/>
          <c:extLst>
            <c:ext xmlns:c16="http://schemas.microsoft.com/office/drawing/2014/chart" uri="{C3380CC4-5D6E-409C-BE32-E72D297353CC}">
              <c16:uniqueId val="{00000000-BF8D-497D-BD60-990E2F238D48}"/>
            </c:ext>
          </c:extLst>
        </c:ser>
        <c:ser>
          <c:idx val="1"/>
          <c:order val="1"/>
          <c:spPr>
            <a:ln w="19050" cmpd="sng" algn="ctr">
              <a:solidFill>
                <a:srgbClr val="BFE3F4"/>
              </a:solidFill>
              <a:prstDash val="lgDash"/>
            </a:ln>
          </c:spPr>
          <c:marker>
            <c:symbol val="none"/>
          </c:marker>
          <c:val>
            <c:numRef>
              <c:f>Sheet1!$A$2:$L$2</c:f>
              <c:numCache>
                <c:formatCode>General</c:formatCode>
                <c:ptCount val="12"/>
                <c:pt idx="4">
                  <c:v>1.0333333333333334</c:v>
                </c:pt>
                <c:pt idx="5">
                  <c:v>1.45</c:v>
                </c:pt>
                <c:pt idx="6">
                  <c:v>1.65</c:v>
                </c:pt>
                <c:pt idx="7">
                  <c:v>2</c:v>
                </c:pt>
                <c:pt idx="8">
                  <c:v>1.05</c:v>
                </c:pt>
                <c:pt idx="9">
                  <c:v>1.2</c:v>
                </c:pt>
                <c:pt idx="10">
                  <c:v>1.35</c:v>
                </c:pt>
                <c:pt idx="11">
                  <c:v>1.1499999999999999</c:v>
                </c:pt>
              </c:numCache>
            </c:numRef>
          </c:val>
          <c:smooth val="0"/>
          <c:extLst>
            <c:ext xmlns:c16="http://schemas.microsoft.com/office/drawing/2014/chart" uri="{C3380CC4-5D6E-409C-BE32-E72D297353CC}">
              <c16:uniqueId val="{00000001-BF8D-497D-BD60-990E2F238D48}"/>
            </c:ext>
          </c:extLst>
        </c:ser>
        <c:ser>
          <c:idx val="2"/>
          <c:order val="2"/>
          <c:spPr>
            <a:ln w="19050" cmpd="sng" algn="ctr">
              <a:solidFill>
                <a:srgbClr val="8096B2"/>
              </a:solidFill>
              <a:prstDash val="lgDash"/>
            </a:ln>
          </c:spPr>
          <c:marker>
            <c:symbol val="none"/>
          </c:marker>
          <c:val>
            <c:numRef>
              <c:f>Sheet1!$A$3:$L$3</c:f>
              <c:numCache>
                <c:formatCode>General</c:formatCode>
                <c:ptCount val="12"/>
                <c:pt idx="4">
                  <c:v>1.0333333333333334</c:v>
                </c:pt>
                <c:pt idx="5">
                  <c:v>1.8</c:v>
                </c:pt>
                <c:pt idx="6">
                  <c:v>2.1</c:v>
                </c:pt>
                <c:pt idx="7">
                  <c:v>2.5499999999999998</c:v>
                </c:pt>
                <c:pt idx="8">
                  <c:v>1.65</c:v>
                </c:pt>
                <c:pt idx="9">
                  <c:v>1.4</c:v>
                </c:pt>
                <c:pt idx="10">
                  <c:v>1.4</c:v>
                </c:pt>
                <c:pt idx="11">
                  <c:v>1.4</c:v>
                </c:pt>
              </c:numCache>
            </c:numRef>
          </c:val>
          <c:smooth val="0"/>
          <c:extLst>
            <c:ext xmlns:c16="http://schemas.microsoft.com/office/drawing/2014/chart" uri="{C3380CC4-5D6E-409C-BE32-E72D297353CC}">
              <c16:uniqueId val="{00000002-BF8D-497D-BD60-990E2F238D48}"/>
            </c:ext>
          </c:extLst>
        </c:ser>
        <c:ser>
          <c:idx val="3"/>
          <c:order val="3"/>
          <c:spPr>
            <a:ln w="19050" cmpd="sng" algn="ctr">
              <a:solidFill>
                <a:srgbClr val="4E6287"/>
              </a:solidFill>
              <a:prstDash val="lgDash"/>
            </a:ln>
          </c:spPr>
          <c:marker>
            <c:symbol val="none"/>
          </c:marker>
          <c:val>
            <c:numRef>
              <c:f>Sheet1!$A$4:$L$4</c:f>
              <c:numCache>
                <c:formatCode>General</c:formatCode>
                <c:ptCount val="12"/>
                <c:pt idx="5">
                  <c:v>1.8333333333333333</c:v>
                </c:pt>
                <c:pt idx="6">
                  <c:v>2.7</c:v>
                </c:pt>
                <c:pt idx="7">
                  <c:v>3.15</c:v>
                </c:pt>
                <c:pt idx="8">
                  <c:v>2.2000000000000002</c:v>
                </c:pt>
                <c:pt idx="9">
                  <c:v>1.75</c:v>
                </c:pt>
                <c:pt idx="10">
                  <c:v>1.4</c:v>
                </c:pt>
                <c:pt idx="11">
                  <c:v>1.45</c:v>
                </c:pt>
              </c:numCache>
            </c:numRef>
          </c:val>
          <c:smooth val="0"/>
          <c:extLst>
            <c:ext xmlns:c16="http://schemas.microsoft.com/office/drawing/2014/chart" uri="{C3380CC4-5D6E-409C-BE32-E72D297353CC}">
              <c16:uniqueId val="{00000003-BF8D-497D-BD60-990E2F238D48}"/>
            </c:ext>
          </c:extLst>
        </c:ser>
        <c:ser>
          <c:idx val="4"/>
          <c:order val="4"/>
          <c:spPr>
            <a:ln w="19050" cmpd="sng" algn="ctr">
              <a:solidFill>
                <a:srgbClr val="76D3FF"/>
              </a:solidFill>
              <a:prstDash val="lgDash"/>
            </a:ln>
          </c:spPr>
          <c:marker>
            <c:symbol val="none"/>
          </c:marker>
          <c:val>
            <c:numRef>
              <c:f>Sheet1!$A$5:$L$5</c:f>
              <c:numCache>
                <c:formatCode>General</c:formatCode>
                <c:ptCount val="12"/>
                <c:pt idx="6">
                  <c:v>2.8666666666666667</c:v>
                </c:pt>
                <c:pt idx="7">
                  <c:v>4.5</c:v>
                </c:pt>
                <c:pt idx="8">
                  <c:v>4.0999999999999996</c:v>
                </c:pt>
                <c:pt idx="9">
                  <c:v>3.6</c:v>
                </c:pt>
                <c:pt idx="10">
                  <c:v>2.9</c:v>
                </c:pt>
                <c:pt idx="11">
                  <c:v>1.8</c:v>
                </c:pt>
              </c:numCache>
            </c:numRef>
          </c:val>
          <c:smooth val="0"/>
          <c:extLst>
            <c:ext xmlns:c16="http://schemas.microsoft.com/office/drawing/2014/chart" uri="{C3380CC4-5D6E-409C-BE32-E72D297353CC}">
              <c16:uniqueId val="{00000004-BF8D-497D-BD60-990E2F238D48}"/>
            </c:ext>
          </c:extLst>
        </c:ser>
        <c:ser>
          <c:idx val="5"/>
          <c:order val="5"/>
          <c:spPr>
            <a:ln w="19050" cmpd="sng" algn="ctr">
              <a:solidFill>
                <a:schemeClr val="accent2"/>
              </a:solidFill>
              <a:prstDash val="lgDash"/>
            </a:ln>
          </c:spPr>
          <c:marker>
            <c:symbol val="none"/>
          </c:marker>
          <c:val>
            <c:numRef>
              <c:f>Sheet1!$A$6:$L$6</c:f>
              <c:numCache>
                <c:formatCode>General</c:formatCode>
                <c:ptCount val="12"/>
                <c:pt idx="7">
                  <c:v>4.666666666666667</c:v>
                </c:pt>
                <c:pt idx="8">
                  <c:v>5.6</c:v>
                </c:pt>
                <c:pt idx="9">
                  <c:v>5.6</c:v>
                </c:pt>
                <c:pt idx="10">
                  <c:v>5.2</c:v>
                </c:pt>
                <c:pt idx="11">
                  <c:v>4</c:v>
                </c:pt>
              </c:numCache>
            </c:numRef>
          </c:val>
          <c:smooth val="0"/>
          <c:extLst>
            <c:ext xmlns:c16="http://schemas.microsoft.com/office/drawing/2014/chart" uri="{C3380CC4-5D6E-409C-BE32-E72D297353CC}">
              <c16:uniqueId val="{00000005-BF8D-497D-BD60-990E2F238D48}"/>
            </c:ext>
          </c:extLst>
        </c:ser>
        <c:ser>
          <c:idx val="6"/>
          <c:order val="6"/>
          <c:spPr>
            <a:ln w="19050" cmpd="sng" algn="ctr">
              <a:solidFill>
                <a:schemeClr val="accent1"/>
              </a:solidFill>
              <a:prstDash val="lgDash"/>
            </a:ln>
          </c:spPr>
          <c:marker>
            <c:symbol val="none"/>
          </c:marker>
          <c:val>
            <c:numRef>
              <c:f>Sheet1!$A$7:$L$7</c:f>
              <c:numCache>
                <c:formatCode>General</c:formatCode>
                <c:ptCount val="12"/>
                <c:pt idx="8">
                  <c:v>6.1333333333333329</c:v>
                </c:pt>
                <c:pt idx="9">
                  <c:v>7.5</c:v>
                </c:pt>
                <c:pt idx="10">
                  <c:v>7.3</c:v>
                </c:pt>
                <c:pt idx="11">
                  <c:v>6.3</c:v>
                </c:pt>
              </c:numCache>
            </c:numRef>
          </c:val>
          <c:smooth val="0"/>
          <c:extLst>
            <c:ext xmlns:c16="http://schemas.microsoft.com/office/drawing/2014/chart" uri="{C3380CC4-5D6E-409C-BE32-E72D297353CC}">
              <c16:uniqueId val="{00000006-BF8D-497D-BD60-990E2F238D48}"/>
            </c:ext>
          </c:extLst>
        </c:ser>
        <c:dLbls>
          <c:showLegendKey val="0"/>
          <c:showVal val="0"/>
          <c:showCatName val="0"/>
          <c:showSerName val="0"/>
          <c:showPercent val="0"/>
          <c:showBubbleSize val="0"/>
        </c:dLbls>
        <c:smooth val="0"/>
        <c:axId val="1035770143"/>
        <c:axId val="1"/>
      </c:lineChart>
      <c:catAx>
        <c:axId val="10357701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
          <c:min val="-1"/>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035770143"/>
        <c:crosses val="min"/>
        <c:crossBetween val="midCat"/>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04283054003724E-2"/>
          <c:y val="1.8271257905832748E-2"/>
          <c:w val="0.97579143389199252"/>
          <c:h val="0.96345748418833455"/>
        </c:manualLayout>
      </c:layout>
      <c:scatterChart>
        <c:scatterStyle val="lineMarker"/>
        <c:varyColors val="0"/>
        <c:ser>
          <c:idx val="0"/>
          <c:order val="0"/>
          <c:spPr>
            <a:ln w="19050" cmpd="sng" algn="ctr">
              <a:solidFill>
                <a:srgbClr val="002C77"/>
              </a:solidFill>
              <a:prstDash val="solid"/>
            </a:ln>
          </c:spPr>
          <c:marker>
            <c:symbol val="none"/>
          </c:marker>
          <c:xVal>
            <c:numRef>
              <c:f>Sheet1!$A$1:$JU$1</c:f>
              <c:numCache>
                <c:formatCode>General</c:formatCode>
                <c:ptCount val="281"/>
                <c:pt idx="0">
                  <c:v>10957</c:v>
                </c:pt>
                <c:pt idx="1">
                  <c:v>10987</c:v>
                </c:pt>
                <c:pt idx="2">
                  <c:v>11016</c:v>
                </c:pt>
                <c:pt idx="3">
                  <c:v>11047</c:v>
                </c:pt>
                <c:pt idx="4">
                  <c:v>11075</c:v>
                </c:pt>
                <c:pt idx="5">
                  <c:v>11108</c:v>
                </c:pt>
                <c:pt idx="6">
                  <c:v>11138</c:v>
                </c:pt>
                <c:pt idx="7">
                  <c:v>11169</c:v>
                </c:pt>
                <c:pt idx="8">
                  <c:v>11200</c:v>
                </c:pt>
                <c:pt idx="9">
                  <c:v>11229</c:v>
                </c:pt>
                <c:pt idx="10">
                  <c:v>11261</c:v>
                </c:pt>
                <c:pt idx="11">
                  <c:v>11291</c:v>
                </c:pt>
                <c:pt idx="12">
                  <c:v>11320</c:v>
                </c:pt>
                <c:pt idx="13">
                  <c:v>11353</c:v>
                </c:pt>
                <c:pt idx="14">
                  <c:v>11381</c:v>
                </c:pt>
                <c:pt idx="15">
                  <c:v>11411</c:v>
                </c:pt>
                <c:pt idx="16">
                  <c:v>11442</c:v>
                </c:pt>
                <c:pt idx="17">
                  <c:v>11473</c:v>
                </c:pt>
                <c:pt idx="18">
                  <c:v>11502</c:v>
                </c:pt>
                <c:pt idx="19">
                  <c:v>11534</c:v>
                </c:pt>
                <c:pt idx="20">
                  <c:v>11565</c:v>
                </c:pt>
                <c:pt idx="21">
                  <c:v>11593</c:v>
                </c:pt>
                <c:pt idx="22">
                  <c:v>11626</c:v>
                </c:pt>
                <c:pt idx="23">
                  <c:v>11656</c:v>
                </c:pt>
                <c:pt idx="24">
                  <c:v>11687</c:v>
                </c:pt>
                <c:pt idx="25">
                  <c:v>11718</c:v>
                </c:pt>
                <c:pt idx="26">
                  <c:v>11746</c:v>
                </c:pt>
                <c:pt idx="27">
                  <c:v>11775</c:v>
                </c:pt>
                <c:pt idx="28">
                  <c:v>11807</c:v>
                </c:pt>
                <c:pt idx="29">
                  <c:v>11838</c:v>
                </c:pt>
                <c:pt idx="30">
                  <c:v>11866</c:v>
                </c:pt>
                <c:pt idx="31">
                  <c:v>11899</c:v>
                </c:pt>
                <c:pt idx="32">
                  <c:v>11929</c:v>
                </c:pt>
                <c:pt idx="33">
                  <c:v>11960</c:v>
                </c:pt>
                <c:pt idx="34">
                  <c:v>11991</c:v>
                </c:pt>
                <c:pt idx="35">
                  <c:v>12020</c:v>
                </c:pt>
                <c:pt idx="36">
                  <c:v>12052</c:v>
                </c:pt>
                <c:pt idx="37">
                  <c:v>12083</c:v>
                </c:pt>
                <c:pt idx="38">
                  <c:v>12111</c:v>
                </c:pt>
                <c:pt idx="39">
                  <c:v>12142</c:v>
                </c:pt>
                <c:pt idx="40">
                  <c:v>12172</c:v>
                </c:pt>
                <c:pt idx="41">
                  <c:v>12202</c:v>
                </c:pt>
                <c:pt idx="42">
                  <c:v>12233</c:v>
                </c:pt>
                <c:pt idx="43">
                  <c:v>12264</c:v>
                </c:pt>
                <c:pt idx="44">
                  <c:v>12293</c:v>
                </c:pt>
                <c:pt idx="45">
                  <c:v>12325</c:v>
                </c:pt>
                <c:pt idx="46">
                  <c:v>12356</c:v>
                </c:pt>
                <c:pt idx="47">
                  <c:v>12384</c:v>
                </c:pt>
                <c:pt idx="48">
                  <c:v>12417</c:v>
                </c:pt>
                <c:pt idx="49">
                  <c:v>12447</c:v>
                </c:pt>
                <c:pt idx="50">
                  <c:v>12475</c:v>
                </c:pt>
                <c:pt idx="51">
                  <c:v>12508</c:v>
                </c:pt>
                <c:pt idx="52">
                  <c:v>12538</c:v>
                </c:pt>
                <c:pt idx="53">
                  <c:v>12569</c:v>
                </c:pt>
                <c:pt idx="54">
                  <c:v>12599</c:v>
                </c:pt>
                <c:pt idx="55">
                  <c:v>12629</c:v>
                </c:pt>
                <c:pt idx="56">
                  <c:v>12661</c:v>
                </c:pt>
                <c:pt idx="57">
                  <c:v>12691</c:v>
                </c:pt>
                <c:pt idx="58">
                  <c:v>12720</c:v>
                </c:pt>
                <c:pt idx="59">
                  <c:v>12752</c:v>
                </c:pt>
                <c:pt idx="60">
                  <c:v>12783</c:v>
                </c:pt>
                <c:pt idx="61">
                  <c:v>12814</c:v>
                </c:pt>
                <c:pt idx="62">
                  <c:v>12842</c:v>
                </c:pt>
                <c:pt idx="63">
                  <c:v>12873</c:v>
                </c:pt>
                <c:pt idx="64">
                  <c:v>12902</c:v>
                </c:pt>
                <c:pt idx="65">
                  <c:v>12934</c:v>
                </c:pt>
                <c:pt idx="66">
                  <c:v>12964</c:v>
                </c:pt>
                <c:pt idx="67">
                  <c:v>12993</c:v>
                </c:pt>
                <c:pt idx="68">
                  <c:v>13026</c:v>
                </c:pt>
                <c:pt idx="69">
                  <c:v>13056</c:v>
                </c:pt>
                <c:pt idx="70">
                  <c:v>13087</c:v>
                </c:pt>
                <c:pt idx="71">
                  <c:v>13117</c:v>
                </c:pt>
                <c:pt idx="72">
                  <c:v>13147</c:v>
                </c:pt>
                <c:pt idx="73">
                  <c:v>13179</c:v>
                </c:pt>
                <c:pt idx="74">
                  <c:v>13207</c:v>
                </c:pt>
                <c:pt idx="75">
                  <c:v>13238</c:v>
                </c:pt>
                <c:pt idx="76">
                  <c:v>13266</c:v>
                </c:pt>
                <c:pt idx="77">
                  <c:v>13299</c:v>
                </c:pt>
                <c:pt idx="78">
                  <c:v>13329</c:v>
                </c:pt>
                <c:pt idx="79">
                  <c:v>13360</c:v>
                </c:pt>
                <c:pt idx="80">
                  <c:v>13391</c:v>
                </c:pt>
                <c:pt idx="81">
                  <c:v>13420</c:v>
                </c:pt>
                <c:pt idx="82">
                  <c:v>13452</c:v>
                </c:pt>
                <c:pt idx="83">
                  <c:v>13482</c:v>
                </c:pt>
                <c:pt idx="84">
                  <c:v>13511</c:v>
                </c:pt>
                <c:pt idx="85">
                  <c:v>13544</c:v>
                </c:pt>
                <c:pt idx="86">
                  <c:v>13572</c:v>
                </c:pt>
                <c:pt idx="87">
                  <c:v>13602</c:v>
                </c:pt>
                <c:pt idx="88">
                  <c:v>13633</c:v>
                </c:pt>
                <c:pt idx="89">
                  <c:v>13664</c:v>
                </c:pt>
                <c:pt idx="90">
                  <c:v>13693</c:v>
                </c:pt>
                <c:pt idx="91">
                  <c:v>13725</c:v>
                </c:pt>
                <c:pt idx="92">
                  <c:v>13756</c:v>
                </c:pt>
                <c:pt idx="93">
                  <c:v>13784</c:v>
                </c:pt>
                <c:pt idx="94">
                  <c:v>13817</c:v>
                </c:pt>
                <c:pt idx="95">
                  <c:v>13847</c:v>
                </c:pt>
                <c:pt idx="96">
                  <c:v>13878</c:v>
                </c:pt>
                <c:pt idx="97">
                  <c:v>13909</c:v>
                </c:pt>
                <c:pt idx="98">
                  <c:v>13938</c:v>
                </c:pt>
                <c:pt idx="99">
                  <c:v>13969</c:v>
                </c:pt>
                <c:pt idx="100">
                  <c:v>13999</c:v>
                </c:pt>
                <c:pt idx="101">
                  <c:v>14029</c:v>
                </c:pt>
                <c:pt idx="102">
                  <c:v>14060</c:v>
                </c:pt>
                <c:pt idx="103">
                  <c:v>14091</c:v>
                </c:pt>
                <c:pt idx="104">
                  <c:v>14120</c:v>
                </c:pt>
                <c:pt idx="105">
                  <c:v>14152</c:v>
                </c:pt>
                <c:pt idx="106">
                  <c:v>14183</c:v>
                </c:pt>
                <c:pt idx="107">
                  <c:v>14211</c:v>
                </c:pt>
                <c:pt idx="108">
                  <c:v>14244</c:v>
                </c:pt>
                <c:pt idx="109">
                  <c:v>14274</c:v>
                </c:pt>
                <c:pt idx="110">
                  <c:v>14302</c:v>
                </c:pt>
                <c:pt idx="111">
                  <c:v>14334</c:v>
                </c:pt>
                <c:pt idx="112">
                  <c:v>14364</c:v>
                </c:pt>
                <c:pt idx="113">
                  <c:v>14393</c:v>
                </c:pt>
                <c:pt idx="114">
                  <c:v>14425</c:v>
                </c:pt>
                <c:pt idx="115">
                  <c:v>14456</c:v>
                </c:pt>
                <c:pt idx="116">
                  <c:v>14487</c:v>
                </c:pt>
                <c:pt idx="117">
                  <c:v>14517</c:v>
                </c:pt>
                <c:pt idx="118">
                  <c:v>14547</c:v>
                </c:pt>
                <c:pt idx="119">
                  <c:v>14578</c:v>
                </c:pt>
                <c:pt idx="120">
                  <c:v>14609</c:v>
                </c:pt>
                <c:pt idx="121">
                  <c:v>14638</c:v>
                </c:pt>
                <c:pt idx="122">
                  <c:v>14666</c:v>
                </c:pt>
                <c:pt idx="123">
                  <c:v>14699</c:v>
                </c:pt>
                <c:pt idx="124">
                  <c:v>14729</c:v>
                </c:pt>
                <c:pt idx="125">
                  <c:v>14760</c:v>
                </c:pt>
                <c:pt idx="126">
                  <c:v>14790</c:v>
                </c:pt>
                <c:pt idx="127">
                  <c:v>14820</c:v>
                </c:pt>
                <c:pt idx="128">
                  <c:v>14852</c:v>
                </c:pt>
                <c:pt idx="129">
                  <c:v>14882</c:v>
                </c:pt>
                <c:pt idx="130">
                  <c:v>14911</c:v>
                </c:pt>
                <c:pt idx="131">
                  <c:v>14943</c:v>
                </c:pt>
                <c:pt idx="132">
                  <c:v>14974</c:v>
                </c:pt>
                <c:pt idx="133">
                  <c:v>15005</c:v>
                </c:pt>
                <c:pt idx="134">
                  <c:v>15033</c:v>
                </c:pt>
                <c:pt idx="135">
                  <c:v>15064</c:v>
                </c:pt>
                <c:pt idx="136">
                  <c:v>15093</c:v>
                </c:pt>
                <c:pt idx="137">
                  <c:v>15125</c:v>
                </c:pt>
                <c:pt idx="138">
                  <c:v>15155</c:v>
                </c:pt>
                <c:pt idx="139">
                  <c:v>15184</c:v>
                </c:pt>
                <c:pt idx="140">
                  <c:v>15217</c:v>
                </c:pt>
                <c:pt idx="141">
                  <c:v>15247</c:v>
                </c:pt>
                <c:pt idx="142">
                  <c:v>15278</c:v>
                </c:pt>
                <c:pt idx="143">
                  <c:v>15308</c:v>
                </c:pt>
                <c:pt idx="144">
                  <c:v>15338</c:v>
                </c:pt>
                <c:pt idx="145">
                  <c:v>15370</c:v>
                </c:pt>
                <c:pt idx="146">
                  <c:v>15399</c:v>
                </c:pt>
                <c:pt idx="147">
                  <c:v>15429</c:v>
                </c:pt>
                <c:pt idx="148">
                  <c:v>15460</c:v>
                </c:pt>
                <c:pt idx="149">
                  <c:v>15491</c:v>
                </c:pt>
                <c:pt idx="150">
                  <c:v>15520</c:v>
                </c:pt>
                <c:pt idx="151">
                  <c:v>15552</c:v>
                </c:pt>
                <c:pt idx="152">
                  <c:v>15583</c:v>
                </c:pt>
                <c:pt idx="153">
                  <c:v>15611</c:v>
                </c:pt>
                <c:pt idx="154">
                  <c:v>15644</c:v>
                </c:pt>
                <c:pt idx="155">
                  <c:v>15674</c:v>
                </c:pt>
                <c:pt idx="156">
                  <c:v>15705</c:v>
                </c:pt>
                <c:pt idx="157">
                  <c:v>15736</c:v>
                </c:pt>
                <c:pt idx="158">
                  <c:v>15764</c:v>
                </c:pt>
                <c:pt idx="159">
                  <c:v>15793</c:v>
                </c:pt>
                <c:pt idx="160">
                  <c:v>15825</c:v>
                </c:pt>
                <c:pt idx="161">
                  <c:v>15856</c:v>
                </c:pt>
                <c:pt idx="162">
                  <c:v>15884</c:v>
                </c:pt>
                <c:pt idx="163">
                  <c:v>15917</c:v>
                </c:pt>
                <c:pt idx="164">
                  <c:v>15947</c:v>
                </c:pt>
                <c:pt idx="165">
                  <c:v>15978</c:v>
                </c:pt>
                <c:pt idx="166">
                  <c:v>16009</c:v>
                </c:pt>
                <c:pt idx="167">
                  <c:v>16038</c:v>
                </c:pt>
                <c:pt idx="168">
                  <c:v>16070</c:v>
                </c:pt>
                <c:pt idx="169">
                  <c:v>16101</c:v>
                </c:pt>
                <c:pt idx="170">
                  <c:v>16129</c:v>
                </c:pt>
                <c:pt idx="171">
                  <c:v>16160</c:v>
                </c:pt>
                <c:pt idx="172">
                  <c:v>16190</c:v>
                </c:pt>
                <c:pt idx="173">
                  <c:v>16220</c:v>
                </c:pt>
                <c:pt idx="174">
                  <c:v>16251</c:v>
                </c:pt>
                <c:pt idx="175">
                  <c:v>16282</c:v>
                </c:pt>
                <c:pt idx="176">
                  <c:v>16311</c:v>
                </c:pt>
                <c:pt idx="177">
                  <c:v>16343</c:v>
                </c:pt>
                <c:pt idx="178">
                  <c:v>16374</c:v>
                </c:pt>
                <c:pt idx="179">
                  <c:v>16402</c:v>
                </c:pt>
                <c:pt idx="180">
                  <c:v>16435</c:v>
                </c:pt>
                <c:pt idx="181">
                  <c:v>16465</c:v>
                </c:pt>
                <c:pt idx="182">
                  <c:v>16493</c:v>
                </c:pt>
                <c:pt idx="183">
                  <c:v>16525</c:v>
                </c:pt>
                <c:pt idx="184">
                  <c:v>16555</c:v>
                </c:pt>
                <c:pt idx="185">
                  <c:v>16584</c:v>
                </c:pt>
                <c:pt idx="186">
                  <c:v>16616</c:v>
                </c:pt>
                <c:pt idx="187">
                  <c:v>16647</c:v>
                </c:pt>
                <c:pt idx="188">
                  <c:v>16678</c:v>
                </c:pt>
                <c:pt idx="189">
                  <c:v>16708</c:v>
                </c:pt>
                <c:pt idx="190">
                  <c:v>16738</c:v>
                </c:pt>
                <c:pt idx="191">
                  <c:v>16769</c:v>
                </c:pt>
                <c:pt idx="192">
                  <c:v>16800</c:v>
                </c:pt>
                <c:pt idx="193">
                  <c:v>16829</c:v>
                </c:pt>
                <c:pt idx="194">
                  <c:v>16860</c:v>
                </c:pt>
                <c:pt idx="195">
                  <c:v>16891</c:v>
                </c:pt>
                <c:pt idx="196">
                  <c:v>16920</c:v>
                </c:pt>
                <c:pt idx="197">
                  <c:v>16952</c:v>
                </c:pt>
                <c:pt idx="198">
                  <c:v>16982</c:v>
                </c:pt>
                <c:pt idx="199">
                  <c:v>17011</c:v>
                </c:pt>
                <c:pt idx="200">
                  <c:v>17044</c:v>
                </c:pt>
                <c:pt idx="201">
                  <c:v>17074</c:v>
                </c:pt>
                <c:pt idx="202">
                  <c:v>17105</c:v>
                </c:pt>
                <c:pt idx="203">
                  <c:v>17135</c:v>
                </c:pt>
                <c:pt idx="204">
                  <c:v>17165</c:v>
                </c:pt>
                <c:pt idx="205">
                  <c:v>17197</c:v>
                </c:pt>
                <c:pt idx="206">
                  <c:v>17225</c:v>
                </c:pt>
                <c:pt idx="207">
                  <c:v>17256</c:v>
                </c:pt>
                <c:pt idx="208">
                  <c:v>17284</c:v>
                </c:pt>
                <c:pt idx="209">
                  <c:v>17317</c:v>
                </c:pt>
                <c:pt idx="210">
                  <c:v>17347</c:v>
                </c:pt>
                <c:pt idx="211">
                  <c:v>17378</c:v>
                </c:pt>
                <c:pt idx="212">
                  <c:v>17409</c:v>
                </c:pt>
                <c:pt idx="213">
                  <c:v>17438</c:v>
                </c:pt>
                <c:pt idx="214">
                  <c:v>17470</c:v>
                </c:pt>
                <c:pt idx="215">
                  <c:v>17500</c:v>
                </c:pt>
                <c:pt idx="216">
                  <c:v>17529</c:v>
                </c:pt>
                <c:pt idx="217">
                  <c:v>17562</c:v>
                </c:pt>
                <c:pt idx="218">
                  <c:v>17590</c:v>
                </c:pt>
                <c:pt idx="219">
                  <c:v>17620</c:v>
                </c:pt>
                <c:pt idx="220">
                  <c:v>17651</c:v>
                </c:pt>
                <c:pt idx="221">
                  <c:v>17682</c:v>
                </c:pt>
                <c:pt idx="222">
                  <c:v>17711</c:v>
                </c:pt>
                <c:pt idx="223">
                  <c:v>17743</c:v>
                </c:pt>
                <c:pt idx="224">
                  <c:v>17774</c:v>
                </c:pt>
                <c:pt idx="225">
                  <c:v>17802</c:v>
                </c:pt>
                <c:pt idx="226">
                  <c:v>17835</c:v>
                </c:pt>
                <c:pt idx="227">
                  <c:v>17865</c:v>
                </c:pt>
                <c:pt idx="228">
                  <c:v>17896</c:v>
                </c:pt>
                <c:pt idx="229">
                  <c:v>17927</c:v>
                </c:pt>
                <c:pt idx="230">
                  <c:v>17955</c:v>
                </c:pt>
                <c:pt idx="231">
                  <c:v>17984</c:v>
                </c:pt>
                <c:pt idx="232">
                  <c:v>18016</c:v>
                </c:pt>
                <c:pt idx="233">
                  <c:v>18047</c:v>
                </c:pt>
                <c:pt idx="234">
                  <c:v>18075</c:v>
                </c:pt>
                <c:pt idx="235">
                  <c:v>18108</c:v>
                </c:pt>
                <c:pt idx="236">
                  <c:v>18138</c:v>
                </c:pt>
                <c:pt idx="237">
                  <c:v>18169</c:v>
                </c:pt>
                <c:pt idx="238">
                  <c:v>18200</c:v>
                </c:pt>
                <c:pt idx="239">
                  <c:v>18229</c:v>
                </c:pt>
                <c:pt idx="240">
                  <c:v>18261</c:v>
                </c:pt>
                <c:pt idx="241">
                  <c:v>18292</c:v>
                </c:pt>
                <c:pt idx="242">
                  <c:v>18320</c:v>
                </c:pt>
                <c:pt idx="243">
                  <c:v>18352</c:v>
                </c:pt>
                <c:pt idx="244">
                  <c:v>18382</c:v>
                </c:pt>
                <c:pt idx="245">
                  <c:v>18411</c:v>
                </c:pt>
                <c:pt idx="246">
                  <c:v>18443</c:v>
                </c:pt>
                <c:pt idx="247">
                  <c:v>18474</c:v>
                </c:pt>
                <c:pt idx="248">
                  <c:v>18505</c:v>
                </c:pt>
                <c:pt idx="249">
                  <c:v>18535</c:v>
                </c:pt>
                <c:pt idx="250">
                  <c:v>18565</c:v>
                </c:pt>
                <c:pt idx="251">
                  <c:v>18596</c:v>
                </c:pt>
                <c:pt idx="252">
                  <c:v>18627</c:v>
                </c:pt>
                <c:pt idx="253">
                  <c:v>18656</c:v>
                </c:pt>
                <c:pt idx="254">
                  <c:v>18684</c:v>
                </c:pt>
                <c:pt idx="255">
                  <c:v>18717</c:v>
                </c:pt>
                <c:pt idx="256">
                  <c:v>18747</c:v>
                </c:pt>
                <c:pt idx="257">
                  <c:v>18778</c:v>
                </c:pt>
                <c:pt idx="258">
                  <c:v>18808</c:v>
                </c:pt>
                <c:pt idx="259">
                  <c:v>18838</c:v>
                </c:pt>
                <c:pt idx="260">
                  <c:v>18870</c:v>
                </c:pt>
                <c:pt idx="261">
                  <c:v>18900</c:v>
                </c:pt>
                <c:pt idx="262">
                  <c:v>18929</c:v>
                </c:pt>
                <c:pt idx="263">
                  <c:v>18961</c:v>
                </c:pt>
                <c:pt idx="264">
                  <c:v>18992</c:v>
                </c:pt>
                <c:pt idx="265">
                  <c:v>19023</c:v>
                </c:pt>
                <c:pt idx="266">
                  <c:v>19051</c:v>
                </c:pt>
                <c:pt idx="267">
                  <c:v>19082</c:v>
                </c:pt>
                <c:pt idx="268">
                  <c:v>19111</c:v>
                </c:pt>
                <c:pt idx="269">
                  <c:v>19143</c:v>
                </c:pt>
                <c:pt idx="270">
                  <c:v>19173</c:v>
                </c:pt>
                <c:pt idx="271">
                  <c:v>19202</c:v>
                </c:pt>
                <c:pt idx="272">
                  <c:v>19235</c:v>
                </c:pt>
                <c:pt idx="273">
                  <c:v>19265</c:v>
                </c:pt>
                <c:pt idx="274">
                  <c:v>19296</c:v>
                </c:pt>
                <c:pt idx="275">
                  <c:v>19326</c:v>
                </c:pt>
                <c:pt idx="276">
                  <c:v>19356</c:v>
                </c:pt>
                <c:pt idx="277">
                  <c:v>19388</c:v>
                </c:pt>
                <c:pt idx="278">
                  <c:v>19416</c:v>
                </c:pt>
                <c:pt idx="279">
                  <c:v>19447</c:v>
                </c:pt>
                <c:pt idx="280">
                  <c:v>19475</c:v>
                </c:pt>
              </c:numCache>
            </c:numRef>
          </c:xVal>
          <c:yVal>
            <c:numRef>
              <c:f>Sheet1!$A$2:$JU$2</c:f>
              <c:numCache>
                <c:formatCode>General</c:formatCode>
                <c:ptCount val="281"/>
                <c:pt idx="0">
                  <c:v>100</c:v>
                </c:pt>
                <c:pt idx="1">
                  <c:v>96.273770621757564</c:v>
                </c:pt>
                <c:pt idx="2">
                  <c:v>85.803246633137505</c:v>
                </c:pt>
                <c:pt idx="3">
                  <c:v>93.489558102049628</c:v>
                </c:pt>
                <c:pt idx="4">
                  <c:v>97.669840486906892</c:v>
                </c:pt>
                <c:pt idx="5">
                  <c:v>102.08529678595652</c:v>
                </c:pt>
                <c:pt idx="6">
                  <c:v>97.524948693331453</c:v>
                </c:pt>
                <c:pt idx="7">
                  <c:v>98.636960178978811</c:v>
                </c:pt>
                <c:pt idx="8">
                  <c:v>105.5715078435345</c:v>
                </c:pt>
                <c:pt idx="9">
                  <c:v>108.61027190332328</c:v>
                </c:pt>
                <c:pt idx="10">
                  <c:v>110.95848784053976</c:v>
                </c:pt>
                <c:pt idx="11">
                  <c:v>112.5056151075018</c:v>
                </c:pt>
                <c:pt idx="12">
                  <c:v>120.68209243127552</c:v>
                </c:pt>
                <c:pt idx="13">
                  <c:v>115.29819523838887</c:v>
                </c:pt>
                <c:pt idx="14">
                  <c:v>118.26032959580037</c:v>
                </c:pt>
                <c:pt idx="15">
                  <c:v>116.52294927466026</c:v>
                </c:pt>
                <c:pt idx="16">
                  <c:v>122.46307241066476</c:v>
                </c:pt>
                <c:pt idx="17">
                  <c:v>126.47380056899759</c:v>
                </c:pt>
                <c:pt idx="18">
                  <c:v>123.13204090440668</c:v>
                </c:pt>
                <c:pt idx="19">
                  <c:v>122.44809879066003</c:v>
                </c:pt>
                <c:pt idx="20">
                  <c:v>122.11559634643676</c:v>
                </c:pt>
                <c:pt idx="21">
                  <c:v>116.23624849162803</c:v>
                </c:pt>
                <c:pt idx="22">
                  <c:v>115.12996221362957</c:v>
                </c:pt>
                <c:pt idx="23">
                  <c:v>118.70293218711745</c:v>
                </c:pt>
                <c:pt idx="24">
                  <c:v>122.53750011010018</c:v>
                </c:pt>
                <c:pt idx="25">
                  <c:v>122.00197299463596</c:v>
                </c:pt>
                <c:pt idx="26">
                  <c:v>124.92006729320995</c:v>
                </c:pt>
                <c:pt idx="27">
                  <c:v>130.38852139906462</c:v>
                </c:pt>
                <c:pt idx="28">
                  <c:v>129.94195520245216</c:v>
                </c:pt>
                <c:pt idx="29">
                  <c:v>129.01711396686429</c:v>
                </c:pt>
                <c:pt idx="30">
                  <c:v>124.52767036896763</c:v>
                </c:pt>
                <c:pt idx="31">
                  <c:v>116.80084204592499</c:v>
                </c:pt>
                <c:pt idx="32">
                  <c:v>117.80847859212743</c:v>
                </c:pt>
                <c:pt idx="33">
                  <c:v>108.46053570327571</c:v>
                </c:pt>
                <c:pt idx="34">
                  <c:v>111.47727973364573</c:v>
                </c:pt>
                <c:pt idx="35">
                  <c:v>110.99636229114003</c:v>
                </c:pt>
                <c:pt idx="36">
                  <c:v>110.48725921097832</c:v>
                </c:pt>
                <c:pt idx="37">
                  <c:v>108.12362925316869</c:v>
                </c:pt>
                <c:pt idx="38">
                  <c:v>106.36290770084469</c:v>
                </c:pt>
                <c:pt idx="39">
                  <c:v>106.70818176213083</c:v>
                </c:pt>
                <c:pt idx="40">
                  <c:v>112.28101080743043</c:v>
                </c:pt>
                <c:pt idx="41">
                  <c:v>119.00328538838927</c:v>
                </c:pt>
                <c:pt idx="42">
                  <c:v>117.97230761100298</c:v>
                </c:pt>
                <c:pt idx="43">
                  <c:v>118.17577268283232</c:v>
                </c:pt>
                <c:pt idx="44">
                  <c:v>119.08079589194334</c:v>
                </c:pt>
                <c:pt idx="45">
                  <c:v>119.90786819691193</c:v>
                </c:pt>
                <c:pt idx="46">
                  <c:v>125.38953432041789</c:v>
                </c:pt>
                <c:pt idx="47">
                  <c:v>126.46895616252547</c:v>
                </c:pt>
                <c:pt idx="48">
                  <c:v>131.9493010842663</c:v>
                </c:pt>
                <c:pt idx="49">
                  <c:v>133.4347722688558</c:v>
                </c:pt>
                <c:pt idx="50">
                  <c:v>137.0557459064766</c:v>
                </c:pt>
                <c:pt idx="51">
                  <c:v>137.37063232716483</c:v>
                </c:pt>
                <c:pt idx="52">
                  <c:v>135.63325200602472</c:v>
                </c:pt>
                <c:pt idx="53">
                  <c:v>137.88722221732891</c:v>
                </c:pt>
                <c:pt idx="54">
                  <c:v>139.30090810601328</c:v>
                </c:pt>
                <c:pt idx="55">
                  <c:v>137.00774224234368</c:v>
                </c:pt>
                <c:pt idx="56">
                  <c:v>140.11608959509573</c:v>
                </c:pt>
                <c:pt idx="57">
                  <c:v>140.39926717342098</c:v>
                </c:pt>
                <c:pt idx="58">
                  <c:v>142.83996723419625</c:v>
                </c:pt>
                <c:pt idx="59">
                  <c:v>147.27347995736923</c:v>
                </c:pt>
                <c:pt idx="60">
                  <c:v>150.91955642852739</c:v>
                </c:pt>
                <c:pt idx="61">
                  <c:v>148.43217390538433</c:v>
                </c:pt>
                <c:pt idx="62">
                  <c:v>149.23458377740391</c:v>
                </c:pt>
                <c:pt idx="63">
                  <c:v>148.14283071882181</c:v>
                </c:pt>
                <c:pt idx="64">
                  <c:v>147.75748020399354</c:v>
                </c:pt>
                <c:pt idx="65">
                  <c:v>149.61993429223219</c:v>
                </c:pt>
                <c:pt idx="66">
                  <c:v>149.25043819858539</c:v>
                </c:pt>
                <c:pt idx="67">
                  <c:v>152.49222692961513</c:v>
                </c:pt>
                <c:pt idx="68">
                  <c:v>150.57604396959471</c:v>
                </c:pt>
                <c:pt idx="69">
                  <c:v>150.1766006359384</c:v>
                </c:pt>
                <c:pt idx="70">
                  <c:v>147.31663921502994</c:v>
                </c:pt>
                <c:pt idx="71">
                  <c:v>149.91852589115052</c:v>
                </c:pt>
                <c:pt idx="72">
                  <c:v>149.90443307232252</c:v>
                </c:pt>
                <c:pt idx="73">
                  <c:v>150.78611505024963</c:v>
                </c:pt>
                <c:pt idx="74">
                  <c:v>153.97990011714649</c:v>
                </c:pt>
                <c:pt idx="75">
                  <c:v>154.59646094087174</c:v>
                </c:pt>
                <c:pt idx="76">
                  <c:v>157.58501933358573</c:v>
                </c:pt>
                <c:pt idx="77">
                  <c:v>156.01543163661657</c:v>
                </c:pt>
                <c:pt idx="78">
                  <c:v>156.32855645495133</c:v>
                </c:pt>
                <c:pt idx="79">
                  <c:v>159.49019227889679</c:v>
                </c:pt>
                <c:pt idx="80">
                  <c:v>162.50429390573655</c:v>
                </c:pt>
                <c:pt idx="81">
                  <c:v>165.49065029550869</c:v>
                </c:pt>
                <c:pt idx="82">
                  <c:v>169.83828490394851</c:v>
                </c:pt>
                <c:pt idx="83">
                  <c:v>171.05467132904079</c:v>
                </c:pt>
                <c:pt idx="84">
                  <c:v>174.61883329076116</c:v>
                </c:pt>
                <c:pt idx="85">
                  <c:v>176.14261932653929</c:v>
                </c:pt>
                <c:pt idx="86">
                  <c:v>175.78765645230888</c:v>
                </c:pt>
                <c:pt idx="87">
                  <c:v>176.41742929368539</c:v>
                </c:pt>
                <c:pt idx="88">
                  <c:v>181.33670386583623</c:v>
                </c:pt>
                <c:pt idx="89">
                  <c:v>183.80558956426756</c:v>
                </c:pt>
                <c:pt idx="90">
                  <c:v>177.94870213946595</c:v>
                </c:pt>
                <c:pt idx="91">
                  <c:v>169.16843560902984</c:v>
                </c:pt>
                <c:pt idx="92">
                  <c:v>173.06069600908975</c:v>
                </c:pt>
                <c:pt idx="93">
                  <c:v>176.58257951432611</c:v>
                </c:pt>
                <c:pt idx="94">
                  <c:v>176.68827565553613</c:v>
                </c:pt>
                <c:pt idx="95">
                  <c:v>173.04396078673147</c:v>
                </c:pt>
                <c:pt idx="96">
                  <c:v>170.84856385368118</c:v>
                </c:pt>
                <c:pt idx="97">
                  <c:v>161.94366395673495</c:v>
                </c:pt>
                <c:pt idx="98">
                  <c:v>157.38992187293553</c:v>
                </c:pt>
                <c:pt idx="99">
                  <c:v>156.98519373221873</c:v>
                </c:pt>
                <c:pt idx="100">
                  <c:v>159.8288603313573</c:v>
                </c:pt>
                <c:pt idx="101">
                  <c:v>162.79671989641767</c:v>
                </c:pt>
                <c:pt idx="102">
                  <c:v>151.93556058590886</c:v>
                </c:pt>
                <c:pt idx="103">
                  <c:v>156.08809773369848</c:v>
                </c:pt>
                <c:pt idx="104">
                  <c:v>160.69777069222155</c:v>
                </c:pt>
                <c:pt idx="105">
                  <c:v>153.6509208776302</c:v>
                </c:pt>
                <c:pt idx="106">
                  <c:v>133.66686337892941</c:v>
                </c:pt>
                <c:pt idx="107">
                  <c:v>128.70707195264805</c:v>
                </c:pt>
                <c:pt idx="108">
                  <c:v>130.51843957263517</c:v>
                </c:pt>
                <c:pt idx="109">
                  <c:v>126.44165132604607</c:v>
                </c:pt>
                <c:pt idx="110">
                  <c:v>112.99269815824465</c:v>
                </c:pt>
                <c:pt idx="111">
                  <c:v>117.75166691622691</c:v>
                </c:pt>
                <c:pt idx="112">
                  <c:v>122.40846273770615</c:v>
                </c:pt>
                <c:pt idx="113">
                  <c:v>125.70706314463629</c:v>
                </c:pt>
                <c:pt idx="114">
                  <c:v>128.90040781094476</c:v>
                </c:pt>
                <c:pt idx="115">
                  <c:v>134.06850871552754</c:v>
                </c:pt>
                <c:pt idx="116">
                  <c:v>136.36828058802277</c:v>
                </c:pt>
                <c:pt idx="117">
                  <c:v>139.65587098024355</c:v>
                </c:pt>
                <c:pt idx="118">
                  <c:v>138.65880404816212</c:v>
                </c:pt>
                <c:pt idx="119">
                  <c:v>146.54021297772448</c:v>
                </c:pt>
                <c:pt idx="120">
                  <c:v>150.77070102965652</c:v>
                </c:pt>
                <c:pt idx="121">
                  <c:v>147.00263359551843</c:v>
                </c:pt>
                <c:pt idx="122">
                  <c:v>149.23194137387364</c:v>
                </c:pt>
                <c:pt idx="123">
                  <c:v>154.525116045555</c:v>
                </c:pt>
                <c:pt idx="124">
                  <c:v>155.44687447702429</c:v>
                </c:pt>
                <c:pt idx="125">
                  <c:v>146.91014947195967</c:v>
                </c:pt>
                <c:pt idx="126">
                  <c:v>144.52493988531967</c:v>
                </c:pt>
                <c:pt idx="127">
                  <c:v>151.4427523275171</c:v>
                </c:pt>
                <c:pt idx="128">
                  <c:v>150.0603348806074</c:v>
                </c:pt>
                <c:pt idx="129">
                  <c:v>157.78628240247329</c:v>
                </c:pt>
                <c:pt idx="130">
                  <c:v>161.28086107123039</c:v>
                </c:pt>
                <c:pt idx="131">
                  <c:v>158.46802251327807</c:v>
                </c:pt>
                <c:pt idx="132">
                  <c:v>165.53645195669981</c:v>
                </c:pt>
                <c:pt idx="133">
                  <c:v>164.68383641760545</c:v>
                </c:pt>
                <c:pt idx="134">
                  <c:v>168.54879198118607</c:v>
                </c:pt>
                <c:pt idx="135">
                  <c:v>170.12102208168545</c:v>
                </c:pt>
                <c:pt idx="136">
                  <c:v>176.60548034492172</c:v>
                </c:pt>
                <c:pt idx="137">
                  <c:v>179.4931870028978</c:v>
                </c:pt>
                <c:pt idx="138">
                  <c:v>176.671540433178</c:v>
                </c:pt>
                <c:pt idx="139">
                  <c:v>172.1688848176301</c:v>
                </c:pt>
                <c:pt idx="140">
                  <c:v>171.8372631745836</c:v>
                </c:pt>
                <c:pt idx="141">
                  <c:v>167.57022187381642</c:v>
                </c:pt>
                <c:pt idx="142">
                  <c:v>177.15862348392099</c:v>
                </c:pt>
                <c:pt idx="143">
                  <c:v>178.53839852730042</c:v>
                </c:pt>
                <c:pt idx="144">
                  <c:v>183.55368042771707</c:v>
                </c:pt>
                <c:pt idx="145">
                  <c:v>182.38838047087631</c:v>
                </c:pt>
                <c:pt idx="146">
                  <c:v>185.1342781393956</c:v>
                </c:pt>
                <c:pt idx="147">
                  <c:v>189.80296477676092</c:v>
                </c:pt>
                <c:pt idx="148">
                  <c:v>191.57205394026406</c:v>
                </c:pt>
                <c:pt idx="149">
                  <c:v>187.8722485973241</c:v>
                </c:pt>
                <c:pt idx="150">
                  <c:v>195.13841790492634</c:v>
                </c:pt>
                <c:pt idx="151">
                  <c:v>198.90604493847601</c:v>
                </c:pt>
                <c:pt idx="152">
                  <c:v>196.49088811182651</c:v>
                </c:pt>
                <c:pt idx="153">
                  <c:v>199.28346824271355</c:v>
                </c:pt>
                <c:pt idx="154">
                  <c:v>198.76952075607971</c:v>
                </c:pt>
                <c:pt idx="155">
                  <c:v>197.56370394510844</c:v>
                </c:pt>
                <c:pt idx="156">
                  <c:v>195.84526084926844</c:v>
                </c:pt>
                <c:pt idx="157">
                  <c:v>205.38697999700526</c:v>
                </c:pt>
                <c:pt idx="158">
                  <c:v>210.26397611267203</c:v>
                </c:pt>
                <c:pt idx="159">
                  <c:v>219.85810293042545</c:v>
                </c:pt>
                <c:pt idx="160">
                  <c:v>228.00815621889666</c:v>
                </c:pt>
                <c:pt idx="161">
                  <c:v>219.48376243030654</c:v>
                </c:pt>
                <c:pt idx="162">
                  <c:v>220.19544978112089</c:v>
                </c:pt>
                <c:pt idx="163">
                  <c:v>229.12060810513239</c:v>
                </c:pt>
                <c:pt idx="164">
                  <c:v>217.3830516237569</c:v>
                </c:pt>
                <c:pt idx="165">
                  <c:v>221.05643293139434</c:v>
                </c:pt>
                <c:pt idx="166">
                  <c:v>230.76594470330207</c:v>
                </c:pt>
                <c:pt idx="167">
                  <c:v>232.90981476751247</c:v>
                </c:pt>
                <c:pt idx="168">
                  <c:v>234.84317335047953</c:v>
                </c:pt>
                <c:pt idx="169">
                  <c:v>228.66303189381057</c:v>
                </c:pt>
                <c:pt idx="170">
                  <c:v>236.5426792210194</c:v>
                </c:pt>
                <c:pt idx="171">
                  <c:v>240.84627377062171</c:v>
                </c:pt>
                <c:pt idx="172">
                  <c:v>245.30092572203668</c:v>
                </c:pt>
                <c:pt idx="173">
                  <c:v>247.12550535967509</c:v>
                </c:pt>
                <c:pt idx="174">
                  <c:v>251.8228180352848</c:v>
                </c:pt>
                <c:pt idx="175">
                  <c:v>241.87460914447769</c:v>
                </c:pt>
                <c:pt idx="176">
                  <c:v>250.36465168717456</c:v>
                </c:pt>
                <c:pt idx="177">
                  <c:v>247.56590594805024</c:v>
                </c:pt>
                <c:pt idx="178">
                  <c:v>259.42457259122887</c:v>
                </c:pt>
                <c:pt idx="179">
                  <c:v>266.1781156139624</c:v>
                </c:pt>
                <c:pt idx="180">
                  <c:v>268.62806408709361</c:v>
                </c:pt>
                <c:pt idx="181">
                  <c:v>267.15932812486233</c:v>
                </c:pt>
                <c:pt idx="182">
                  <c:v>270.45440532708545</c:v>
                </c:pt>
                <c:pt idx="183">
                  <c:v>268.78000229008296</c:v>
                </c:pt>
                <c:pt idx="184">
                  <c:v>263.09707309768953</c:v>
                </c:pt>
                <c:pt idx="185">
                  <c:v>264.92869914474193</c:v>
                </c:pt>
                <c:pt idx="186">
                  <c:v>259.55493116538787</c:v>
                </c:pt>
                <c:pt idx="187">
                  <c:v>270.46057093532261</c:v>
                </c:pt>
                <c:pt idx="188">
                  <c:v>256.69585054565619</c:v>
                </c:pt>
                <c:pt idx="189">
                  <c:v>254.95802982392772</c:v>
                </c:pt>
                <c:pt idx="190">
                  <c:v>271.94472091814703</c:v>
                </c:pt>
                <c:pt idx="191">
                  <c:v>274.3818977742153</c:v>
                </c:pt>
                <c:pt idx="192">
                  <c:v>273.40508926919915</c:v>
                </c:pt>
                <c:pt idx="193">
                  <c:v>268.28587282992595</c:v>
                </c:pt>
                <c:pt idx="194">
                  <c:v>270.47686575709253</c:v>
                </c:pt>
                <c:pt idx="195">
                  <c:v>285.85917750786109</c:v>
                </c:pt>
                <c:pt idx="196">
                  <c:v>283.51272317299805</c:v>
                </c:pt>
                <c:pt idx="197">
                  <c:v>287.7088599790369</c:v>
                </c:pt>
                <c:pt idx="198">
                  <c:v>303.3408788634141</c:v>
                </c:pt>
                <c:pt idx="199">
                  <c:v>304.01116855892116</c:v>
                </c:pt>
                <c:pt idx="200">
                  <c:v>297.66103247513934</c:v>
                </c:pt>
                <c:pt idx="201">
                  <c:v>294.04182043987208</c:v>
                </c:pt>
                <c:pt idx="202">
                  <c:v>287.02095425999494</c:v>
                </c:pt>
                <c:pt idx="203">
                  <c:v>287.79738049730037</c:v>
                </c:pt>
                <c:pt idx="204">
                  <c:v>294.37696528762564</c:v>
                </c:pt>
                <c:pt idx="205">
                  <c:v>296.21651854526874</c:v>
                </c:pt>
                <c:pt idx="206">
                  <c:v>308.84148221222017</c:v>
                </c:pt>
                <c:pt idx="207">
                  <c:v>307.84441528013878</c:v>
                </c:pt>
                <c:pt idx="208">
                  <c:v>310.84002008226679</c:v>
                </c:pt>
                <c:pt idx="209">
                  <c:v>318.4858146970484</c:v>
                </c:pt>
                <c:pt idx="210">
                  <c:v>316.7061559194243</c:v>
                </c:pt>
                <c:pt idx="211">
                  <c:v>320.67328441950804</c:v>
                </c:pt>
                <c:pt idx="212">
                  <c:v>322.62866303189384</c:v>
                </c:pt>
                <c:pt idx="213">
                  <c:v>324.53119357367467</c:v>
                </c:pt>
                <c:pt idx="214">
                  <c:v>330.37530938141339</c:v>
                </c:pt>
                <c:pt idx="215">
                  <c:v>342.20138638105226</c:v>
                </c:pt>
                <c:pt idx="216">
                  <c:v>337.72515480080688</c:v>
                </c:pt>
                <c:pt idx="217">
                  <c:v>346.43099363180761</c:v>
                </c:pt>
                <c:pt idx="218">
                  <c:v>330.95884016101053</c:v>
                </c:pt>
                <c:pt idx="219">
                  <c:v>332.94196401046395</c:v>
                </c:pt>
                <c:pt idx="220">
                  <c:v>330.71397743387394</c:v>
                </c:pt>
                <c:pt idx="221">
                  <c:v>332.18007099257488</c:v>
                </c:pt>
                <c:pt idx="222">
                  <c:v>336.13839148089102</c:v>
                </c:pt>
                <c:pt idx="223">
                  <c:v>347.66984048690688</c:v>
                </c:pt>
                <c:pt idx="224">
                  <c:v>353.10218174451478</c:v>
                </c:pt>
                <c:pt idx="225">
                  <c:v>350.93937445500427</c:v>
                </c:pt>
                <c:pt idx="226">
                  <c:v>340.52786414522643</c:v>
                </c:pt>
                <c:pt idx="227">
                  <c:v>356.08853813428692</c:v>
                </c:pt>
                <c:pt idx="228">
                  <c:v>330.44401187319983</c:v>
                </c:pt>
                <c:pt idx="229">
                  <c:v>351.9773986418046</c:v>
                </c:pt>
                <c:pt idx="230">
                  <c:v>365.49681590374604</c:v>
                </c:pt>
                <c:pt idx="231">
                  <c:v>372.92020822139818</c:v>
                </c:pt>
                <c:pt idx="232">
                  <c:v>381.30675662582684</c:v>
                </c:pt>
                <c:pt idx="233">
                  <c:v>376.71425929025037</c:v>
                </c:pt>
                <c:pt idx="234">
                  <c:v>389.8086899844098</c:v>
                </c:pt>
                <c:pt idx="235">
                  <c:v>393.54813138030346</c:v>
                </c:pt>
                <c:pt idx="236">
                  <c:v>402.10027040596123</c:v>
                </c:pt>
                <c:pt idx="237">
                  <c:v>409.82709872900386</c:v>
                </c:pt>
                <c:pt idx="238">
                  <c:v>407.88625333603431</c:v>
                </c:pt>
                <c:pt idx="239">
                  <c:v>407.00325015634206</c:v>
                </c:pt>
                <c:pt idx="240">
                  <c:v>412.9922577576562</c:v>
                </c:pt>
                <c:pt idx="241">
                  <c:v>425.15788361093234</c:v>
                </c:pt>
                <c:pt idx="242">
                  <c:v>383.6884430077597</c:v>
                </c:pt>
                <c:pt idx="243">
                  <c:v>332.35843323086664</c:v>
                </c:pt>
                <c:pt idx="244">
                  <c:v>354.19569640545024</c:v>
                </c:pt>
                <c:pt idx="245">
                  <c:v>354.58104692027854</c:v>
                </c:pt>
                <c:pt idx="246">
                  <c:v>352.51600856138731</c:v>
                </c:pt>
                <c:pt idx="247">
                  <c:v>378.14027639540916</c:v>
                </c:pt>
                <c:pt idx="248">
                  <c:v>388.4844054151655</c:v>
                </c:pt>
                <c:pt idx="249">
                  <c:v>381.11033796341138</c:v>
                </c:pt>
                <c:pt idx="250">
                  <c:v>369.58153136092579</c:v>
                </c:pt>
                <c:pt idx="251">
                  <c:v>391.6865580932415</c:v>
                </c:pt>
                <c:pt idx="252">
                  <c:v>399.28743184800879</c:v>
                </c:pt>
                <c:pt idx="253">
                  <c:v>391.39369170197199</c:v>
                </c:pt>
                <c:pt idx="254">
                  <c:v>386.55192763337521</c:v>
                </c:pt>
                <c:pt idx="255">
                  <c:v>412.09384055737081</c:v>
                </c:pt>
                <c:pt idx="256">
                  <c:v>428.65510468321963</c:v>
                </c:pt>
                <c:pt idx="257">
                  <c:v>433.01066650225022</c:v>
                </c:pt>
                <c:pt idx="258">
                  <c:v>432.31131036791038</c:v>
                </c:pt>
                <c:pt idx="259">
                  <c:v>447.66235367690422</c:v>
                </c:pt>
                <c:pt idx="260">
                  <c:v>454.70964389208399</c:v>
                </c:pt>
                <c:pt idx="261">
                  <c:v>431.45032721763693</c:v>
                </c:pt>
                <c:pt idx="262">
                  <c:v>451.24633366510147</c:v>
                </c:pt>
                <c:pt idx="263">
                  <c:v>444.37916729056718</c:v>
                </c:pt>
                <c:pt idx="264">
                  <c:v>486.30045889741274</c:v>
                </c:pt>
                <c:pt idx="265">
                  <c:v>463.61058018373484</c:v>
                </c:pt>
                <c:pt idx="266">
                  <c:v>451.96330582297628</c:v>
                </c:pt>
                <c:pt idx="267">
                  <c:v>475.128376771511</c:v>
                </c:pt>
                <c:pt idx="268">
                  <c:v>463.62731540609303</c:v>
                </c:pt>
                <c:pt idx="269">
                  <c:v>459.94248368315789</c:v>
                </c:pt>
                <c:pt idx="270">
                  <c:v>439.14148309302112</c:v>
                </c:pt>
                <c:pt idx="271">
                  <c:v>457.11202910167054</c:v>
                </c:pt>
                <c:pt idx="272">
                  <c:v>447.70683413633014</c:v>
                </c:pt>
                <c:pt idx="273">
                  <c:v>409.32680366060947</c:v>
                </c:pt>
                <c:pt idx="274">
                  <c:v>437.23542934653329</c:v>
                </c:pt>
                <c:pt idx="275">
                  <c:v>461.44777289422433</c:v>
                </c:pt>
                <c:pt idx="276">
                  <c:v>452.21873816423397</c:v>
                </c:pt>
                <c:pt idx="277">
                  <c:v>451.73077431231428</c:v>
                </c:pt>
                <c:pt idx="278">
                  <c:v>435.89705195846119</c:v>
                </c:pt>
                <c:pt idx="279">
                  <c:v>441.48133141905856</c:v>
                </c:pt>
                <c:pt idx="280">
                  <c:v>452.56885663199216</c:v>
                </c:pt>
              </c:numCache>
            </c:numRef>
          </c:yVal>
          <c:smooth val="0"/>
          <c:extLst>
            <c:ext xmlns:c16="http://schemas.microsoft.com/office/drawing/2014/chart" uri="{C3380CC4-5D6E-409C-BE32-E72D297353CC}">
              <c16:uniqueId val="{00000000-60F3-4BC2-8232-6B265169268E}"/>
            </c:ext>
          </c:extLst>
        </c:ser>
        <c:ser>
          <c:idx val="1"/>
          <c:order val="1"/>
          <c:spPr>
            <a:ln w="19050" cmpd="sng" algn="ctr">
              <a:solidFill>
                <a:srgbClr val="009DE0"/>
              </a:solidFill>
              <a:prstDash val="solid"/>
            </a:ln>
          </c:spPr>
          <c:marker>
            <c:symbol val="none"/>
          </c:marker>
          <c:xVal>
            <c:numRef>
              <c:f>Sheet1!$A$1:$JU$1</c:f>
              <c:numCache>
                <c:formatCode>General</c:formatCode>
                <c:ptCount val="281"/>
                <c:pt idx="0">
                  <c:v>10957</c:v>
                </c:pt>
                <c:pt idx="1">
                  <c:v>10987</c:v>
                </c:pt>
                <c:pt idx="2">
                  <c:v>11016</c:v>
                </c:pt>
                <c:pt idx="3">
                  <c:v>11047</c:v>
                </c:pt>
                <c:pt idx="4">
                  <c:v>11075</c:v>
                </c:pt>
                <c:pt idx="5">
                  <c:v>11108</c:v>
                </c:pt>
                <c:pt idx="6">
                  <c:v>11138</c:v>
                </c:pt>
                <c:pt idx="7">
                  <c:v>11169</c:v>
                </c:pt>
                <c:pt idx="8">
                  <c:v>11200</c:v>
                </c:pt>
                <c:pt idx="9">
                  <c:v>11229</c:v>
                </c:pt>
                <c:pt idx="10">
                  <c:v>11261</c:v>
                </c:pt>
                <c:pt idx="11">
                  <c:v>11291</c:v>
                </c:pt>
                <c:pt idx="12">
                  <c:v>11320</c:v>
                </c:pt>
                <c:pt idx="13">
                  <c:v>11353</c:v>
                </c:pt>
                <c:pt idx="14">
                  <c:v>11381</c:v>
                </c:pt>
                <c:pt idx="15">
                  <c:v>11411</c:v>
                </c:pt>
                <c:pt idx="16">
                  <c:v>11442</c:v>
                </c:pt>
                <c:pt idx="17">
                  <c:v>11473</c:v>
                </c:pt>
                <c:pt idx="18">
                  <c:v>11502</c:v>
                </c:pt>
                <c:pt idx="19">
                  <c:v>11534</c:v>
                </c:pt>
                <c:pt idx="20">
                  <c:v>11565</c:v>
                </c:pt>
                <c:pt idx="21">
                  <c:v>11593</c:v>
                </c:pt>
                <c:pt idx="22">
                  <c:v>11626</c:v>
                </c:pt>
                <c:pt idx="23">
                  <c:v>11656</c:v>
                </c:pt>
                <c:pt idx="24">
                  <c:v>11687</c:v>
                </c:pt>
                <c:pt idx="25">
                  <c:v>11718</c:v>
                </c:pt>
                <c:pt idx="26">
                  <c:v>11746</c:v>
                </c:pt>
                <c:pt idx="27">
                  <c:v>11775</c:v>
                </c:pt>
                <c:pt idx="28">
                  <c:v>11807</c:v>
                </c:pt>
                <c:pt idx="29">
                  <c:v>11838</c:v>
                </c:pt>
                <c:pt idx="30">
                  <c:v>11866</c:v>
                </c:pt>
                <c:pt idx="31">
                  <c:v>11899</c:v>
                </c:pt>
                <c:pt idx="32">
                  <c:v>11929</c:v>
                </c:pt>
                <c:pt idx="33">
                  <c:v>11960</c:v>
                </c:pt>
                <c:pt idx="34">
                  <c:v>11991</c:v>
                </c:pt>
                <c:pt idx="35">
                  <c:v>12020</c:v>
                </c:pt>
                <c:pt idx="36">
                  <c:v>12052</c:v>
                </c:pt>
                <c:pt idx="37">
                  <c:v>12083</c:v>
                </c:pt>
                <c:pt idx="38">
                  <c:v>12111</c:v>
                </c:pt>
                <c:pt idx="39">
                  <c:v>12142</c:v>
                </c:pt>
                <c:pt idx="40">
                  <c:v>12172</c:v>
                </c:pt>
                <c:pt idx="41">
                  <c:v>12202</c:v>
                </c:pt>
                <c:pt idx="42">
                  <c:v>12233</c:v>
                </c:pt>
                <c:pt idx="43">
                  <c:v>12264</c:v>
                </c:pt>
                <c:pt idx="44">
                  <c:v>12293</c:v>
                </c:pt>
                <c:pt idx="45">
                  <c:v>12325</c:v>
                </c:pt>
                <c:pt idx="46">
                  <c:v>12356</c:v>
                </c:pt>
                <c:pt idx="47">
                  <c:v>12384</c:v>
                </c:pt>
                <c:pt idx="48">
                  <c:v>12417</c:v>
                </c:pt>
                <c:pt idx="49">
                  <c:v>12447</c:v>
                </c:pt>
                <c:pt idx="50">
                  <c:v>12475</c:v>
                </c:pt>
                <c:pt idx="51">
                  <c:v>12508</c:v>
                </c:pt>
                <c:pt idx="52">
                  <c:v>12538</c:v>
                </c:pt>
                <c:pt idx="53">
                  <c:v>12569</c:v>
                </c:pt>
                <c:pt idx="54">
                  <c:v>12599</c:v>
                </c:pt>
                <c:pt idx="55">
                  <c:v>12629</c:v>
                </c:pt>
                <c:pt idx="56">
                  <c:v>12661</c:v>
                </c:pt>
                <c:pt idx="57">
                  <c:v>12691</c:v>
                </c:pt>
                <c:pt idx="58">
                  <c:v>12720</c:v>
                </c:pt>
                <c:pt idx="59">
                  <c:v>12752</c:v>
                </c:pt>
                <c:pt idx="60">
                  <c:v>12783</c:v>
                </c:pt>
                <c:pt idx="61">
                  <c:v>12814</c:v>
                </c:pt>
                <c:pt idx="62">
                  <c:v>12842</c:v>
                </c:pt>
                <c:pt idx="63">
                  <c:v>12873</c:v>
                </c:pt>
                <c:pt idx="64">
                  <c:v>12902</c:v>
                </c:pt>
                <c:pt idx="65">
                  <c:v>12934</c:v>
                </c:pt>
                <c:pt idx="66">
                  <c:v>12964</c:v>
                </c:pt>
                <c:pt idx="67">
                  <c:v>12993</c:v>
                </c:pt>
                <c:pt idx="68">
                  <c:v>13026</c:v>
                </c:pt>
                <c:pt idx="69">
                  <c:v>13056</c:v>
                </c:pt>
                <c:pt idx="70">
                  <c:v>13087</c:v>
                </c:pt>
                <c:pt idx="71">
                  <c:v>13117</c:v>
                </c:pt>
                <c:pt idx="72">
                  <c:v>13147</c:v>
                </c:pt>
                <c:pt idx="73">
                  <c:v>13179</c:v>
                </c:pt>
                <c:pt idx="74">
                  <c:v>13207</c:v>
                </c:pt>
                <c:pt idx="75">
                  <c:v>13238</c:v>
                </c:pt>
                <c:pt idx="76">
                  <c:v>13266</c:v>
                </c:pt>
                <c:pt idx="77">
                  <c:v>13299</c:v>
                </c:pt>
                <c:pt idx="78">
                  <c:v>13329</c:v>
                </c:pt>
                <c:pt idx="79">
                  <c:v>13360</c:v>
                </c:pt>
                <c:pt idx="80">
                  <c:v>13391</c:v>
                </c:pt>
                <c:pt idx="81">
                  <c:v>13420</c:v>
                </c:pt>
                <c:pt idx="82">
                  <c:v>13452</c:v>
                </c:pt>
                <c:pt idx="83">
                  <c:v>13482</c:v>
                </c:pt>
                <c:pt idx="84">
                  <c:v>13511</c:v>
                </c:pt>
                <c:pt idx="85">
                  <c:v>13544</c:v>
                </c:pt>
                <c:pt idx="86">
                  <c:v>13572</c:v>
                </c:pt>
                <c:pt idx="87">
                  <c:v>13602</c:v>
                </c:pt>
                <c:pt idx="88">
                  <c:v>13633</c:v>
                </c:pt>
                <c:pt idx="89">
                  <c:v>13664</c:v>
                </c:pt>
                <c:pt idx="90">
                  <c:v>13693</c:v>
                </c:pt>
                <c:pt idx="91">
                  <c:v>13725</c:v>
                </c:pt>
                <c:pt idx="92">
                  <c:v>13756</c:v>
                </c:pt>
                <c:pt idx="93">
                  <c:v>13784</c:v>
                </c:pt>
                <c:pt idx="94">
                  <c:v>13817</c:v>
                </c:pt>
                <c:pt idx="95">
                  <c:v>13847</c:v>
                </c:pt>
                <c:pt idx="96">
                  <c:v>13878</c:v>
                </c:pt>
                <c:pt idx="97">
                  <c:v>13909</c:v>
                </c:pt>
                <c:pt idx="98">
                  <c:v>13938</c:v>
                </c:pt>
                <c:pt idx="99">
                  <c:v>13969</c:v>
                </c:pt>
                <c:pt idx="100">
                  <c:v>13999</c:v>
                </c:pt>
                <c:pt idx="101">
                  <c:v>14029</c:v>
                </c:pt>
                <c:pt idx="102">
                  <c:v>14060</c:v>
                </c:pt>
                <c:pt idx="103">
                  <c:v>14091</c:v>
                </c:pt>
                <c:pt idx="104">
                  <c:v>14120</c:v>
                </c:pt>
                <c:pt idx="105">
                  <c:v>14152</c:v>
                </c:pt>
                <c:pt idx="106">
                  <c:v>14183</c:v>
                </c:pt>
                <c:pt idx="107">
                  <c:v>14211</c:v>
                </c:pt>
                <c:pt idx="108">
                  <c:v>14244</c:v>
                </c:pt>
                <c:pt idx="109">
                  <c:v>14274</c:v>
                </c:pt>
                <c:pt idx="110">
                  <c:v>14302</c:v>
                </c:pt>
                <c:pt idx="111">
                  <c:v>14334</c:v>
                </c:pt>
                <c:pt idx="112">
                  <c:v>14364</c:v>
                </c:pt>
                <c:pt idx="113">
                  <c:v>14393</c:v>
                </c:pt>
                <c:pt idx="114">
                  <c:v>14425</c:v>
                </c:pt>
                <c:pt idx="115">
                  <c:v>14456</c:v>
                </c:pt>
                <c:pt idx="116">
                  <c:v>14487</c:v>
                </c:pt>
                <c:pt idx="117">
                  <c:v>14517</c:v>
                </c:pt>
                <c:pt idx="118">
                  <c:v>14547</c:v>
                </c:pt>
                <c:pt idx="119">
                  <c:v>14578</c:v>
                </c:pt>
                <c:pt idx="120">
                  <c:v>14609</c:v>
                </c:pt>
                <c:pt idx="121">
                  <c:v>14638</c:v>
                </c:pt>
                <c:pt idx="122">
                  <c:v>14666</c:v>
                </c:pt>
                <c:pt idx="123">
                  <c:v>14699</c:v>
                </c:pt>
                <c:pt idx="124">
                  <c:v>14729</c:v>
                </c:pt>
                <c:pt idx="125">
                  <c:v>14760</c:v>
                </c:pt>
                <c:pt idx="126">
                  <c:v>14790</c:v>
                </c:pt>
                <c:pt idx="127">
                  <c:v>14820</c:v>
                </c:pt>
                <c:pt idx="128">
                  <c:v>14852</c:v>
                </c:pt>
                <c:pt idx="129">
                  <c:v>14882</c:v>
                </c:pt>
                <c:pt idx="130">
                  <c:v>14911</c:v>
                </c:pt>
                <c:pt idx="131">
                  <c:v>14943</c:v>
                </c:pt>
                <c:pt idx="132">
                  <c:v>14974</c:v>
                </c:pt>
                <c:pt idx="133">
                  <c:v>15005</c:v>
                </c:pt>
                <c:pt idx="134">
                  <c:v>15033</c:v>
                </c:pt>
                <c:pt idx="135">
                  <c:v>15064</c:v>
                </c:pt>
                <c:pt idx="136">
                  <c:v>15093</c:v>
                </c:pt>
                <c:pt idx="137">
                  <c:v>15125</c:v>
                </c:pt>
                <c:pt idx="138">
                  <c:v>15155</c:v>
                </c:pt>
                <c:pt idx="139">
                  <c:v>15184</c:v>
                </c:pt>
                <c:pt idx="140">
                  <c:v>15217</c:v>
                </c:pt>
                <c:pt idx="141">
                  <c:v>15247</c:v>
                </c:pt>
                <c:pt idx="142">
                  <c:v>15278</c:v>
                </c:pt>
                <c:pt idx="143">
                  <c:v>15308</c:v>
                </c:pt>
                <c:pt idx="144">
                  <c:v>15338</c:v>
                </c:pt>
                <c:pt idx="145">
                  <c:v>15370</c:v>
                </c:pt>
                <c:pt idx="146">
                  <c:v>15399</c:v>
                </c:pt>
                <c:pt idx="147">
                  <c:v>15429</c:v>
                </c:pt>
                <c:pt idx="148">
                  <c:v>15460</c:v>
                </c:pt>
                <c:pt idx="149">
                  <c:v>15491</c:v>
                </c:pt>
                <c:pt idx="150">
                  <c:v>15520</c:v>
                </c:pt>
                <c:pt idx="151">
                  <c:v>15552</c:v>
                </c:pt>
                <c:pt idx="152">
                  <c:v>15583</c:v>
                </c:pt>
                <c:pt idx="153">
                  <c:v>15611</c:v>
                </c:pt>
                <c:pt idx="154">
                  <c:v>15644</c:v>
                </c:pt>
                <c:pt idx="155">
                  <c:v>15674</c:v>
                </c:pt>
                <c:pt idx="156">
                  <c:v>15705</c:v>
                </c:pt>
                <c:pt idx="157">
                  <c:v>15736</c:v>
                </c:pt>
                <c:pt idx="158">
                  <c:v>15764</c:v>
                </c:pt>
                <c:pt idx="159">
                  <c:v>15793</c:v>
                </c:pt>
                <c:pt idx="160">
                  <c:v>15825</c:v>
                </c:pt>
                <c:pt idx="161">
                  <c:v>15856</c:v>
                </c:pt>
                <c:pt idx="162">
                  <c:v>15884</c:v>
                </c:pt>
                <c:pt idx="163">
                  <c:v>15917</c:v>
                </c:pt>
                <c:pt idx="164">
                  <c:v>15947</c:v>
                </c:pt>
                <c:pt idx="165">
                  <c:v>15978</c:v>
                </c:pt>
                <c:pt idx="166">
                  <c:v>16009</c:v>
                </c:pt>
                <c:pt idx="167">
                  <c:v>16038</c:v>
                </c:pt>
                <c:pt idx="168">
                  <c:v>16070</c:v>
                </c:pt>
                <c:pt idx="169">
                  <c:v>16101</c:v>
                </c:pt>
                <c:pt idx="170">
                  <c:v>16129</c:v>
                </c:pt>
                <c:pt idx="171">
                  <c:v>16160</c:v>
                </c:pt>
                <c:pt idx="172">
                  <c:v>16190</c:v>
                </c:pt>
                <c:pt idx="173">
                  <c:v>16220</c:v>
                </c:pt>
                <c:pt idx="174">
                  <c:v>16251</c:v>
                </c:pt>
                <c:pt idx="175">
                  <c:v>16282</c:v>
                </c:pt>
                <c:pt idx="176">
                  <c:v>16311</c:v>
                </c:pt>
                <c:pt idx="177">
                  <c:v>16343</c:v>
                </c:pt>
                <c:pt idx="178">
                  <c:v>16374</c:v>
                </c:pt>
                <c:pt idx="179">
                  <c:v>16402</c:v>
                </c:pt>
                <c:pt idx="180">
                  <c:v>16435</c:v>
                </c:pt>
                <c:pt idx="181">
                  <c:v>16465</c:v>
                </c:pt>
                <c:pt idx="182">
                  <c:v>16493</c:v>
                </c:pt>
                <c:pt idx="183">
                  <c:v>16525</c:v>
                </c:pt>
                <c:pt idx="184">
                  <c:v>16555</c:v>
                </c:pt>
                <c:pt idx="185">
                  <c:v>16584</c:v>
                </c:pt>
                <c:pt idx="186">
                  <c:v>16616</c:v>
                </c:pt>
                <c:pt idx="187">
                  <c:v>16647</c:v>
                </c:pt>
                <c:pt idx="188">
                  <c:v>16678</c:v>
                </c:pt>
                <c:pt idx="189">
                  <c:v>16708</c:v>
                </c:pt>
                <c:pt idx="190">
                  <c:v>16738</c:v>
                </c:pt>
                <c:pt idx="191">
                  <c:v>16769</c:v>
                </c:pt>
                <c:pt idx="192">
                  <c:v>16800</c:v>
                </c:pt>
                <c:pt idx="193">
                  <c:v>16829</c:v>
                </c:pt>
                <c:pt idx="194">
                  <c:v>16860</c:v>
                </c:pt>
                <c:pt idx="195">
                  <c:v>16891</c:v>
                </c:pt>
                <c:pt idx="196">
                  <c:v>16920</c:v>
                </c:pt>
                <c:pt idx="197">
                  <c:v>16952</c:v>
                </c:pt>
                <c:pt idx="198">
                  <c:v>16982</c:v>
                </c:pt>
                <c:pt idx="199">
                  <c:v>17011</c:v>
                </c:pt>
                <c:pt idx="200">
                  <c:v>17044</c:v>
                </c:pt>
                <c:pt idx="201">
                  <c:v>17074</c:v>
                </c:pt>
                <c:pt idx="202">
                  <c:v>17105</c:v>
                </c:pt>
                <c:pt idx="203">
                  <c:v>17135</c:v>
                </c:pt>
                <c:pt idx="204">
                  <c:v>17165</c:v>
                </c:pt>
                <c:pt idx="205">
                  <c:v>17197</c:v>
                </c:pt>
                <c:pt idx="206">
                  <c:v>17225</c:v>
                </c:pt>
                <c:pt idx="207">
                  <c:v>17256</c:v>
                </c:pt>
                <c:pt idx="208">
                  <c:v>17284</c:v>
                </c:pt>
                <c:pt idx="209">
                  <c:v>17317</c:v>
                </c:pt>
                <c:pt idx="210">
                  <c:v>17347</c:v>
                </c:pt>
                <c:pt idx="211">
                  <c:v>17378</c:v>
                </c:pt>
                <c:pt idx="212">
                  <c:v>17409</c:v>
                </c:pt>
                <c:pt idx="213">
                  <c:v>17438</c:v>
                </c:pt>
                <c:pt idx="214">
                  <c:v>17470</c:v>
                </c:pt>
                <c:pt idx="215">
                  <c:v>17500</c:v>
                </c:pt>
                <c:pt idx="216">
                  <c:v>17529</c:v>
                </c:pt>
                <c:pt idx="217">
                  <c:v>17562</c:v>
                </c:pt>
                <c:pt idx="218">
                  <c:v>17590</c:v>
                </c:pt>
                <c:pt idx="219">
                  <c:v>17620</c:v>
                </c:pt>
                <c:pt idx="220">
                  <c:v>17651</c:v>
                </c:pt>
                <c:pt idx="221">
                  <c:v>17682</c:v>
                </c:pt>
                <c:pt idx="222">
                  <c:v>17711</c:v>
                </c:pt>
                <c:pt idx="223">
                  <c:v>17743</c:v>
                </c:pt>
                <c:pt idx="224">
                  <c:v>17774</c:v>
                </c:pt>
                <c:pt idx="225">
                  <c:v>17802</c:v>
                </c:pt>
                <c:pt idx="226">
                  <c:v>17835</c:v>
                </c:pt>
                <c:pt idx="227">
                  <c:v>17865</c:v>
                </c:pt>
                <c:pt idx="228">
                  <c:v>17896</c:v>
                </c:pt>
                <c:pt idx="229">
                  <c:v>17927</c:v>
                </c:pt>
                <c:pt idx="230">
                  <c:v>17955</c:v>
                </c:pt>
                <c:pt idx="231">
                  <c:v>17984</c:v>
                </c:pt>
                <c:pt idx="232">
                  <c:v>18016</c:v>
                </c:pt>
                <c:pt idx="233">
                  <c:v>18047</c:v>
                </c:pt>
                <c:pt idx="234">
                  <c:v>18075</c:v>
                </c:pt>
                <c:pt idx="235">
                  <c:v>18108</c:v>
                </c:pt>
                <c:pt idx="236">
                  <c:v>18138</c:v>
                </c:pt>
                <c:pt idx="237">
                  <c:v>18169</c:v>
                </c:pt>
                <c:pt idx="238">
                  <c:v>18200</c:v>
                </c:pt>
                <c:pt idx="239">
                  <c:v>18229</c:v>
                </c:pt>
                <c:pt idx="240">
                  <c:v>18261</c:v>
                </c:pt>
                <c:pt idx="241">
                  <c:v>18292</c:v>
                </c:pt>
                <c:pt idx="242">
                  <c:v>18320</c:v>
                </c:pt>
                <c:pt idx="243">
                  <c:v>18352</c:v>
                </c:pt>
                <c:pt idx="244">
                  <c:v>18382</c:v>
                </c:pt>
                <c:pt idx="245">
                  <c:v>18411</c:v>
                </c:pt>
                <c:pt idx="246">
                  <c:v>18443</c:v>
                </c:pt>
                <c:pt idx="247">
                  <c:v>18474</c:v>
                </c:pt>
                <c:pt idx="248">
                  <c:v>18505</c:v>
                </c:pt>
                <c:pt idx="249">
                  <c:v>18535</c:v>
                </c:pt>
                <c:pt idx="250">
                  <c:v>18565</c:v>
                </c:pt>
                <c:pt idx="251">
                  <c:v>18596</c:v>
                </c:pt>
                <c:pt idx="252">
                  <c:v>18627</c:v>
                </c:pt>
                <c:pt idx="253">
                  <c:v>18656</c:v>
                </c:pt>
                <c:pt idx="254">
                  <c:v>18684</c:v>
                </c:pt>
                <c:pt idx="255">
                  <c:v>18717</c:v>
                </c:pt>
                <c:pt idx="256">
                  <c:v>18747</c:v>
                </c:pt>
                <c:pt idx="257">
                  <c:v>18778</c:v>
                </c:pt>
                <c:pt idx="258">
                  <c:v>18808</c:v>
                </c:pt>
                <c:pt idx="259">
                  <c:v>18838</c:v>
                </c:pt>
                <c:pt idx="260">
                  <c:v>18870</c:v>
                </c:pt>
                <c:pt idx="261">
                  <c:v>18900</c:v>
                </c:pt>
                <c:pt idx="262">
                  <c:v>18929</c:v>
                </c:pt>
                <c:pt idx="263">
                  <c:v>18961</c:v>
                </c:pt>
                <c:pt idx="264">
                  <c:v>18992</c:v>
                </c:pt>
                <c:pt idx="265">
                  <c:v>19023</c:v>
                </c:pt>
                <c:pt idx="266">
                  <c:v>19051</c:v>
                </c:pt>
                <c:pt idx="267">
                  <c:v>19082</c:v>
                </c:pt>
                <c:pt idx="268">
                  <c:v>19111</c:v>
                </c:pt>
                <c:pt idx="269">
                  <c:v>19143</c:v>
                </c:pt>
                <c:pt idx="270">
                  <c:v>19173</c:v>
                </c:pt>
                <c:pt idx="271">
                  <c:v>19202</c:v>
                </c:pt>
                <c:pt idx="272">
                  <c:v>19235</c:v>
                </c:pt>
                <c:pt idx="273">
                  <c:v>19265</c:v>
                </c:pt>
                <c:pt idx="274">
                  <c:v>19296</c:v>
                </c:pt>
                <c:pt idx="275">
                  <c:v>19326</c:v>
                </c:pt>
                <c:pt idx="276">
                  <c:v>19356</c:v>
                </c:pt>
                <c:pt idx="277">
                  <c:v>19388</c:v>
                </c:pt>
                <c:pt idx="278">
                  <c:v>19416</c:v>
                </c:pt>
                <c:pt idx="279">
                  <c:v>19447</c:v>
                </c:pt>
                <c:pt idx="280">
                  <c:v>19475</c:v>
                </c:pt>
              </c:numCache>
            </c:numRef>
          </c:xVal>
          <c:yVal>
            <c:numRef>
              <c:f>Sheet1!$A$3:$JU$3</c:f>
              <c:numCache>
                <c:formatCode>General</c:formatCode>
                <c:ptCount val="281"/>
                <c:pt idx="0">
                  <c:v>100</c:v>
                </c:pt>
                <c:pt idx="1">
                  <c:v>93.763470488345334</c:v>
                </c:pt>
                <c:pt idx="2">
                  <c:v>101.00103014988838</c:v>
                </c:pt>
                <c:pt idx="3">
                  <c:v>110.49834414103556</c:v>
                </c:pt>
                <c:pt idx="4">
                  <c:v>104.83429407595973</c:v>
                </c:pt>
                <c:pt idx="5">
                  <c:v>100.35966530043953</c:v>
                </c:pt>
                <c:pt idx="6">
                  <c:v>105.06777384296008</c:v>
                </c:pt>
                <c:pt idx="7">
                  <c:v>104.26651136139475</c:v>
                </c:pt>
                <c:pt idx="8">
                  <c:v>116.75407806803584</c:v>
                </c:pt>
                <c:pt idx="9">
                  <c:v>105.64745494529352</c:v>
                </c:pt>
                <c:pt idx="10">
                  <c:v>99.354669021294995</c:v>
                </c:pt>
                <c:pt idx="11">
                  <c:v>78.300576236832214</c:v>
                </c:pt>
                <c:pt idx="12">
                  <c:v>79.536547359236366</c:v>
                </c:pt>
                <c:pt idx="13">
                  <c:v>95.567119953491954</c:v>
                </c:pt>
                <c:pt idx="14">
                  <c:v>72.272894742060728</c:v>
                </c:pt>
                <c:pt idx="15">
                  <c:v>62.338784673624119</c:v>
                </c:pt>
                <c:pt idx="16">
                  <c:v>74.917050494044048</c:v>
                </c:pt>
                <c:pt idx="17">
                  <c:v>71.005716444720008</c:v>
                </c:pt>
                <c:pt idx="18">
                  <c:v>72.041919898801112</c:v>
                </c:pt>
                <c:pt idx="19">
                  <c:v>65.294907803150593</c:v>
                </c:pt>
                <c:pt idx="20">
                  <c:v>56.965514506117771</c:v>
                </c:pt>
                <c:pt idx="21">
                  <c:v>42.498327441543971</c:v>
                </c:pt>
                <c:pt idx="22">
                  <c:v>49.601873682958086</c:v>
                </c:pt>
                <c:pt idx="23">
                  <c:v>58.93626325913543</c:v>
                </c:pt>
                <c:pt idx="24">
                  <c:v>59.688679727756572</c:v>
                </c:pt>
                <c:pt idx="25">
                  <c:v>58.754656287932661</c:v>
                </c:pt>
                <c:pt idx="26">
                  <c:v>49.593106449865545</c:v>
                </c:pt>
                <c:pt idx="27">
                  <c:v>55.603357850274485</c:v>
                </c:pt>
                <c:pt idx="28">
                  <c:v>48.955812101495368</c:v>
                </c:pt>
                <c:pt idx="29">
                  <c:v>45.057837645455209</c:v>
                </c:pt>
                <c:pt idx="30">
                  <c:v>36.930925684131225</c:v>
                </c:pt>
                <c:pt idx="31">
                  <c:v>32.123663910206851</c:v>
                </c:pt>
                <c:pt idx="32">
                  <c:v>31.79030030904498</c:v>
                </c:pt>
                <c:pt idx="33">
                  <c:v>25.548552206263786</c:v>
                </c:pt>
                <c:pt idx="34">
                  <c:v>31.282740136079994</c:v>
                </c:pt>
                <c:pt idx="35">
                  <c:v>40.355887040463934</c:v>
                </c:pt>
                <c:pt idx="36">
                  <c:v>34.23333155901237</c:v>
                </c:pt>
                <c:pt idx="37">
                  <c:v>34.002356715752754</c:v>
                </c:pt>
                <c:pt idx="38">
                  <c:v>34.410763657313922</c:v>
                </c:pt>
                <c:pt idx="39">
                  <c:v>34.595919270482725</c:v>
                </c:pt>
                <c:pt idx="40">
                  <c:v>41.56743515639598</c:v>
                </c:pt>
                <c:pt idx="41">
                  <c:v>48.400032146521369</c:v>
                </c:pt>
                <c:pt idx="42">
                  <c:v>48.478415385241632</c:v>
                </c:pt>
                <c:pt idx="43">
                  <c:v>50.476718299407288</c:v>
                </c:pt>
                <c:pt idx="44">
                  <c:v>55.414653595139633</c:v>
                </c:pt>
                <c:pt idx="45">
                  <c:v>53.387335314310533</c:v>
                </c:pt>
                <c:pt idx="46">
                  <c:v>59.090420441012711</c:v>
                </c:pt>
                <c:pt idx="47">
                  <c:v>60.90085407462378</c:v>
                </c:pt>
                <c:pt idx="48">
                  <c:v>63.006033735060491</c:v>
                </c:pt>
                <c:pt idx="49">
                  <c:v>67.167442671167194</c:v>
                </c:pt>
                <c:pt idx="50">
                  <c:v>65.859037503927013</c:v>
                </c:pt>
                <c:pt idx="51">
                  <c:v>63.923879542392207</c:v>
                </c:pt>
                <c:pt idx="52">
                  <c:v>59.014855241500761</c:v>
                </c:pt>
                <c:pt idx="53">
                  <c:v>61.513725416521865</c:v>
                </c:pt>
                <c:pt idx="54">
                  <c:v>63.426547808035188</c:v>
                </c:pt>
                <c:pt idx="55">
                  <c:v>56.763868144989182</c:v>
                </c:pt>
                <c:pt idx="56">
                  <c:v>53.763908849999964</c:v>
                </c:pt>
                <c:pt idx="57">
                  <c:v>55.591355090683479</c:v>
                </c:pt>
                <c:pt idx="58">
                  <c:v>59.605912872490016</c:v>
                </c:pt>
                <c:pt idx="59">
                  <c:v>64.102981589854252</c:v>
                </c:pt>
                <c:pt idx="60">
                  <c:v>67.057539142042771</c:v>
                </c:pt>
                <c:pt idx="61">
                  <c:v>62.250381739940934</c:v>
                </c:pt>
                <c:pt idx="62">
                  <c:v>62.678619327782862</c:v>
                </c:pt>
                <c:pt idx="63">
                  <c:v>60.088632551692783</c:v>
                </c:pt>
                <c:pt idx="64">
                  <c:v>55.862304341972212</c:v>
                </c:pt>
                <c:pt idx="65">
                  <c:v>61.895726286982892</c:v>
                </c:pt>
                <c:pt idx="66">
                  <c:v>61.823605357614426</c:v>
                </c:pt>
                <c:pt idx="67">
                  <c:v>67.369089032295804</c:v>
                </c:pt>
                <c:pt idx="68">
                  <c:v>65.835762587502757</c:v>
                </c:pt>
                <c:pt idx="69">
                  <c:v>67.756099750238249</c:v>
                </c:pt>
                <c:pt idx="70">
                  <c:v>64.57557720227156</c:v>
                </c:pt>
                <c:pt idx="71">
                  <c:v>68.490459893561621</c:v>
                </c:pt>
                <c:pt idx="72">
                  <c:v>68.954183901063871</c:v>
                </c:pt>
                <c:pt idx="73">
                  <c:v>74.660504554264477</c:v>
                </c:pt>
                <c:pt idx="74">
                  <c:v>73.474110047562235</c:v>
                </c:pt>
                <c:pt idx="75">
                  <c:v>76.225038173994093</c:v>
                </c:pt>
                <c:pt idx="76">
                  <c:v>77.081200234210371</c:v>
                </c:pt>
                <c:pt idx="77">
                  <c:v>71.761055324371966</c:v>
                </c:pt>
                <c:pt idx="78">
                  <c:v>70.775159088750485</c:v>
                </c:pt>
                <c:pt idx="79">
                  <c:v>66.475144372323498</c:v>
                </c:pt>
                <c:pt idx="80">
                  <c:v>68.869955840281875</c:v>
                </c:pt>
                <c:pt idx="81">
                  <c:v>69.927555517981673</c:v>
                </c:pt>
                <c:pt idx="82">
                  <c:v>73.453966285813848</c:v>
                </c:pt>
                <c:pt idx="83">
                  <c:v>77.413624488969432</c:v>
                </c:pt>
                <c:pt idx="84">
                  <c:v>75.190295925428387</c:v>
                </c:pt>
                <c:pt idx="85">
                  <c:v>76.89844517295974</c:v>
                </c:pt>
                <c:pt idx="86">
                  <c:v>76.616432508482802</c:v>
                </c:pt>
                <c:pt idx="87">
                  <c:v>77.414772579017281</c:v>
                </c:pt>
                <c:pt idx="88">
                  <c:v>81.904117781514273</c:v>
                </c:pt>
                <c:pt idx="89">
                  <c:v>85.936731888618539</c:v>
                </c:pt>
                <c:pt idx="90">
                  <c:v>82.360431389616863</c:v>
                </c:pt>
                <c:pt idx="91">
                  <c:v>77.702421321910862</c:v>
                </c:pt>
                <c:pt idx="92">
                  <c:v>78.331574668123679</c:v>
                </c:pt>
                <c:pt idx="93">
                  <c:v>81.057766672615841</c:v>
                </c:pt>
                <c:pt idx="94">
                  <c:v>81.70299327949833</c:v>
                </c:pt>
                <c:pt idx="95">
                  <c:v>75.079557421723734</c:v>
                </c:pt>
                <c:pt idx="96">
                  <c:v>74.052121200735186</c:v>
                </c:pt>
                <c:pt idx="97">
                  <c:v>69.220227676693668</c:v>
                </c:pt>
                <c:pt idx="98">
                  <c:v>65.738592420726988</c:v>
                </c:pt>
                <c:pt idx="99">
                  <c:v>62.778711905589418</c:v>
                </c:pt>
                <c:pt idx="100">
                  <c:v>66.342487785887457</c:v>
                </c:pt>
                <c:pt idx="101">
                  <c:v>65.380597069447958</c:v>
                </c:pt>
                <c:pt idx="102">
                  <c:v>53.003038263753851</c:v>
                </c:pt>
                <c:pt idx="103">
                  <c:v>51.658833561385755</c:v>
                </c:pt>
                <c:pt idx="104">
                  <c:v>53.60766423167204</c:v>
                </c:pt>
                <c:pt idx="105">
                  <c:v>44.758812373905783</c:v>
                </c:pt>
                <c:pt idx="106">
                  <c:v>33.332602730575616</c:v>
                </c:pt>
                <c:pt idx="107">
                  <c:v>27.209316646366343</c:v>
                </c:pt>
                <c:pt idx="108">
                  <c:v>28.662172415988501</c:v>
                </c:pt>
                <c:pt idx="109">
                  <c:v>24.354434184694281</c:v>
                </c:pt>
                <c:pt idx="110">
                  <c:v>20.270260397260024</c:v>
                </c:pt>
                <c:pt idx="111">
                  <c:v>23.340670672457211</c:v>
                </c:pt>
                <c:pt idx="112">
                  <c:v>30.078915535015174</c:v>
                </c:pt>
                <c:pt idx="113">
                  <c:v>35.366809551691702</c:v>
                </c:pt>
                <c:pt idx="114">
                  <c:v>34.004652895848395</c:v>
                </c:pt>
                <c:pt idx="115">
                  <c:v>37.273056518385609</c:v>
                </c:pt>
                <c:pt idx="116">
                  <c:v>42.052868502984502</c:v>
                </c:pt>
                <c:pt idx="117">
                  <c:v>44.500909600433339</c:v>
                </c:pt>
                <c:pt idx="118">
                  <c:v>40.542816974615725</c:v>
                </c:pt>
                <c:pt idx="119">
                  <c:v>42.688910389484327</c:v>
                </c:pt>
                <c:pt idx="120">
                  <c:v>44.271500334511693</c:v>
                </c:pt>
                <c:pt idx="121">
                  <c:v>43.308461528024353</c:v>
                </c:pt>
                <c:pt idx="122">
                  <c:v>45.617896845152927</c:v>
                </c:pt>
                <c:pt idx="123">
                  <c:v>50.933762510267584</c:v>
                </c:pt>
                <c:pt idx="124">
                  <c:v>52.510507633233246</c:v>
                </c:pt>
                <c:pt idx="125">
                  <c:v>47.516420296979582</c:v>
                </c:pt>
                <c:pt idx="126">
                  <c:v>42.748089212859028</c:v>
                </c:pt>
                <c:pt idx="127">
                  <c:v>46.805439441902998</c:v>
                </c:pt>
                <c:pt idx="128">
                  <c:v>42.797039597625755</c:v>
                </c:pt>
                <c:pt idx="129">
                  <c:v>47.404011844114436</c:v>
                </c:pt>
                <c:pt idx="130">
                  <c:v>48.896946393588244</c:v>
                </c:pt>
                <c:pt idx="131">
                  <c:v>49.335203676393085</c:v>
                </c:pt>
                <c:pt idx="132">
                  <c:v>55.753862018363193</c:v>
                </c:pt>
                <c:pt idx="133">
                  <c:v>57.468691062536465</c:v>
                </c:pt>
                <c:pt idx="134">
                  <c:v>60.346222209697608</c:v>
                </c:pt>
                <c:pt idx="135">
                  <c:v>60.072246175555499</c:v>
                </c:pt>
                <c:pt idx="136">
                  <c:v>60.642429442038676</c:v>
                </c:pt>
                <c:pt idx="137">
                  <c:v>58.726580267671984</c:v>
                </c:pt>
                <c:pt idx="138">
                  <c:v>56.299935393841864</c:v>
                </c:pt>
                <c:pt idx="139">
                  <c:v>53.836551638481062</c:v>
                </c:pt>
                <c:pt idx="140">
                  <c:v>46.700023901147375</c:v>
                </c:pt>
                <c:pt idx="141">
                  <c:v>38.875581481516278</c:v>
                </c:pt>
                <c:pt idx="142">
                  <c:v>47.215098845334531</c:v>
                </c:pt>
                <c:pt idx="143">
                  <c:v>46.470823378870769</c:v>
                </c:pt>
                <c:pt idx="144">
                  <c:v>45.196130310307872</c:v>
                </c:pt>
                <c:pt idx="145">
                  <c:v>50.119557922708502</c:v>
                </c:pt>
                <c:pt idx="146">
                  <c:v>52.630952716433249</c:v>
                </c:pt>
                <c:pt idx="147">
                  <c:v>52.793877131403086</c:v>
                </c:pt>
                <c:pt idx="148">
                  <c:v>51.102427375476587</c:v>
                </c:pt>
                <c:pt idx="149">
                  <c:v>44.230586580079809</c:v>
                </c:pt>
                <c:pt idx="150">
                  <c:v>45.963158834083252</c:v>
                </c:pt>
                <c:pt idx="151">
                  <c:v>45.734271427274244</c:v>
                </c:pt>
                <c:pt idx="152">
                  <c:v>48.051012771979934</c:v>
                </c:pt>
                <c:pt idx="153">
                  <c:v>49.827525563268644</c:v>
                </c:pt>
                <c:pt idx="154">
                  <c:v>49.124268223059296</c:v>
                </c:pt>
                <c:pt idx="155">
                  <c:v>49.896097850671069</c:v>
                </c:pt>
                <c:pt idx="156">
                  <c:v>52.762983071934123</c:v>
                </c:pt>
                <c:pt idx="157">
                  <c:v>56.845486910207896</c:v>
                </c:pt>
                <c:pt idx="158">
                  <c:v>55.902800609113974</c:v>
                </c:pt>
                <c:pt idx="159">
                  <c:v>57.619821461560399</c:v>
                </c:pt>
                <c:pt idx="160">
                  <c:v>57.398031338683452</c:v>
                </c:pt>
                <c:pt idx="161">
                  <c:v>61.386287421212337</c:v>
                </c:pt>
                <c:pt idx="162">
                  <c:v>59.901180758428303</c:v>
                </c:pt>
                <c:pt idx="163">
                  <c:v>63.126687561905563</c:v>
                </c:pt>
                <c:pt idx="164">
                  <c:v>61.660263455354453</c:v>
                </c:pt>
                <c:pt idx="165">
                  <c:v>65.0306383485038</c:v>
                </c:pt>
                <c:pt idx="166">
                  <c:v>68.626038891028529</c:v>
                </c:pt>
                <c:pt idx="167">
                  <c:v>70.632900294641686</c:v>
                </c:pt>
                <c:pt idx="168">
                  <c:v>73.682958064445458</c:v>
                </c:pt>
                <c:pt idx="169">
                  <c:v>70.990060671340458</c:v>
                </c:pt>
                <c:pt idx="170">
                  <c:v>75.034573166213193</c:v>
                </c:pt>
                <c:pt idx="171">
                  <c:v>75.094378220523083</c:v>
                </c:pt>
                <c:pt idx="172">
                  <c:v>75.110451481192754</c:v>
                </c:pt>
                <c:pt idx="173">
                  <c:v>76.796265158702596</c:v>
                </c:pt>
                <c:pt idx="174">
                  <c:v>80.266315142368413</c:v>
                </c:pt>
                <c:pt idx="175">
                  <c:v>77.931934959655095</c:v>
                </c:pt>
                <c:pt idx="176">
                  <c:v>82.136031971176706</c:v>
                </c:pt>
                <c:pt idx="177">
                  <c:v>79.846114184861307</c:v>
                </c:pt>
                <c:pt idx="178">
                  <c:v>82.016526234379484</c:v>
                </c:pt>
                <c:pt idx="179">
                  <c:v>82.951697764251236</c:v>
                </c:pt>
                <c:pt idx="180">
                  <c:v>82.375669675706362</c:v>
                </c:pt>
                <c:pt idx="181">
                  <c:v>78.67234866868526</c:v>
                </c:pt>
                <c:pt idx="182">
                  <c:v>84.480327477030414</c:v>
                </c:pt>
                <c:pt idx="183">
                  <c:v>82.717069907203054</c:v>
                </c:pt>
                <c:pt idx="184">
                  <c:v>84.970040068342726</c:v>
                </c:pt>
                <c:pt idx="185">
                  <c:v>83.539311125096987</c:v>
                </c:pt>
                <c:pt idx="186">
                  <c:v>81.082294050910534</c:v>
                </c:pt>
                <c:pt idx="187">
                  <c:v>77.657228322755287</c:v>
                </c:pt>
                <c:pt idx="188">
                  <c:v>73.542995450432301</c:v>
                </c:pt>
                <c:pt idx="189">
                  <c:v>68.880184278889899</c:v>
                </c:pt>
                <c:pt idx="190">
                  <c:v>75.836566250536265</c:v>
                </c:pt>
                <c:pt idx="191">
                  <c:v>76.052407179528984</c:v>
                </c:pt>
                <c:pt idx="192">
                  <c:v>70.990269414985548</c:v>
                </c:pt>
                <c:pt idx="193">
                  <c:v>62.278875247491726</c:v>
                </c:pt>
                <c:pt idx="194">
                  <c:v>62.204145022560006</c:v>
                </c:pt>
                <c:pt idx="195">
                  <c:v>69.466962665155407</c:v>
                </c:pt>
                <c:pt idx="196">
                  <c:v>74.065585165841654</c:v>
                </c:pt>
                <c:pt idx="197">
                  <c:v>73.862477599197632</c:v>
                </c:pt>
                <c:pt idx="198">
                  <c:v>70.793841644983473</c:v>
                </c:pt>
                <c:pt idx="199">
                  <c:v>75.119009970640263</c:v>
                </c:pt>
                <c:pt idx="200">
                  <c:v>77.611200349019441</c:v>
                </c:pt>
                <c:pt idx="201">
                  <c:v>79.093071485305046</c:v>
                </c:pt>
                <c:pt idx="202">
                  <c:v>77.676954597213552</c:v>
                </c:pt>
                <c:pt idx="203">
                  <c:v>87.537482530766283</c:v>
                </c:pt>
                <c:pt idx="204">
                  <c:v>88.21788244184151</c:v>
                </c:pt>
                <c:pt idx="205">
                  <c:v>89.97999192162105</c:v>
                </c:pt>
                <c:pt idx="206">
                  <c:v>91.009828694527798</c:v>
                </c:pt>
                <c:pt idx="207">
                  <c:v>90.537963684868174</c:v>
                </c:pt>
                <c:pt idx="208">
                  <c:v>89.266923630093842</c:v>
                </c:pt>
                <c:pt idx="209">
                  <c:v>87.742990649328519</c:v>
                </c:pt>
                <c:pt idx="210">
                  <c:v>89.678566098153439</c:v>
                </c:pt>
                <c:pt idx="211">
                  <c:v>92.063984102084106</c:v>
                </c:pt>
                <c:pt idx="212">
                  <c:v>89.375157210057793</c:v>
                </c:pt>
                <c:pt idx="213">
                  <c:v>95.364116758670534</c:v>
                </c:pt>
                <c:pt idx="214">
                  <c:v>96.947959165568264</c:v>
                </c:pt>
                <c:pt idx="215">
                  <c:v>100.17023044254709</c:v>
                </c:pt>
                <c:pt idx="216">
                  <c:v>102.60188516385867</c:v>
                </c:pt>
                <c:pt idx="217">
                  <c:v>108.71275100118683</c:v>
                </c:pt>
                <c:pt idx="218">
                  <c:v>104.48903208702951</c:v>
                </c:pt>
                <c:pt idx="219">
                  <c:v>102.66148147452347</c:v>
                </c:pt>
                <c:pt idx="220">
                  <c:v>101.29588054853667</c:v>
                </c:pt>
                <c:pt idx="221">
                  <c:v>105.91569052919657</c:v>
                </c:pt>
                <c:pt idx="222">
                  <c:v>104.11538096237095</c:v>
                </c:pt>
                <c:pt idx="223">
                  <c:v>107.09832765028771</c:v>
                </c:pt>
                <c:pt idx="224">
                  <c:v>109.45159913287902</c:v>
                </c:pt>
                <c:pt idx="225">
                  <c:v>109.02586646877781</c:v>
                </c:pt>
                <c:pt idx="226">
                  <c:v>94.839335234988042</c:v>
                </c:pt>
                <c:pt idx="227">
                  <c:v>96.653734997855267</c:v>
                </c:pt>
                <c:pt idx="228">
                  <c:v>85.673193036729572</c:v>
                </c:pt>
                <c:pt idx="229">
                  <c:v>96.752470741968963</c:v>
                </c:pt>
                <c:pt idx="230">
                  <c:v>100.3943167455197</c:v>
                </c:pt>
                <c:pt idx="231">
                  <c:v>100.7828930408001</c:v>
                </c:pt>
                <c:pt idx="232">
                  <c:v>106.95648634346901</c:v>
                </c:pt>
                <c:pt idx="233">
                  <c:v>94.43134578071701</c:v>
                </c:pt>
                <c:pt idx="234">
                  <c:v>104.00318125315086</c:v>
                </c:pt>
                <c:pt idx="235">
                  <c:v>104.25095995983786</c:v>
                </c:pt>
                <c:pt idx="236">
                  <c:v>98.158776678742598</c:v>
                </c:pt>
                <c:pt idx="237">
                  <c:v>100.55275317212073</c:v>
                </c:pt>
                <c:pt idx="238">
                  <c:v>102.95278323120563</c:v>
                </c:pt>
                <c:pt idx="239">
                  <c:v>107.55996422133936</c:v>
                </c:pt>
                <c:pt idx="240">
                  <c:v>113.63784856274796</c:v>
                </c:pt>
                <c:pt idx="241">
                  <c:v>108.91961595344195</c:v>
                </c:pt>
                <c:pt idx="242">
                  <c:v>98.705893772446586</c:v>
                </c:pt>
                <c:pt idx="243">
                  <c:v>72.142012476607761</c:v>
                </c:pt>
                <c:pt idx="244">
                  <c:v>85.846450262129935</c:v>
                </c:pt>
                <c:pt idx="245">
                  <c:v>93.445553916918044</c:v>
                </c:pt>
                <c:pt idx="246">
                  <c:v>98.745137577717983</c:v>
                </c:pt>
                <c:pt idx="247">
                  <c:v>100.54523840089855</c:v>
                </c:pt>
                <c:pt idx="248">
                  <c:v>107.32397953059828</c:v>
                </c:pt>
                <c:pt idx="249">
                  <c:v>102.28876969626766</c:v>
                </c:pt>
                <c:pt idx="250">
                  <c:v>103.96894729536086</c:v>
                </c:pt>
                <c:pt idx="251">
                  <c:v>130.56340953520109</c:v>
                </c:pt>
                <c:pt idx="252">
                  <c:v>139.77046548789141</c:v>
                </c:pt>
                <c:pt idx="253">
                  <c:v>138.94425814074134</c:v>
                </c:pt>
                <c:pt idx="254">
                  <c:v>164.11581932402561</c:v>
                </c:pt>
                <c:pt idx="255">
                  <c:v>170.73163603875551</c:v>
                </c:pt>
                <c:pt idx="256">
                  <c:v>178.89873115175368</c:v>
                </c:pt>
                <c:pt idx="257">
                  <c:v>188.08084223885928</c:v>
                </c:pt>
                <c:pt idx="258">
                  <c:v>185.83225569426591</c:v>
                </c:pt>
                <c:pt idx="259">
                  <c:v>178.70272086904174</c:v>
                </c:pt>
                <c:pt idx="260">
                  <c:v>183.42471086395881</c:v>
                </c:pt>
                <c:pt idx="261">
                  <c:v>179.87471206423476</c:v>
                </c:pt>
                <c:pt idx="262">
                  <c:v>193.11010287930566</c:v>
                </c:pt>
                <c:pt idx="263">
                  <c:v>187.86969804188041</c:v>
                </c:pt>
                <c:pt idx="264">
                  <c:v>194.25433116970561</c:v>
                </c:pt>
                <c:pt idx="265">
                  <c:v>183.14081950667628</c:v>
                </c:pt>
                <c:pt idx="266">
                  <c:v>185.64877003025757</c:v>
                </c:pt>
                <c:pt idx="267">
                  <c:v>186.90154501608907</c:v>
                </c:pt>
                <c:pt idx="268">
                  <c:v>165.4576234744755</c:v>
                </c:pt>
                <c:pt idx="269">
                  <c:v>167.61707648262799</c:v>
                </c:pt>
                <c:pt idx="270">
                  <c:v>144.27922384937906</c:v>
                </c:pt>
                <c:pt idx="271">
                  <c:v>166.98677504636734</c:v>
                </c:pt>
                <c:pt idx="272">
                  <c:v>158.72491031851163</c:v>
                </c:pt>
                <c:pt idx="273">
                  <c:v>141.2188332691448</c:v>
                </c:pt>
                <c:pt idx="274">
                  <c:v>153.61924950397304</c:v>
                </c:pt>
                <c:pt idx="275">
                  <c:v>168.06441411399297</c:v>
                </c:pt>
                <c:pt idx="276">
                  <c:v>153.59973197315989</c:v>
                </c:pt>
                <c:pt idx="277">
                  <c:v>178.36800043418694</c:v>
                </c:pt>
                <c:pt idx="278">
                  <c:v>174.03333427267992</c:v>
                </c:pt>
                <c:pt idx="279">
                  <c:v>172.42266830739189</c:v>
                </c:pt>
                <c:pt idx="280">
                  <c:v>165.60196970503495</c:v>
                </c:pt>
              </c:numCache>
            </c:numRef>
          </c:yVal>
          <c:smooth val="0"/>
          <c:extLst>
            <c:ext xmlns:c16="http://schemas.microsoft.com/office/drawing/2014/chart" uri="{C3380CC4-5D6E-409C-BE32-E72D297353CC}">
              <c16:uniqueId val="{00000001-60F3-4BC2-8232-6B265169268E}"/>
            </c:ext>
          </c:extLst>
        </c:ser>
        <c:ser>
          <c:idx val="2"/>
          <c:order val="2"/>
          <c:spPr>
            <a:ln w="19050" cmpd="sng" algn="ctr">
              <a:solidFill>
                <a:srgbClr val="76D3FF"/>
              </a:solidFill>
              <a:prstDash val="solid"/>
            </a:ln>
          </c:spPr>
          <c:marker>
            <c:symbol val="none"/>
          </c:marker>
          <c:xVal>
            <c:numRef>
              <c:f>Sheet1!$A$1:$JU$1</c:f>
              <c:numCache>
                <c:formatCode>General</c:formatCode>
                <c:ptCount val="281"/>
                <c:pt idx="0">
                  <c:v>10957</c:v>
                </c:pt>
                <c:pt idx="1">
                  <c:v>10987</c:v>
                </c:pt>
                <c:pt idx="2">
                  <c:v>11016</c:v>
                </c:pt>
                <c:pt idx="3">
                  <c:v>11047</c:v>
                </c:pt>
                <c:pt idx="4">
                  <c:v>11075</c:v>
                </c:pt>
                <c:pt idx="5">
                  <c:v>11108</c:v>
                </c:pt>
                <c:pt idx="6">
                  <c:v>11138</c:v>
                </c:pt>
                <c:pt idx="7">
                  <c:v>11169</c:v>
                </c:pt>
                <c:pt idx="8">
                  <c:v>11200</c:v>
                </c:pt>
                <c:pt idx="9">
                  <c:v>11229</c:v>
                </c:pt>
                <c:pt idx="10">
                  <c:v>11261</c:v>
                </c:pt>
                <c:pt idx="11">
                  <c:v>11291</c:v>
                </c:pt>
                <c:pt idx="12">
                  <c:v>11320</c:v>
                </c:pt>
                <c:pt idx="13">
                  <c:v>11353</c:v>
                </c:pt>
                <c:pt idx="14">
                  <c:v>11381</c:v>
                </c:pt>
                <c:pt idx="15">
                  <c:v>11411</c:v>
                </c:pt>
                <c:pt idx="16">
                  <c:v>11442</c:v>
                </c:pt>
                <c:pt idx="17">
                  <c:v>11473</c:v>
                </c:pt>
                <c:pt idx="18">
                  <c:v>11502</c:v>
                </c:pt>
                <c:pt idx="19">
                  <c:v>11534</c:v>
                </c:pt>
                <c:pt idx="20">
                  <c:v>11565</c:v>
                </c:pt>
                <c:pt idx="21">
                  <c:v>11593</c:v>
                </c:pt>
                <c:pt idx="22">
                  <c:v>11626</c:v>
                </c:pt>
                <c:pt idx="23">
                  <c:v>11656</c:v>
                </c:pt>
                <c:pt idx="24">
                  <c:v>11687</c:v>
                </c:pt>
                <c:pt idx="25">
                  <c:v>11718</c:v>
                </c:pt>
                <c:pt idx="26">
                  <c:v>11746</c:v>
                </c:pt>
                <c:pt idx="27">
                  <c:v>11775</c:v>
                </c:pt>
                <c:pt idx="28">
                  <c:v>11807</c:v>
                </c:pt>
                <c:pt idx="29">
                  <c:v>11838</c:v>
                </c:pt>
                <c:pt idx="30">
                  <c:v>11866</c:v>
                </c:pt>
                <c:pt idx="31">
                  <c:v>11899</c:v>
                </c:pt>
                <c:pt idx="32">
                  <c:v>11929</c:v>
                </c:pt>
                <c:pt idx="33">
                  <c:v>11960</c:v>
                </c:pt>
                <c:pt idx="34">
                  <c:v>11991</c:v>
                </c:pt>
                <c:pt idx="35">
                  <c:v>12020</c:v>
                </c:pt>
                <c:pt idx="36">
                  <c:v>12052</c:v>
                </c:pt>
                <c:pt idx="37">
                  <c:v>12083</c:v>
                </c:pt>
                <c:pt idx="38">
                  <c:v>12111</c:v>
                </c:pt>
                <c:pt idx="39">
                  <c:v>12142</c:v>
                </c:pt>
                <c:pt idx="40">
                  <c:v>12172</c:v>
                </c:pt>
                <c:pt idx="41">
                  <c:v>12202</c:v>
                </c:pt>
                <c:pt idx="42">
                  <c:v>12233</c:v>
                </c:pt>
                <c:pt idx="43">
                  <c:v>12264</c:v>
                </c:pt>
                <c:pt idx="44">
                  <c:v>12293</c:v>
                </c:pt>
                <c:pt idx="45">
                  <c:v>12325</c:v>
                </c:pt>
                <c:pt idx="46">
                  <c:v>12356</c:v>
                </c:pt>
                <c:pt idx="47">
                  <c:v>12384</c:v>
                </c:pt>
                <c:pt idx="48">
                  <c:v>12417</c:v>
                </c:pt>
                <c:pt idx="49">
                  <c:v>12447</c:v>
                </c:pt>
                <c:pt idx="50">
                  <c:v>12475</c:v>
                </c:pt>
                <c:pt idx="51">
                  <c:v>12508</c:v>
                </c:pt>
                <c:pt idx="52">
                  <c:v>12538</c:v>
                </c:pt>
                <c:pt idx="53">
                  <c:v>12569</c:v>
                </c:pt>
                <c:pt idx="54">
                  <c:v>12599</c:v>
                </c:pt>
                <c:pt idx="55">
                  <c:v>12629</c:v>
                </c:pt>
                <c:pt idx="56">
                  <c:v>12661</c:v>
                </c:pt>
                <c:pt idx="57">
                  <c:v>12691</c:v>
                </c:pt>
                <c:pt idx="58">
                  <c:v>12720</c:v>
                </c:pt>
                <c:pt idx="59">
                  <c:v>12752</c:v>
                </c:pt>
                <c:pt idx="60">
                  <c:v>12783</c:v>
                </c:pt>
                <c:pt idx="61">
                  <c:v>12814</c:v>
                </c:pt>
                <c:pt idx="62">
                  <c:v>12842</c:v>
                </c:pt>
                <c:pt idx="63">
                  <c:v>12873</c:v>
                </c:pt>
                <c:pt idx="64">
                  <c:v>12902</c:v>
                </c:pt>
                <c:pt idx="65">
                  <c:v>12934</c:v>
                </c:pt>
                <c:pt idx="66">
                  <c:v>12964</c:v>
                </c:pt>
                <c:pt idx="67">
                  <c:v>12993</c:v>
                </c:pt>
                <c:pt idx="68">
                  <c:v>13026</c:v>
                </c:pt>
                <c:pt idx="69">
                  <c:v>13056</c:v>
                </c:pt>
                <c:pt idx="70">
                  <c:v>13087</c:v>
                </c:pt>
                <c:pt idx="71">
                  <c:v>13117</c:v>
                </c:pt>
                <c:pt idx="72">
                  <c:v>13147</c:v>
                </c:pt>
                <c:pt idx="73">
                  <c:v>13179</c:v>
                </c:pt>
                <c:pt idx="74">
                  <c:v>13207</c:v>
                </c:pt>
                <c:pt idx="75">
                  <c:v>13238</c:v>
                </c:pt>
                <c:pt idx="76">
                  <c:v>13266</c:v>
                </c:pt>
                <c:pt idx="77">
                  <c:v>13299</c:v>
                </c:pt>
                <c:pt idx="78">
                  <c:v>13329</c:v>
                </c:pt>
                <c:pt idx="79">
                  <c:v>13360</c:v>
                </c:pt>
                <c:pt idx="80">
                  <c:v>13391</c:v>
                </c:pt>
                <c:pt idx="81">
                  <c:v>13420</c:v>
                </c:pt>
                <c:pt idx="82">
                  <c:v>13452</c:v>
                </c:pt>
                <c:pt idx="83">
                  <c:v>13482</c:v>
                </c:pt>
                <c:pt idx="84">
                  <c:v>13511</c:v>
                </c:pt>
                <c:pt idx="85">
                  <c:v>13544</c:v>
                </c:pt>
                <c:pt idx="86">
                  <c:v>13572</c:v>
                </c:pt>
                <c:pt idx="87">
                  <c:v>13602</c:v>
                </c:pt>
                <c:pt idx="88">
                  <c:v>13633</c:v>
                </c:pt>
                <c:pt idx="89">
                  <c:v>13664</c:v>
                </c:pt>
                <c:pt idx="90">
                  <c:v>13693</c:v>
                </c:pt>
                <c:pt idx="91">
                  <c:v>13725</c:v>
                </c:pt>
                <c:pt idx="92">
                  <c:v>13756</c:v>
                </c:pt>
                <c:pt idx="93">
                  <c:v>13784</c:v>
                </c:pt>
                <c:pt idx="94">
                  <c:v>13817</c:v>
                </c:pt>
                <c:pt idx="95">
                  <c:v>13847</c:v>
                </c:pt>
                <c:pt idx="96">
                  <c:v>13878</c:v>
                </c:pt>
                <c:pt idx="97">
                  <c:v>13909</c:v>
                </c:pt>
                <c:pt idx="98">
                  <c:v>13938</c:v>
                </c:pt>
                <c:pt idx="99">
                  <c:v>13969</c:v>
                </c:pt>
                <c:pt idx="100">
                  <c:v>13999</c:v>
                </c:pt>
                <c:pt idx="101">
                  <c:v>14029</c:v>
                </c:pt>
                <c:pt idx="102">
                  <c:v>14060</c:v>
                </c:pt>
                <c:pt idx="103">
                  <c:v>14091</c:v>
                </c:pt>
                <c:pt idx="104">
                  <c:v>14120</c:v>
                </c:pt>
                <c:pt idx="105">
                  <c:v>14152</c:v>
                </c:pt>
                <c:pt idx="106">
                  <c:v>14183</c:v>
                </c:pt>
                <c:pt idx="107">
                  <c:v>14211</c:v>
                </c:pt>
                <c:pt idx="108">
                  <c:v>14244</c:v>
                </c:pt>
                <c:pt idx="109">
                  <c:v>14274</c:v>
                </c:pt>
                <c:pt idx="110">
                  <c:v>14302</c:v>
                </c:pt>
                <c:pt idx="111">
                  <c:v>14334</c:v>
                </c:pt>
                <c:pt idx="112">
                  <c:v>14364</c:v>
                </c:pt>
                <c:pt idx="113">
                  <c:v>14393</c:v>
                </c:pt>
                <c:pt idx="114">
                  <c:v>14425</c:v>
                </c:pt>
                <c:pt idx="115">
                  <c:v>14456</c:v>
                </c:pt>
                <c:pt idx="116">
                  <c:v>14487</c:v>
                </c:pt>
                <c:pt idx="117">
                  <c:v>14517</c:v>
                </c:pt>
                <c:pt idx="118">
                  <c:v>14547</c:v>
                </c:pt>
                <c:pt idx="119">
                  <c:v>14578</c:v>
                </c:pt>
                <c:pt idx="120">
                  <c:v>14609</c:v>
                </c:pt>
                <c:pt idx="121">
                  <c:v>14638</c:v>
                </c:pt>
                <c:pt idx="122">
                  <c:v>14666</c:v>
                </c:pt>
                <c:pt idx="123">
                  <c:v>14699</c:v>
                </c:pt>
                <c:pt idx="124">
                  <c:v>14729</c:v>
                </c:pt>
                <c:pt idx="125">
                  <c:v>14760</c:v>
                </c:pt>
                <c:pt idx="126">
                  <c:v>14790</c:v>
                </c:pt>
                <c:pt idx="127">
                  <c:v>14820</c:v>
                </c:pt>
                <c:pt idx="128">
                  <c:v>14852</c:v>
                </c:pt>
                <c:pt idx="129">
                  <c:v>14882</c:v>
                </c:pt>
                <c:pt idx="130">
                  <c:v>14911</c:v>
                </c:pt>
                <c:pt idx="131">
                  <c:v>14943</c:v>
                </c:pt>
                <c:pt idx="132">
                  <c:v>14974</c:v>
                </c:pt>
                <c:pt idx="133">
                  <c:v>15005</c:v>
                </c:pt>
                <c:pt idx="134">
                  <c:v>15033</c:v>
                </c:pt>
                <c:pt idx="135">
                  <c:v>15064</c:v>
                </c:pt>
                <c:pt idx="136">
                  <c:v>15093</c:v>
                </c:pt>
                <c:pt idx="137">
                  <c:v>15125</c:v>
                </c:pt>
                <c:pt idx="138">
                  <c:v>15155</c:v>
                </c:pt>
                <c:pt idx="139">
                  <c:v>15184</c:v>
                </c:pt>
                <c:pt idx="140">
                  <c:v>15217</c:v>
                </c:pt>
                <c:pt idx="141">
                  <c:v>15247</c:v>
                </c:pt>
                <c:pt idx="142">
                  <c:v>15278</c:v>
                </c:pt>
                <c:pt idx="143">
                  <c:v>15308</c:v>
                </c:pt>
                <c:pt idx="144">
                  <c:v>15338</c:v>
                </c:pt>
                <c:pt idx="145">
                  <c:v>15370</c:v>
                </c:pt>
                <c:pt idx="146">
                  <c:v>15399</c:v>
                </c:pt>
                <c:pt idx="147">
                  <c:v>15429</c:v>
                </c:pt>
                <c:pt idx="148">
                  <c:v>15460</c:v>
                </c:pt>
                <c:pt idx="149">
                  <c:v>15491</c:v>
                </c:pt>
                <c:pt idx="150">
                  <c:v>15520</c:v>
                </c:pt>
                <c:pt idx="151">
                  <c:v>15552</c:v>
                </c:pt>
                <c:pt idx="152">
                  <c:v>15583</c:v>
                </c:pt>
                <c:pt idx="153">
                  <c:v>15611</c:v>
                </c:pt>
                <c:pt idx="154">
                  <c:v>15644</c:v>
                </c:pt>
                <c:pt idx="155">
                  <c:v>15674</c:v>
                </c:pt>
                <c:pt idx="156">
                  <c:v>15705</c:v>
                </c:pt>
                <c:pt idx="157">
                  <c:v>15736</c:v>
                </c:pt>
                <c:pt idx="158">
                  <c:v>15764</c:v>
                </c:pt>
                <c:pt idx="159">
                  <c:v>15793</c:v>
                </c:pt>
                <c:pt idx="160">
                  <c:v>15825</c:v>
                </c:pt>
                <c:pt idx="161">
                  <c:v>15856</c:v>
                </c:pt>
                <c:pt idx="162">
                  <c:v>15884</c:v>
                </c:pt>
                <c:pt idx="163">
                  <c:v>15917</c:v>
                </c:pt>
                <c:pt idx="164">
                  <c:v>15947</c:v>
                </c:pt>
                <c:pt idx="165">
                  <c:v>15978</c:v>
                </c:pt>
                <c:pt idx="166">
                  <c:v>16009</c:v>
                </c:pt>
                <c:pt idx="167">
                  <c:v>16038</c:v>
                </c:pt>
                <c:pt idx="168">
                  <c:v>16070</c:v>
                </c:pt>
                <c:pt idx="169">
                  <c:v>16101</c:v>
                </c:pt>
                <c:pt idx="170">
                  <c:v>16129</c:v>
                </c:pt>
                <c:pt idx="171">
                  <c:v>16160</c:v>
                </c:pt>
                <c:pt idx="172">
                  <c:v>16190</c:v>
                </c:pt>
                <c:pt idx="173">
                  <c:v>16220</c:v>
                </c:pt>
                <c:pt idx="174">
                  <c:v>16251</c:v>
                </c:pt>
                <c:pt idx="175">
                  <c:v>16282</c:v>
                </c:pt>
                <c:pt idx="176">
                  <c:v>16311</c:v>
                </c:pt>
                <c:pt idx="177">
                  <c:v>16343</c:v>
                </c:pt>
                <c:pt idx="178">
                  <c:v>16374</c:v>
                </c:pt>
                <c:pt idx="179">
                  <c:v>16402</c:v>
                </c:pt>
                <c:pt idx="180">
                  <c:v>16435</c:v>
                </c:pt>
                <c:pt idx="181">
                  <c:v>16465</c:v>
                </c:pt>
                <c:pt idx="182">
                  <c:v>16493</c:v>
                </c:pt>
                <c:pt idx="183">
                  <c:v>16525</c:v>
                </c:pt>
                <c:pt idx="184">
                  <c:v>16555</c:v>
                </c:pt>
                <c:pt idx="185">
                  <c:v>16584</c:v>
                </c:pt>
                <c:pt idx="186">
                  <c:v>16616</c:v>
                </c:pt>
                <c:pt idx="187">
                  <c:v>16647</c:v>
                </c:pt>
                <c:pt idx="188">
                  <c:v>16678</c:v>
                </c:pt>
                <c:pt idx="189">
                  <c:v>16708</c:v>
                </c:pt>
                <c:pt idx="190">
                  <c:v>16738</c:v>
                </c:pt>
                <c:pt idx="191">
                  <c:v>16769</c:v>
                </c:pt>
                <c:pt idx="192">
                  <c:v>16800</c:v>
                </c:pt>
                <c:pt idx="193">
                  <c:v>16829</c:v>
                </c:pt>
                <c:pt idx="194">
                  <c:v>16860</c:v>
                </c:pt>
                <c:pt idx="195">
                  <c:v>16891</c:v>
                </c:pt>
                <c:pt idx="196">
                  <c:v>16920</c:v>
                </c:pt>
                <c:pt idx="197">
                  <c:v>16952</c:v>
                </c:pt>
                <c:pt idx="198">
                  <c:v>16982</c:v>
                </c:pt>
                <c:pt idx="199">
                  <c:v>17011</c:v>
                </c:pt>
                <c:pt idx="200">
                  <c:v>17044</c:v>
                </c:pt>
                <c:pt idx="201">
                  <c:v>17074</c:v>
                </c:pt>
                <c:pt idx="202">
                  <c:v>17105</c:v>
                </c:pt>
                <c:pt idx="203">
                  <c:v>17135</c:v>
                </c:pt>
                <c:pt idx="204">
                  <c:v>17165</c:v>
                </c:pt>
                <c:pt idx="205">
                  <c:v>17197</c:v>
                </c:pt>
                <c:pt idx="206">
                  <c:v>17225</c:v>
                </c:pt>
                <c:pt idx="207">
                  <c:v>17256</c:v>
                </c:pt>
                <c:pt idx="208">
                  <c:v>17284</c:v>
                </c:pt>
                <c:pt idx="209">
                  <c:v>17317</c:v>
                </c:pt>
                <c:pt idx="210">
                  <c:v>17347</c:v>
                </c:pt>
                <c:pt idx="211">
                  <c:v>17378</c:v>
                </c:pt>
                <c:pt idx="212">
                  <c:v>17409</c:v>
                </c:pt>
                <c:pt idx="213">
                  <c:v>17438</c:v>
                </c:pt>
                <c:pt idx="214">
                  <c:v>17470</c:v>
                </c:pt>
                <c:pt idx="215">
                  <c:v>17500</c:v>
                </c:pt>
                <c:pt idx="216">
                  <c:v>17529</c:v>
                </c:pt>
                <c:pt idx="217">
                  <c:v>17562</c:v>
                </c:pt>
                <c:pt idx="218">
                  <c:v>17590</c:v>
                </c:pt>
                <c:pt idx="219">
                  <c:v>17620</c:v>
                </c:pt>
                <c:pt idx="220">
                  <c:v>17651</c:v>
                </c:pt>
                <c:pt idx="221">
                  <c:v>17682</c:v>
                </c:pt>
                <c:pt idx="222">
                  <c:v>17711</c:v>
                </c:pt>
                <c:pt idx="223">
                  <c:v>17743</c:v>
                </c:pt>
                <c:pt idx="224">
                  <c:v>17774</c:v>
                </c:pt>
                <c:pt idx="225">
                  <c:v>17802</c:v>
                </c:pt>
                <c:pt idx="226">
                  <c:v>17835</c:v>
                </c:pt>
                <c:pt idx="227">
                  <c:v>17865</c:v>
                </c:pt>
                <c:pt idx="228">
                  <c:v>17896</c:v>
                </c:pt>
                <c:pt idx="229">
                  <c:v>17927</c:v>
                </c:pt>
                <c:pt idx="230">
                  <c:v>17955</c:v>
                </c:pt>
                <c:pt idx="231">
                  <c:v>17984</c:v>
                </c:pt>
                <c:pt idx="232">
                  <c:v>18016</c:v>
                </c:pt>
                <c:pt idx="233">
                  <c:v>18047</c:v>
                </c:pt>
                <c:pt idx="234">
                  <c:v>18075</c:v>
                </c:pt>
                <c:pt idx="235">
                  <c:v>18108</c:v>
                </c:pt>
                <c:pt idx="236">
                  <c:v>18138</c:v>
                </c:pt>
                <c:pt idx="237">
                  <c:v>18169</c:v>
                </c:pt>
                <c:pt idx="238">
                  <c:v>18200</c:v>
                </c:pt>
                <c:pt idx="239">
                  <c:v>18229</c:v>
                </c:pt>
                <c:pt idx="240">
                  <c:v>18261</c:v>
                </c:pt>
                <c:pt idx="241">
                  <c:v>18292</c:v>
                </c:pt>
                <c:pt idx="242">
                  <c:v>18320</c:v>
                </c:pt>
                <c:pt idx="243">
                  <c:v>18352</c:v>
                </c:pt>
                <c:pt idx="244">
                  <c:v>18382</c:v>
                </c:pt>
                <c:pt idx="245">
                  <c:v>18411</c:v>
                </c:pt>
                <c:pt idx="246">
                  <c:v>18443</c:v>
                </c:pt>
                <c:pt idx="247">
                  <c:v>18474</c:v>
                </c:pt>
                <c:pt idx="248">
                  <c:v>18505</c:v>
                </c:pt>
                <c:pt idx="249">
                  <c:v>18535</c:v>
                </c:pt>
                <c:pt idx="250">
                  <c:v>18565</c:v>
                </c:pt>
                <c:pt idx="251">
                  <c:v>18596</c:v>
                </c:pt>
                <c:pt idx="252">
                  <c:v>18627</c:v>
                </c:pt>
                <c:pt idx="253">
                  <c:v>18656</c:v>
                </c:pt>
                <c:pt idx="254">
                  <c:v>18684</c:v>
                </c:pt>
                <c:pt idx="255">
                  <c:v>18717</c:v>
                </c:pt>
                <c:pt idx="256">
                  <c:v>18747</c:v>
                </c:pt>
                <c:pt idx="257">
                  <c:v>18778</c:v>
                </c:pt>
                <c:pt idx="258">
                  <c:v>18808</c:v>
                </c:pt>
                <c:pt idx="259">
                  <c:v>18838</c:v>
                </c:pt>
                <c:pt idx="260">
                  <c:v>18870</c:v>
                </c:pt>
                <c:pt idx="261">
                  <c:v>18900</c:v>
                </c:pt>
                <c:pt idx="262">
                  <c:v>18929</c:v>
                </c:pt>
                <c:pt idx="263">
                  <c:v>18961</c:v>
                </c:pt>
                <c:pt idx="264">
                  <c:v>18992</c:v>
                </c:pt>
                <c:pt idx="265">
                  <c:v>19023</c:v>
                </c:pt>
                <c:pt idx="266">
                  <c:v>19051</c:v>
                </c:pt>
                <c:pt idx="267">
                  <c:v>19082</c:v>
                </c:pt>
                <c:pt idx="268">
                  <c:v>19111</c:v>
                </c:pt>
                <c:pt idx="269">
                  <c:v>19143</c:v>
                </c:pt>
                <c:pt idx="270">
                  <c:v>19173</c:v>
                </c:pt>
                <c:pt idx="271">
                  <c:v>19202</c:v>
                </c:pt>
                <c:pt idx="272">
                  <c:v>19235</c:v>
                </c:pt>
                <c:pt idx="273">
                  <c:v>19265</c:v>
                </c:pt>
                <c:pt idx="274">
                  <c:v>19296</c:v>
                </c:pt>
                <c:pt idx="275">
                  <c:v>19326</c:v>
                </c:pt>
                <c:pt idx="276">
                  <c:v>19356</c:v>
                </c:pt>
                <c:pt idx="277">
                  <c:v>19388</c:v>
                </c:pt>
                <c:pt idx="278">
                  <c:v>19416</c:v>
                </c:pt>
                <c:pt idx="279">
                  <c:v>19447</c:v>
                </c:pt>
                <c:pt idx="280">
                  <c:v>19475</c:v>
                </c:pt>
              </c:numCache>
            </c:numRef>
          </c:xVal>
          <c:yVal>
            <c:numRef>
              <c:f>Sheet1!$A$4:$JU$4</c:f>
              <c:numCache>
                <c:formatCode>General</c:formatCode>
                <c:ptCount val="281"/>
                <c:pt idx="0">
                  <c:v>100</c:v>
                </c:pt>
                <c:pt idx="1">
                  <c:v>94.909647779479329</c:v>
                </c:pt>
                <c:pt idx="2">
                  <c:v>93.00119108388634</c:v>
                </c:pt>
                <c:pt idx="3">
                  <c:v>101.99625659350008</c:v>
                </c:pt>
                <c:pt idx="4">
                  <c:v>98.855198230389661</c:v>
                </c:pt>
                <c:pt idx="5">
                  <c:v>96.688786795984342</c:v>
                </c:pt>
                <c:pt idx="6">
                  <c:v>99.002892632295371</c:v>
                </c:pt>
                <c:pt idx="7">
                  <c:v>97.385060404968499</c:v>
                </c:pt>
                <c:pt idx="8">
                  <c:v>103.29623957801597</c:v>
                </c:pt>
                <c:pt idx="9">
                  <c:v>97.771652203505155</c:v>
                </c:pt>
                <c:pt idx="10">
                  <c:v>97.287731835970703</c:v>
                </c:pt>
                <c:pt idx="11">
                  <c:v>89.49804321932956</c:v>
                </c:pt>
                <c:pt idx="12">
                  <c:v>89.860813340139501</c:v>
                </c:pt>
                <c:pt idx="13">
                  <c:v>92.973285689977843</c:v>
                </c:pt>
                <c:pt idx="14">
                  <c:v>84.39271737280923</c:v>
                </c:pt>
                <c:pt idx="15">
                  <c:v>78.974306619023281</c:v>
                </c:pt>
                <c:pt idx="16">
                  <c:v>85.040667006976321</c:v>
                </c:pt>
                <c:pt idx="17">
                  <c:v>85.473540922239209</c:v>
                </c:pt>
                <c:pt idx="18">
                  <c:v>83.336396120469615</c:v>
                </c:pt>
                <c:pt idx="19">
                  <c:v>82.438659179853659</c:v>
                </c:pt>
                <c:pt idx="20">
                  <c:v>77.153649821337396</c:v>
                </c:pt>
                <c:pt idx="21">
                  <c:v>70.848392036753438</c:v>
                </c:pt>
                <c:pt idx="22">
                  <c:v>72.130678917815203</c:v>
                </c:pt>
                <c:pt idx="23">
                  <c:v>77.553173387782877</c:v>
                </c:pt>
                <c:pt idx="24">
                  <c:v>78.140547898587698</c:v>
                </c:pt>
                <c:pt idx="25">
                  <c:v>76.923600476433549</c:v>
                </c:pt>
                <c:pt idx="26">
                  <c:v>75.326186830015303</c:v>
                </c:pt>
                <c:pt idx="27">
                  <c:v>78.09358516249786</c:v>
                </c:pt>
                <c:pt idx="28">
                  <c:v>73.297260507061409</c:v>
                </c:pt>
                <c:pt idx="29">
                  <c:v>72.631614769440176</c:v>
                </c:pt>
                <c:pt idx="30">
                  <c:v>67.368385230559795</c:v>
                </c:pt>
                <c:pt idx="31">
                  <c:v>62.046622426408028</c:v>
                </c:pt>
                <c:pt idx="32">
                  <c:v>62.34949804321932</c:v>
                </c:pt>
                <c:pt idx="33">
                  <c:v>55.489535477284313</c:v>
                </c:pt>
                <c:pt idx="34">
                  <c:v>60.286540752084377</c:v>
                </c:pt>
                <c:pt idx="35">
                  <c:v>63.72707163518799</c:v>
                </c:pt>
                <c:pt idx="36">
                  <c:v>59.882252850093565</c:v>
                </c:pt>
                <c:pt idx="37">
                  <c:v>58.24059894503997</c:v>
                </c:pt>
                <c:pt idx="38">
                  <c:v>57.250297770971564</c:v>
                </c:pt>
                <c:pt idx="39">
                  <c:v>57.728773183597056</c:v>
                </c:pt>
                <c:pt idx="40">
                  <c:v>62.407350689127092</c:v>
                </c:pt>
                <c:pt idx="41">
                  <c:v>65.583801259145815</c:v>
                </c:pt>
                <c:pt idx="42">
                  <c:v>66.326356984856204</c:v>
                </c:pt>
                <c:pt idx="43">
                  <c:v>67.402416198740838</c:v>
                </c:pt>
                <c:pt idx="44">
                  <c:v>68.607112472349826</c:v>
                </c:pt>
                <c:pt idx="45">
                  <c:v>67.787646758550267</c:v>
                </c:pt>
                <c:pt idx="46">
                  <c:v>71.513357155011036</c:v>
                </c:pt>
                <c:pt idx="47">
                  <c:v>72.023141058363095</c:v>
                </c:pt>
                <c:pt idx="48">
                  <c:v>75.679428279734537</c:v>
                </c:pt>
                <c:pt idx="49">
                  <c:v>76.986898077250274</c:v>
                </c:pt>
                <c:pt idx="50">
                  <c:v>77.926833418410737</c:v>
                </c:pt>
                <c:pt idx="51">
                  <c:v>76.652033350348802</c:v>
                </c:pt>
                <c:pt idx="52">
                  <c:v>75.364982133741677</c:v>
                </c:pt>
                <c:pt idx="53">
                  <c:v>76.275650842266444</c:v>
                </c:pt>
                <c:pt idx="54">
                  <c:v>77.647779479326161</c:v>
                </c:pt>
                <c:pt idx="55">
                  <c:v>74.985196528841229</c:v>
                </c:pt>
                <c:pt idx="56">
                  <c:v>75.156712608473697</c:v>
                </c:pt>
                <c:pt idx="57">
                  <c:v>75.860473030457698</c:v>
                </c:pt>
                <c:pt idx="58">
                  <c:v>76.923600476433549</c:v>
                </c:pt>
                <c:pt idx="59">
                  <c:v>79.892462140547877</c:v>
                </c:pt>
                <c:pt idx="60">
                  <c:v>82.485621915943497</c:v>
                </c:pt>
                <c:pt idx="61">
                  <c:v>80.399523566445453</c:v>
                </c:pt>
                <c:pt idx="62">
                  <c:v>81.919346605410894</c:v>
                </c:pt>
                <c:pt idx="63">
                  <c:v>80.353241449719206</c:v>
                </c:pt>
                <c:pt idx="64">
                  <c:v>78.737451080483197</c:v>
                </c:pt>
                <c:pt idx="65">
                  <c:v>81.09579717542961</c:v>
                </c:pt>
                <c:pt idx="66">
                  <c:v>81.084226646248055</c:v>
                </c:pt>
                <c:pt idx="67">
                  <c:v>84.000680619363607</c:v>
                </c:pt>
                <c:pt idx="68">
                  <c:v>83.05802280074866</c:v>
                </c:pt>
                <c:pt idx="69">
                  <c:v>83.635188021099182</c:v>
                </c:pt>
                <c:pt idx="70">
                  <c:v>82.151437808405632</c:v>
                </c:pt>
                <c:pt idx="71">
                  <c:v>85.042028245703563</c:v>
                </c:pt>
                <c:pt idx="72">
                  <c:v>84.961034541432667</c:v>
                </c:pt>
                <c:pt idx="73">
                  <c:v>87.124723498383489</c:v>
                </c:pt>
                <c:pt idx="74">
                  <c:v>87.164199421473512</c:v>
                </c:pt>
                <c:pt idx="75">
                  <c:v>88.128637059724312</c:v>
                </c:pt>
                <c:pt idx="76">
                  <c:v>89.202654415518083</c:v>
                </c:pt>
                <c:pt idx="77">
                  <c:v>86.444784754126218</c:v>
                </c:pt>
                <c:pt idx="78">
                  <c:v>86.452271567126061</c:v>
                </c:pt>
                <c:pt idx="79">
                  <c:v>86.891951676025158</c:v>
                </c:pt>
                <c:pt idx="80">
                  <c:v>88.740513867619484</c:v>
                </c:pt>
                <c:pt idx="81">
                  <c:v>90.920537689297205</c:v>
                </c:pt>
                <c:pt idx="82">
                  <c:v>93.785264590777572</c:v>
                </c:pt>
                <c:pt idx="83">
                  <c:v>95.329589926833378</c:v>
                </c:pt>
                <c:pt idx="84">
                  <c:v>96.53224434235149</c:v>
                </c:pt>
                <c:pt idx="85">
                  <c:v>97.889399353411548</c:v>
                </c:pt>
                <c:pt idx="86">
                  <c:v>95.750893312914698</c:v>
                </c:pt>
                <c:pt idx="87">
                  <c:v>96.706482899438427</c:v>
                </c:pt>
                <c:pt idx="88">
                  <c:v>100.89297260507055</c:v>
                </c:pt>
                <c:pt idx="89">
                  <c:v>104.17696103454136</c:v>
                </c:pt>
                <c:pt idx="90">
                  <c:v>102.32091202994718</c:v>
                </c:pt>
                <c:pt idx="91">
                  <c:v>99.048494129657925</c:v>
                </c:pt>
                <c:pt idx="92">
                  <c:v>100.32261357835623</c:v>
                </c:pt>
                <c:pt idx="93">
                  <c:v>103.91356134082007</c:v>
                </c:pt>
                <c:pt idx="94">
                  <c:v>105.45380296069416</c:v>
                </c:pt>
                <c:pt idx="95">
                  <c:v>100.80925642334518</c:v>
                </c:pt>
                <c:pt idx="96">
                  <c:v>99.938744257274038</c:v>
                </c:pt>
                <c:pt idx="97">
                  <c:v>93.826782371958402</c:v>
                </c:pt>
                <c:pt idx="98">
                  <c:v>90.565254381487094</c:v>
                </c:pt>
                <c:pt idx="99">
                  <c:v>90.025523226135718</c:v>
                </c:pt>
                <c:pt idx="100">
                  <c:v>94.305938403947522</c:v>
                </c:pt>
                <c:pt idx="101">
                  <c:v>95.312574442742829</c:v>
                </c:pt>
                <c:pt idx="102">
                  <c:v>87.119278543474493</c:v>
                </c:pt>
                <c:pt idx="103">
                  <c:v>86.260336906584939</c:v>
                </c:pt>
                <c:pt idx="104">
                  <c:v>87.311893823379208</c:v>
                </c:pt>
                <c:pt idx="105">
                  <c:v>79.384720095286653</c:v>
                </c:pt>
                <c:pt idx="106">
                  <c:v>65.935000850774159</c:v>
                </c:pt>
                <c:pt idx="107">
                  <c:v>60.999829845159056</c:v>
                </c:pt>
                <c:pt idx="108">
                  <c:v>61.476944019057306</c:v>
                </c:pt>
                <c:pt idx="109">
                  <c:v>56.210992002722449</c:v>
                </c:pt>
                <c:pt idx="110">
                  <c:v>50.031648800408348</c:v>
                </c:pt>
                <c:pt idx="111">
                  <c:v>54.304577165220316</c:v>
                </c:pt>
                <c:pt idx="112">
                  <c:v>59.4051386761953</c:v>
                </c:pt>
                <c:pt idx="113">
                  <c:v>62.558448187850914</c:v>
                </c:pt>
                <c:pt idx="114">
                  <c:v>62.570699336396089</c:v>
                </c:pt>
                <c:pt idx="115">
                  <c:v>67.209800918836095</c:v>
                </c:pt>
                <c:pt idx="116">
                  <c:v>69.465373489875745</c:v>
                </c:pt>
                <c:pt idx="117">
                  <c:v>71.946911689637517</c:v>
                </c:pt>
                <c:pt idx="118">
                  <c:v>70.525097839033478</c:v>
                </c:pt>
                <c:pt idx="119">
                  <c:v>74.570699336396075</c:v>
                </c:pt>
                <c:pt idx="120">
                  <c:v>75.895865237365939</c:v>
                </c:pt>
                <c:pt idx="121">
                  <c:v>73.089671601156994</c:v>
                </c:pt>
                <c:pt idx="122">
                  <c:v>75.17372809256419</c:v>
                </c:pt>
                <c:pt idx="123">
                  <c:v>79.593670239918282</c:v>
                </c:pt>
                <c:pt idx="124">
                  <c:v>80.768419261527939</c:v>
                </c:pt>
                <c:pt idx="125">
                  <c:v>74.147354092223878</c:v>
                </c:pt>
                <c:pt idx="126">
                  <c:v>70.152118427769224</c:v>
                </c:pt>
                <c:pt idx="127">
                  <c:v>74.977029096477736</c:v>
                </c:pt>
                <c:pt idx="128">
                  <c:v>71.419431682831316</c:v>
                </c:pt>
                <c:pt idx="129">
                  <c:v>77.672281776416483</c:v>
                </c:pt>
                <c:pt idx="130">
                  <c:v>80.534966819805959</c:v>
                </c:pt>
                <c:pt idx="131">
                  <c:v>80.350518972264695</c:v>
                </c:pt>
                <c:pt idx="132">
                  <c:v>85.597413646418175</c:v>
                </c:pt>
                <c:pt idx="133">
                  <c:v>87.535817594010467</c:v>
                </c:pt>
                <c:pt idx="134">
                  <c:v>90.333163178492356</c:v>
                </c:pt>
                <c:pt idx="135">
                  <c:v>90.238557086949044</c:v>
                </c:pt>
                <c:pt idx="136">
                  <c:v>92.809937042708782</c:v>
                </c:pt>
                <c:pt idx="137">
                  <c:v>91.556916794282728</c:v>
                </c:pt>
                <c:pt idx="138">
                  <c:v>89.885315637229809</c:v>
                </c:pt>
                <c:pt idx="139">
                  <c:v>87.955079122000939</c:v>
                </c:pt>
                <c:pt idx="140">
                  <c:v>82.960013612387201</c:v>
                </c:pt>
                <c:pt idx="141">
                  <c:v>77.006636038795236</c:v>
                </c:pt>
                <c:pt idx="142">
                  <c:v>85.302024842606684</c:v>
                </c:pt>
                <c:pt idx="143">
                  <c:v>84.870512166071038</c:v>
                </c:pt>
                <c:pt idx="144">
                  <c:v>85.594691168963649</c:v>
                </c:pt>
                <c:pt idx="145">
                  <c:v>89.325165900969779</c:v>
                </c:pt>
                <c:pt idx="146">
                  <c:v>92.950825250978284</c:v>
                </c:pt>
                <c:pt idx="147">
                  <c:v>95.863195507912081</c:v>
                </c:pt>
                <c:pt idx="148">
                  <c:v>95.144461459928422</c:v>
                </c:pt>
                <c:pt idx="149">
                  <c:v>89.183597073336614</c:v>
                </c:pt>
                <c:pt idx="150">
                  <c:v>92.711247234983716</c:v>
                </c:pt>
                <c:pt idx="151">
                  <c:v>93.87919006295715</c:v>
                </c:pt>
                <c:pt idx="152">
                  <c:v>95.734558448187698</c:v>
                </c:pt>
                <c:pt idx="153">
                  <c:v>98.054789858771343</c:v>
                </c:pt>
                <c:pt idx="154">
                  <c:v>96.114344053088175</c:v>
                </c:pt>
                <c:pt idx="155">
                  <c:v>96.387953037263784</c:v>
                </c:pt>
                <c:pt idx="156">
                  <c:v>97.069253020248283</c:v>
                </c:pt>
                <c:pt idx="157">
                  <c:v>101.96426748340976</c:v>
                </c:pt>
                <c:pt idx="158">
                  <c:v>103.09205376892959</c:v>
                </c:pt>
                <c:pt idx="159">
                  <c:v>106.80210992002709</c:v>
                </c:pt>
                <c:pt idx="160">
                  <c:v>108.73370767398318</c:v>
                </c:pt>
                <c:pt idx="161">
                  <c:v>110.9913221031137</c:v>
                </c:pt>
                <c:pt idx="162">
                  <c:v>109.32652713969699</c:v>
                </c:pt>
                <c:pt idx="163">
                  <c:v>114.73404798366499</c:v>
                </c:pt>
                <c:pt idx="164">
                  <c:v>111.14310022120115</c:v>
                </c:pt>
                <c:pt idx="165">
                  <c:v>114.44954908967146</c:v>
                </c:pt>
                <c:pt idx="166">
                  <c:v>119.55351369746455</c:v>
                </c:pt>
                <c:pt idx="167">
                  <c:v>122.9069253020247</c:v>
                </c:pt>
                <c:pt idx="168">
                  <c:v>125.8029606942316</c:v>
                </c:pt>
                <c:pt idx="169">
                  <c:v>121.32652713969699</c:v>
                </c:pt>
                <c:pt idx="170">
                  <c:v>126.55776756848719</c:v>
                </c:pt>
                <c:pt idx="171">
                  <c:v>127.43508592819451</c:v>
                </c:pt>
                <c:pt idx="172">
                  <c:v>128.22528500935837</c:v>
                </c:pt>
                <c:pt idx="173">
                  <c:v>130.92189892802435</c:v>
                </c:pt>
                <c:pt idx="174">
                  <c:v>133.41704951505855</c:v>
                </c:pt>
                <c:pt idx="175">
                  <c:v>131.40513867619518</c:v>
                </c:pt>
                <c:pt idx="176">
                  <c:v>136.35324144971906</c:v>
                </c:pt>
                <c:pt idx="177">
                  <c:v>134.23787646758532</c:v>
                </c:pt>
                <c:pt idx="178">
                  <c:v>137.35239067551453</c:v>
                </c:pt>
                <c:pt idx="179">
                  <c:v>140.72213714480159</c:v>
                </c:pt>
                <c:pt idx="180">
                  <c:v>140.13272077590591</c:v>
                </c:pt>
                <c:pt idx="181">
                  <c:v>135.78288242300476</c:v>
                </c:pt>
                <c:pt idx="182">
                  <c:v>143.23634507401718</c:v>
                </c:pt>
                <c:pt idx="183">
                  <c:v>140.74459758380107</c:v>
                </c:pt>
                <c:pt idx="184">
                  <c:v>141.94384890250109</c:v>
                </c:pt>
                <c:pt idx="185">
                  <c:v>143.43304407010359</c:v>
                </c:pt>
                <c:pt idx="186">
                  <c:v>140.4192615279903</c:v>
                </c:pt>
                <c:pt idx="187">
                  <c:v>143.1914241960182</c:v>
                </c:pt>
                <c:pt idx="188">
                  <c:v>134.23038965458551</c:v>
                </c:pt>
                <c:pt idx="189">
                  <c:v>130.68095967330254</c:v>
                </c:pt>
                <c:pt idx="190">
                  <c:v>141.52526799387428</c:v>
                </c:pt>
                <c:pt idx="191">
                  <c:v>141.59673302705446</c:v>
                </c:pt>
                <c:pt idx="192">
                  <c:v>139.11451420792906</c:v>
                </c:pt>
                <c:pt idx="193">
                  <c:v>132.0564914071804</c:v>
                </c:pt>
                <c:pt idx="194">
                  <c:v>131.51131529692006</c:v>
                </c:pt>
                <c:pt idx="195">
                  <c:v>140.18989280245009</c:v>
                </c:pt>
                <c:pt idx="196">
                  <c:v>140.56831716862334</c:v>
                </c:pt>
                <c:pt idx="197">
                  <c:v>142.72315807384709</c:v>
                </c:pt>
                <c:pt idx="198">
                  <c:v>142.85247575293505</c:v>
                </c:pt>
                <c:pt idx="199">
                  <c:v>147.93942487663759</c:v>
                </c:pt>
                <c:pt idx="200">
                  <c:v>147.75906074527805</c:v>
                </c:pt>
                <c:pt idx="201">
                  <c:v>147.57665475582766</c:v>
                </c:pt>
                <c:pt idx="202">
                  <c:v>144.70988599625645</c:v>
                </c:pt>
                <c:pt idx="203">
                  <c:v>149.65526629232585</c:v>
                </c:pt>
                <c:pt idx="204">
                  <c:v>152.37910498553669</c:v>
                </c:pt>
                <c:pt idx="205">
                  <c:v>155.10430491747474</c:v>
                </c:pt>
                <c:pt idx="206">
                  <c:v>160.87391526288906</c:v>
                </c:pt>
                <c:pt idx="207">
                  <c:v>160.81129828143594</c:v>
                </c:pt>
                <c:pt idx="208">
                  <c:v>162.27326867449361</c:v>
                </c:pt>
                <c:pt idx="209">
                  <c:v>164.15177811808732</c:v>
                </c:pt>
                <c:pt idx="210">
                  <c:v>164.94197719925117</c:v>
                </c:pt>
                <c:pt idx="211">
                  <c:v>168.13340139526954</c:v>
                </c:pt>
                <c:pt idx="212">
                  <c:v>168.22528500935837</c:v>
                </c:pt>
                <c:pt idx="213">
                  <c:v>171.47251999319369</c:v>
                </c:pt>
                <c:pt idx="214">
                  <c:v>175.27718223583452</c:v>
                </c:pt>
                <c:pt idx="215">
                  <c:v>180.19942147354081</c:v>
                </c:pt>
                <c:pt idx="216">
                  <c:v>181.97107367704601</c:v>
                </c:pt>
                <c:pt idx="217">
                  <c:v>192.19397651863184</c:v>
                </c:pt>
                <c:pt idx="218">
                  <c:v>184.70852475752923</c:v>
                </c:pt>
                <c:pt idx="219">
                  <c:v>179.74272588055118</c:v>
                </c:pt>
                <c:pt idx="220">
                  <c:v>180.231410583631</c:v>
                </c:pt>
                <c:pt idx="221">
                  <c:v>184.12591458226976</c:v>
                </c:pt>
                <c:pt idx="222">
                  <c:v>185.01752594861313</c:v>
                </c:pt>
                <c:pt idx="223">
                  <c:v>191.68215075718896</c:v>
                </c:pt>
                <c:pt idx="224">
                  <c:v>197.48306959332987</c:v>
                </c:pt>
                <c:pt idx="225">
                  <c:v>198.33112132040154</c:v>
                </c:pt>
                <c:pt idx="226">
                  <c:v>184.56627531053255</c:v>
                </c:pt>
                <c:pt idx="227">
                  <c:v>187.86251488854856</c:v>
                </c:pt>
                <c:pt idx="228">
                  <c:v>170.62106516930402</c:v>
                </c:pt>
                <c:pt idx="229">
                  <c:v>184.04628211672616</c:v>
                </c:pt>
                <c:pt idx="230">
                  <c:v>189.51778118087455</c:v>
                </c:pt>
                <c:pt idx="231">
                  <c:v>192.91475242470645</c:v>
                </c:pt>
                <c:pt idx="232">
                  <c:v>200.49889399353407</c:v>
                </c:pt>
                <c:pt idx="233">
                  <c:v>187.31053258465198</c:v>
                </c:pt>
                <c:pt idx="234">
                  <c:v>200.22188191254037</c:v>
                </c:pt>
                <c:pt idx="235">
                  <c:v>202.85043389484426</c:v>
                </c:pt>
                <c:pt idx="236">
                  <c:v>199.18053428620038</c:v>
                </c:pt>
                <c:pt idx="237">
                  <c:v>202.60268844648621</c:v>
                </c:pt>
                <c:pt idx="238">
                  <c:v>206.7422154160285</c:v>
                </c:pt>
                <c:pt idx="239">
                  <c:v>213.7811808745958</c:v>
                </c:pt>
                <c:pt idx="240">
                  <c:v>219.89314275991146</c:v>
                </c:pt>
                <c:pt idx="241">
                  <c:v>219.53513697464686</c:v>
                </c:pt>
                <c:pt idx="242">
                  <c:v>201.06993363961197</c:v>
                </c:pt>
                <c:pt idx="243">
                  <c:v>175.91220010209287</c:v>
                </c:pt>
                <c:pt idx="244">
                  <c:v>198.22562531904026</c:v>
                </c:pt>
                <c:pt idx="245">
                  <c:v>207.20163348647264</c:v>
                </c:pt>
                <c:pt idx="246">
                  <c:v>211.01174068402241</c:v>
                </c:pt>
                <c:pt idx="247">
                  <c:v>222.63876127275819</c:v>
                </c:pt>
                <c:pt idx="248">
                  <c:v>238.23787646758547</c:v>
                </c:pt>
                <c:pt idx="249">
                  <c:v>228.89229198570695</c:v>
                </c:pt>
                <c:pt idx="250">
                  <c:v>222.55980942657814</c:v>
                </c:pt>
                <c:pt idx="251">
                  <c:v>246.49515058703417</c:v>
                </c:pt>
                <c:pt idx="252">
                  <c:v>255.64539731155347</c:v>
                </c:pt>
                <c:pt idx="253">
                  <c:v>252.79836651352724</c:v>
                </c:pt>
                <c:pt idx="254">
                  <c:v>259.39424876637736</c:v>
                </c:pt>
                <c:pt idx="255">
                  <c:v>270.40258635358168</c:v>
                </c:pt>
                <c:pt idx="256">
                  <c:v>284.57852645907769</c:v>
                </c:pt>
                <c:pt idx="257">
                  <c:v>286.13986727922401</c:v>
                </c:pt>
                <c:pt idx="258">
                  <c:v>292.49617151607953</c:v>
                </c:pt>
                <c:pt idx="259">
                  <c:v>299.14990641483746</c:v>
                </c:pt>
                <c:pt idx="260">
                  <c:v>307.82235834609492</c:v>
                </c:pt>
                <c:pt idx="261">
                  <c:v>293.17951335715497</c:v>
                </c:pt>
                <c:pt idx="262">
                  <c:v>313.45108048323971</c:v>
                </c:pt>
                <c:pt idx="263">
                  <c:v>310.83886336566269</c:v>
                </c:pt>
                <c:pt idx="264">
                  <c:v>324.3954398502637</c:v>
                </c:pt>
                <c:pt idx="265">
                  <c:v>307.33707673983321</c:v>
                </c:pt>
                <c:pt idx="266">
                  <c:v>297.6988259315977</c:v>
                </c:pt>
                <c:pt idx="267">
                  <c:v>308.34847711417387</c:v>
                </c:pt>
                <c:pt idx="268">
                  <c:v>281.22715671260852</c:v>
                </c:pt>
                <c:pt idx="269">
                  <c:v>281.24213033860815</c:v>
                </c:pt>
                <c:pt idx="270">
                  <c:v>257.64029266632639</c:v>
                </c:pt>
                <c:pt idx="271">
                  <c:v>281.11553513697464</c:v>
                </c:pt>
                <c:pt idx="272">
                  <c:v>269.184958312064</c:v>
                </c:pt>
                <c:pt idx="273">
                  <c:v>244.04424025863537</c:v>
                </c:pt>
                <c:pt idx="274">
                  <c:v>263.53445635528334</c:v>
                </c:pt>
                <c:pt idx="275">
                  <c:v>277.70018717032502</c:v>
                </c:pt>
                <c:pt idx="276">
                  <c:v>261.32380466224265</c:v>
                </c:pt>
                <c:pt idx="277">
                  <c:v>277.46128977369403</c:v>
                </c:pt>
                <c:pt idx="278">
                  <c:v>270.21609664794966</c:v>
                </c:pt>
                <c:pt idx="279">
                  <c:v>279.68759571209802</c:v>
                </c:pt>
                <c:pt idx="280">
                  <c:v>283.78288242300488</c:v>
                </c:pt>
              </c:numCache>
            </c:numRef>
          </c:yVal>
          <c:smooth val="0"/>
          <c:extLst>
            <c:ext xmlns:c16="http://schemas.microsoft.com/office/drawing/2014/chart" uri="{C3380CC4-5D6E-409C-BE32-E72D297353CC}">
              <c16:uniqueId val="{00000002-60F3-4BC2-8232-6B265169268E}"/>
            </c:ext>
          </c:extLst>
        </c:ser>
        <c:dLbls>
          <c:showLegendKey val="0"/>
          <c:showVal val="0"/>
          <c:showCatName val="0"/>
          <c:showSerName val="0"/>
          <c:showPercent val="0"/>
          <c:showBubbleSize val="0"/>
        </c:dLbls>
        <c:axId val="4"/>
        <c:axId val="5"/>
      </c:scatterChart>
      <c:valAx>
        <c:axId val="4"/>
        <c:scaling>
          <c:orientation val="minMax"/>
          <c:max val="19723"/>
          <c:min val="10957"/>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04283054003724E-2"/>
          <c:y val="1.8271257905832748E-2"/>
          <c:w val="0.97579143389199252"/>
          <c:h val="0.96345748418833455"/>
        </c:manualLayout>
      </c:layout>
      <c:scatterChart>
        <c:scatterStyle val="lineMarker"/>
        <c:varyColors val="0"/>
        <c:ser>
          <c:idx val="0"/>
          <c:order val="0"/>
          <c:spPr>
            <a:ln w="19050" cmpd="sng" algn="ctr">
              <a:solidFill>
                <a:srgbClr val="002C77"/>
              </a:solidFill>
              <a:prstDash val="solid"/>
            </a:ln>
          </c:spPr>
          <c:marker>
            <c:symbol val="none"/>
          </c:marker>
          <c:xVal>
            <c:numRef>
              <c:f>Sheet1!$A$1:$JU$1</c:f>
              <c:numCache>
                <c:formatCode>General</c:formatCode>
                <c:ptCount val="281"/>
                <c:pt idx="0">
                  <c:v>10957</c:v>
                </c:pt>
                <c:pt idx="1">
                  <c:v>10987</c:v>
                </c:pt>
                <c:pt idx="2">
                  <c:v>11016</c:v>
                </c:pt>
                <c:pt idx="3">
                  <c:v>11047</c:v>
                </c:pt>
                <c:pt idx="4">
                  <c:v>11075</c:v>
                </c:pt>
                <c:pt idx="5">
                  <c:v>11108</c:v>
                </c:pt>
                <c:pt idx="6">
                  <c:v>11138</c:v>
                </c:pt>
                <c:pt idx="7">
                  <c:v>11169</c:v>
                </c:pt>
                <c:pt idx="8">
                  <c:v>11200</c:v>
                </c:pt>
                <c:pt idx="9">
                  <c:v>11229</c:v>
                </c:pt>
                <c:pt idx="10">
                  <c:v>11261</c:v>
                </c:pt>
                <c:pt idx="11">
                  <c:v>11291</c:v>
                </c:pt>
                <c:pt idx="12">
                  <c:v>11320</c:v>
                </c:pt>
                <c:pt idx="13">
                  <c:v>11353</c:v>
                </c:pt>
                <c:pt idx="14">
                  <c:v>11381</c:v>
                </c:pt>
                <c:pt idx="15">
                  <c:v>11411</c:v>
                </c:pt>
                <c:pt idx="16">
                  <c:v>11442</c:v>
                </c:pt>
                <c:pt idx="17">
                  <c:v>11473</c:v>
                </c:pt>
                <c:pt idx="18">
                  <c:v>11502</c:v>
                </c:pt>
                <c:pt idx="19">
                  <c:v>11534</c:v>
                </c:pt>
                <c:pt idx="20">
                  <c:v>11565</c:v>
                </c:pt>
                <c:pt idx="21">
                  <c:v>11593</c:v>
                </c:pt>
                <c:pt idx="22">
                  <c:v>11626</c:v>
                </c:pt>
                <c:pt idx="23">
                  <c:v>11656</c:v>
                </c:pt>
                <c:pt idx="24">
                  <c:v>11687</c:v>
                </c:pt>
                <c:pt idx="25">
                  <c:v>11718</c:v>
                </c:pt>
                <c:pt idx="26">
                  <c:v>11746</c:v>
                </c:pt>
                <c:pt idx="27">
                  <c:v>11775</c:v>
                </c:pt>
                <c:pt idx="28">
                  <c:v>11807</c:v>
                </c:pt>
                <c:pt idx="29">
                  <c:v>11838</c:v>
                </c:pt>
                <c:pt idx="30">
                  <c:v>11866</c:v>
                </c:pt>
                <c:pt idx="31">
                  <c:v>11899</c:v>
                </c:pt>
                <c:pt idx="32">
                  <c:v>11929</c:v>
                </c:pt>
                <c:pt idx="33">
                  <c:v>11960</c:v>
                </c:pt>
                <c:pt idx="34">
                  <c:v>11991</c:v>
                </c:pt>
                <c:pt idx="35">
                  <c:v>12020</c:v>
                </c:pt>
                <c:pt idx="36">
                  <c:v>12052</c:v>
                </c:pt>
                <c:pt idx="37">
                  <c:v>12083</c:v>
                </c:pt>
                <c:pt idx="38">
                  <c:v>12111</c:v>
                </c:pt>
                <c:pt idx="39">
                  <c:v>12142</c:v>
                </c:pt>
                <c:pt idx="40">
                  <c:v>12172</c:v>
                </c:pt>
                <c:pt idx="41">
                  <c:v>12202</c:v>
                </c:pt>
                <c:pt idx="42">
                  <c:v>12233</c:v>
                </c:pt>
                <c:pt idx="43">
                  <c:v>12264</c:v>
                </c:pt>
                <c:pt idx="44">
                  <c:v>12293</c:v>
                </c:pt>
                <c:pt idx="45">
                  <c:v>12325</c:v>
                </c:pt>
                <c:pt idx="46">
                  <c:v>12356</c:v>
                </c:pt>
                <c:pt idx="47">
                  <c:v>12384</c:v>
                </c:pt>
                <c:pt idx="48">
                  <c:v>12417</c:v>
                </c:pt>
                <c:pt idx="49">
                  <c:v>12447</c:v>
                </c:pt>
                <c:pt idx="50">
                  <c:v>12475</c:v>
                </c:pt>
                <c:pt idx="51">
                  <c:v>12508</c:v>
                </c:pt>
                <c:pt idx="52">
                  <c:v>12538</c:v>
                </c:pt>
                <c:pt idx="53">
                  <c:v>12569</c:v>
                </c:pt>
                <c:pt idx="54">
                  <c:v>12599</c:v>
                </c:pt>
                <c:pt idx="55">
                  <c:v>12629</c:v>
                </c:pt>
                <c:pt idx="56">
                  <c:v>12661</c:v>
                </c:pt>
                <c:pt idx="57">
                  <c:v>12691</c:v>
                </c:pt>
                <c:pt idx="58">
                  <c:v>12720</c:v>
                </c:pt>
                <c:pt idx="59">
                  <c:v>12752</c:v>
                </c:pt>
                <c:pt idx="60">
                  <c:v>12783</c:v>
                </c:pt>
                <c:pt idx="61">
                  <c:v>12814</c:v>
                </c:pt>
                <c:pt idx="62">
                  <c:v>12842</c:v>
                </c:pt>
                <c:pt idx="63">
                  <c:v>12873</c:v>
                </c:pt>
                <c:pt idx="64">
                  <c:v>12902</c:v>
                </c:pt>
                <c:pt idx="65">
                  <c:v>12934</c:v>
                </c:pt>
                <c:pt idx="66">
                  <c:v>12964</c:v>
                </c:pt>
                <c:pt idx="67">
                  <c:v>12993</c:v>
                </c:pt>
                <c:pt idx="68">
                  <c:v>13026</c:v>
                </c:pt>
                <c:pt idx="69">
                  <c:v>13056</c:v>
                </c:pt>
                <c:pt idx="70">
                  <c:v>13087</c:v>
                </c:pt>
                <c:pt idx="71">
                  <c:v>13117</c:v>
                </c:pt>
                <c:pt idx="72">
                  <c:v>13147</c:v>
                </c:pt>
                <c:pt idx="73">
                  <c:v>13179</c:v>
                </c:pt>
                <c:pt idx="74">
                  <c:v>13207</c:v>
                </c:pt>
                <c:pt idx="75">
                  <c:v>13238</c:v>
                </c:pt>
                <c:pt idx="76">
                  <c:v>13266</c:v>
                </c:pt>
                <c:pt idx="77">
                  <c:v>13299</c:v>
                </c:pt>
                <c:pt idx="78">
                  <c:v>13329</c:v>
                </c:pt>
                <c:pt idx="79">
                  <c:v>13360</c:v>
                </c:pt>
                <c:pt idx="80">
                  <c:v>13391</c:v>
                </c:pt>
                <c:pt idx="81">
                  <c:v>13420</c:v>
                </c:pt>
                <c:pt idx="82">
                  <c:v>13452</c:v>
                </c:pt>
                <c:pt idx="83">
                  <c:v>13482</c:v>
                </c:pt>
                <c:pt idx="84">
                  <c:v>13511</c:v>
                </c:pt>
                <c:pt idx="85">
                  <c:v>13544</c:v>
                </c:pt>
                <c:pt idx="86">
                  <c:v>13572</c:v>
                </c:pt>
                <c:pt idx="87">
                  <c:v>13602</c:v>
                </c:pt>
                <c:pt idx="88">
                  <c:v>13633</c:v>
                </c:pt>
                <c:pt idx="89">
                  <c:v>13664</c:v>
                </c:pt>
                <c:pt idx="90">
                  <c:v>13693</c:v>
                </c:pt>
                <c:pt idx="91">
                  <c:v>13725</c:v>
                </c:pt>
                <c:pt idx="92">
                  <c:v>13756</c:v>
                </c:pt>
                <c:pt idx="93">
                  <c:v>13784</c:v>
                </c:pt>
                <c:pt idx="94">
                  <c:v>13817</c:v>
                </c:pt>
                <c:pt idx="95">
                  <c:v>13847</c:v>
                </c:pt>
                <c:pt idx="96">
                  <c:v>13878</c:v>
                </c:pt>
                <c:pt idx="97">
                  <c:v>13909</c:v>
                </c:pt>
                <c:pt idx="98">
                  <c:v>13938</c:v>
                </c:pt>
                <c:pt idx="99">
                  <c:v>13969</c:v>
                </c:pt>
                <c:pt idx="100">
                  <c:v>13999</c:v>
                </c:pt>
                <c:pt idx="101">
                  <c:v>14029</c:v>
                </c:pt>
                <c:pt idx="102">
                  <c:v>14060</c:v>
                </c:pt>
                <c:pt idx="103">
                  <c:v>14091</c:v>
                </c:pt>
                <c:pt idx="104">
                  <c:v>14120</c:v>
                </c:pt>
                <c:pt idx="105">
                  <c:v>14152</c:v>
                </c:pt>
                <c:pt idx="106">
                  <c:v>14183</c:v>
                </c:pt>
                <c:pt idx="107">
                  <c:v>14211</c:v>
                </c:pt>
                <c:pt idx="108">
                  <c:v>14244</c:v>
                </c:pt>
                <c:pt idx="109">
                  <c:v>14274</c:v>
                </c:pt>
                <c:pt idx="110">
                  <c:v>14302</c:v>
                </c:pt>
                <c:pt idx="111">
                  <c:v>14334</c:v>
                </c:pt>
                <c:pt idx="112">
                  <c:v>14364</c:v>
                </c:pt>
                <c:pt idx="113">
                  <c:v>14393</c:v>
                </c:pt>
                <c:pt idx="114">
                  <c:v>14425</c:v>
                </c:pt>
                <c:pt idx="115">
                  <c:v>14456</c:v>
                </c:pt>
                <c:pt idx="116">
                  <c:v>14487</c:v>
                </c:pt>
                <c:pt idx="117">
                  <c:v>14517</c:v>
                </c:pt>
                <c:pt idx="118">
                  <c:v>14547</c:v>
                </c:pt>
                <c:pt idx="119">
                  <c:v>14578</c:v>
                </c:pt>
                <c:pt idx="120">
                  <c:v>14609</c:v>
                </c:pt>
                <c:pt idx="121">
                  <c:v>14638</c:v>
                </c:pt>
                <c:pt idx="122">
                  <c:v>14666</c:v>
                </c:pt>
                <c:pt idx="123">
                  <c:v>14699</c:v>
                </c:pt>
                <c:pt idx="124">
                  <c:v>14729</c:v>
                </c:pt>
                <c:pt idx="125">
                  <c:v>14760</c:v>
                </c:pt>
                <c:pt idx="126">
                  <c:v>14790</c:v>
                </c:pt>
                <c:pt idx="127">
                  <c:v>14820</c:v>
                </c:pt>
                <c:pt idx="128">
                  <c:v>14852</c:v>
                </c:pt>
                <c:pt idx="129">
                  <c:v>14882</c:v>
                </c:pt>
                <c:pt idx="130">
                  <c:v>14911</c:v>
                </c:pt>
                <c:pt idx="131">
                  <c:v>14943</c:v>
                </c:pt>
                <c:pt idx="132">
                  <c:v>14974</c:v>
                </c:pt>
                <c:pt idx="133">
                  <c:v>15005</c:v>
                </c:pt>
                <c:pt idx="134">
                  <c:v>15033</c:v>
                </c:pt>
                <c:pt idx="135">
                  <c:v>15064</c:v>
                </c:pt>
                <c:pt idx="136">
                  <c:v>15093</c:v>
                </c:pt>
                <c:pt idx="137">
                  <c:v>15125</c:v>
                </c:pt>
                <c:pt idx="138">
                  <c:v>15155</c:v>
                </c:pt>
                <c:pt idx="139">
                  <c:v>15184</c:v>
                </c:pt>
                <c:pt idx="140">
                  <c:v>15217</c:v>
                </c:pt>
                <c:pt idx="141">
                  <c:v>15247</c:v>
                </c:pt>
                <c:pt idx="142">
                  <c:v>15278</c:v>
                </c:pt>
                <c:pt idx="143">
                  <c:v>15308</c:v>
                </c:pt>
                <c:pt idx="144">
                  <c:v>15338</c:v>
                </c:pt>
                <c:pt idx="145">
                  <c:v>15370</c:v>
                </c:pt>
                <c:pt idx="146">
                  <c:v>15399</c:v>
                </c:pt>
                <c:pt idx="147">
                  <c:v>15429</c:v>
                </c:pt>
                <c:pt idx="148">
                  <c:v>15460</c:v>
                </c:pt>
                <c:pt idx="149">
                  <c:v>15491</c:v>
                </c:pt>
                <c:pt idx="150">
                  <c:v>15520</c:v>
                </c:pt>
                <c:pt idx="151">
                  <c:v>15552</c:v>
                </c:pt>
                <c:pt idx="152">
                  <c:v>15583</c:v>
                </c:pt>
                <c:pt idx="153">
                  <c:v>15611</c:v>
                </c:pt>
                <c:pt idx="154">
                  <c:v>15644</c:v>
                </c:pt>
                <c:pt idx="155">
                  <c:v>15674</c:v>
                </c:pt>
                <c:pt idx="156">
                  <c:v>15705</c:v>
                </c:pt>
                <c:pt idx="157">
                  <c:v>15736</c:v>
                </c:pt>
                <c:pt idx="158">
                  <c:v>15764</c:v>
                </c:pt>
                <c:pt idx="159">
                  <c:v>15793</c:v>
                </c:pt>
                <c:pt idx="160">
                  <c:v>15825</c:v>
                </c:pt>
                <c:pt idx="161">
                  <c:v>15856</c:v>
                </c:pt>
                <c:pt idx="162">
                  <c:v>15884</c:v>
                </c:pt>
                <c:pt idx="163">
                  <c:v>15917</c:v>
                </c:pt>
                <c:pt idx="164">
                  <c:v>15947</c:v>
                </c:pt>
                <c:pt idx="165">
                  <c:v>15978</c:v>
                </c:pt>
                <c:pt idx="166">
                  <c:v>16009</c:v>
                </c:pt>
                <c:pt idx="167">
                  <c:v>16038</c:v>
                </c:pt>
                <c:pt idx="168">
                  <c:v>16070</c:v>
                </c:pt>
                <c:pt idx="169">
                  <c:v>16101</c:v>
                </c:pt>
                <c:pt idx="170">
                  <c:v>16129</c:v>
                </c:pt>
                <c:pt idx="171">
                  <c:v>16160</c:v>
                </c:pt>
                <c:pt idx="172">
                  <c:v>16190</c:v>
                </c:pt>
                <c:pt idx="173">
                  <c:v>16220</c:v>
                </c:pt>
                <c:pt idx="174">
                  <c:v>16251</c:v>
                </c:pt>
                <c:pt idx="175">
                  <c:v>16282</c:v>
                </c:pt>
                <c:pt idx="176">
                  <c:v>16311</c:v>
                </c:pt>
                <c:pt idx="177">
                  <c:v>16343</c:v>
                </c:pt>
                <c:pt idx="178">
                  <c:v>16374</c:v>
                </c:pt>
                <c:pt idx="179">
                  <c:v>16402</c:v>
                </c:pt>
                <c:pt idx="180">
                  <c:v>16435</c:v>
                </c:pt>
                <c:pt idx="181">
                  <c:v>16465</c:v>
                </c:pt>
                <c:pt idx="182">
                  <c:v>16493</c:v>
                </c:pt>
                <c:pt idx="183">
                  <c:v>16525</c:v>
                </c:pt>
                <c:pt idx="184">
                  <c:v>16555</c:v>
                </c:pt>
                <c:pt idx="185">
                  <c:v>16584</c:v>
                </c:pt>
                <c:pt idx="186">
                  <c:v>16616</c:v>
                </c:pt>
                <c:pt idx="187">
                  <c:v>16647</c:v>
                </c:pt>
                <c:pt idx="188">
                  <c:v>16678</c:v>
                </c:pt>
                <c:pt idx="189">
                  <c:v>16708</c:v>
                </c:pt>
                <c:pt idx="190">
                  <c:v>16738</c:v>
                </c:pt>
                <c:pt idx="191">
                  <c:v>16769</c:v>
                </c:pt>
                <c:pt idx="192">
                  <c:v>16800</c:v>
                </c:pt>
                <c:pt idx="193">
                  <c:v>16829</c:v>
                </c:pt>
                <c:pt idx="194">
                  <c:v>16860</c:v>
                </c:pt>
                <c:pt idx="195">
                  <c:v>16891</c:v>
                </c:pt>
                <c:pt idx="196">
                  <c:v>16920</c:v>
                </c:pt>
                <c:pt idx="197">
                  <c:v>16952</c:v>
                </c:pt>
                <c:pt idx="198">
                  <c:v>16982</c:v>
                </c:pt>
                <c:pt idx="199">
                  <c:v>17011</c:v>
                </c:pt>
                <c:pt idx="200">
                  <c:v>17044</c:v>
                </c:pt>
                <c:pt idx="201">
                  <c:v>17074</c:v>
                </c:pt>
                <c:pt idx="202">
                  <c:v>17105</c:v>
                </c:pt>
                <c:pt idx="203">
                  <c:v>17135</c:v>
                </c:pt>
                <c:pt idx="204">
                  <c:v>17165</c:v>
                </c:pt>
                <c:pt idx="205">
                  <c:v>17197</c:v>
                </c:pt>
                <c:pt idx="206">
                  <c:v>17225</c:v>
                </c:pt>
                <c:pt idx="207">
                  <c:v>17256</c:v>
                </c:pt>
                <c:pt idx="208">
                  <c:v>17284</c:v>
                </c:pt>
                <c:pt idx="209">
                  <c:v>17317</c:v>
                </c:pt>
                <c:pt idx="210">
                  <c:v>17347</c:v>
                </c:pt>
                <c:pt idx="211">
                  <c:v>17378</c:v>
                </c:pt>
                <c:pt idx="212">
                  <c:v>17409</c:v>
                </c:pt>
                <c:pt idx="213">
                  <c:v>17438</c:v>
                </c:pt>
                <c:pt idx="214">
                  <c:v>17470</c:v>
                </c:pt>
                <c:pt idx="215">
                  <c:v>17500</c:v>
                </c:pt>
                <c:pt idx="216">
                  <c:v>17529</c:v>
                </c:pt>
                <c:pt idx="217">
                  <c:v>17562</c:v>
                </c:pt>
                <c:pt idx="218">
                  <c:v>17590</c:v>
                </c:pt>
                <c:pt idx="219">
                  <c:v>17620</c:v>
                </c:pt>
                <c:pt idx="220">
                  <c:v>17651</c:v>
                </c:pt>
                <c:pt idx="221">
                  <c:v>17682</c:v>
                </c:pt>
                <c:pt idx="222">
                  <c:v>17711</c:v>
                </c:pt>
                <c:pt idx="223">
                  <c:v>17743</c:v>
                </c:pt>
                <c:pt idx="224">
                  <c:v>17774</c:v>
                </c:pt>
                <c:pt idx="225">
                  <c:v>17802</c:v>
                </c:pt>
                <c:pt idx="226">
                  <c:v>17835</c:v>
                </c:pt>
                <c:pt idx="227">
                  <c:v>17865</c:v>
                </c:pt>
                <c:pt idx="228">
                  <c:v>17896</c:v>
                </c:pt>
                <c:pt idx="229">
                  <c:v>17927</c:v>
                </c:pt>
                <c:pt idx="230">
                  <c:v>17955</c:v>
                </c:pt>
                <c:pt idx="231">
                  <c:v>17984</c:v>
                </c:pt>
                <c:pt idx="232">
                  <c:v>18016</c:v>
                </c:pt>
                <c:pt idx="233">
                  <c:v>18047</c:v>
                </c:pt>
                <c:pt idx="234">
                  <c:v>18075</c:v>
                </c:pt>
                <c:pt idx="235">
                  <c:v>18108</c:v>
                </c:pt>
                <c:pt idx="236">
                  <c:v>18138</c:v>
                </c:pt>
                <c:pt idx="237">
                  <c:v>18169</c:v>
                </c:pt>
                <c:pt idx="238">
                  <c:v>18200</c:v>
                </c:pt>
                <c:pt idx="239">
                  <c:v>18229</c:v>
                </c:pt>
                <c:pt idx="240">
                  <c:v>18261</c:v>
                </c:pt>
                <c:pt idx="241">
                  <c:v>18292</c:v>
                </c:pt>
                <c:pt idx="242">
                  <c:v>18320</c:v>
                </c:pt>
                <c:pt idx="243">
                  <c:v>18352</c:v>
                </c:pt>
                <c:pt idx="244">
                  <c:v>18382</c:v>
                </c:pt>
                <c:pt idx="245">
                  <c:v>18411</c:v>
                </c:pt>
                <c:pt idx="246">
                  <c:v>18443</c:v>
                </c:pt>
                <c:pt idx="247">
                  <c:v>18474</c:v>
                </c:pt>
                <c:pt idx="248">
                  <c:v>18505</c:v>
                </c:pt>
                <c:pt idx="249">
                  <c:v>18535</c:v>
                </c:pt>
                <c:pt idx="250">
                  <c:v>18565</c:v>
                </c:pt>
                <c:pt idx="251">
                  <c:v>18596</c:v>
                </c:pt>
                <c:pt idx="252">
                  <c:v>18627</c:v>
                </c:pt>
                <c:pt idx="253">
                  <c:v>18656</c:v>
                </c:pt>
                <c:pt idx="254">
                  <c:v>18684</c:v>
                </c:pt>
                <c:pt idx="255">
                  <c:v>18717</c:v>
                </c:pt>
                <c:pt idx="256">
                  <c:v>18747</c:v>
                </c:pt>
                <c:pt idx="257">
                  <c:v>18778</c:v>
                </c:pt>
                <c:pt idx="258">
                  <c:v>18808</c:v>
                </c:pt>
                <c:pt idx="259">
                  <c:v>18838</c:v>
                </c:pt>
                <c:pt idx="260">
                  <c:v>18870</c:v>
                </c:pt>
                <c:pt idx="261">
                  <c:v>18900</c:v>
                </c:pt>
                <c:pt idx="262">
                  <c:v>18929</c:v>
                </c:pt>
                <c:pt idx="263">
                  <c:v>18961</c:v>
                </c:pt>
                <c:pt idx="264">
                  <c:v>18992</c:v>
                </c:pt>
                <c:pt idx="265">
                  <c:v>19023</c:v>
                </c:pt>
                <c:pt idx="266">
                  <c:v>19051</c:v>
                </c:pt>
                <c:pt idx="267">
                  <c:v>19082</c:v>
                </c:pt>
                <c:pt idx="268">
                  <c:v>19111</c:v>
                </c:pt>
                <c:pt idx="269">
                  <c:v>19143</c:v>
                </c:pt>
                <c:pt idx="270">
                  <c:v>19173</c:v>
                </c:pt>
                <c:pt idx="271">
                  <c:v>19202</c:v>
                </c:pt>
                <c:pt idx="272">
                  <c:v>19235</c:v>
                </c:pt>
                <c:pt idx="273">
                  <c:v>19265</c:v>
                </c:pt>
                <c:pt idx="274">
                  <c:v>19296</c:v>
                </c:pt>
                <c:pt idx="275">
                  <c:v>19326</c:v>
                </c:pt>
                <c:pt idx="276">
                  <c:v>19356</c:v>
                </c:pt>
                <c:pt idx="277">
                  <c:v>19388</c:v>
                </c:pt>
                <c:pt idx="278">
                  <c:v>19416</c:v>
                </c:pt>
                <c:pt idx="279">
                  <c:v>19447</c:v>
                </c:pt>
                <c:pt idx="280">
                  <c:v>19475</c:v>
                </c:pt>
              </c:numCache>
            </c:numRef>
          </c:xVal>
          <c:yVal>
            <c:numRef>
              <c:f>Sheet1!$A$2:$JU$2</c:f>
              <c:numCache>
                <c:formatCode>General</c:formatCode>
                <c:ptCount val="281"/>
                <c:pt idx="0">
                  <c:v>100</c:v>
                </c:pt>
                <c:pt idx="1">
                  <c:v>96.273770621757564</c:v>
                </c:pt>
                <c:pt idx="2">
                  <c:v>85.803246633137505</c:v>
                </c:pt>
                <c:pt idx="3">
                  <c:v>93.489558102049628</c:v>
                </c:pt>
                <c:pt idx="4">
                  <c:v>97.669840486906892</c:v>
                </c:pt>
                <c:pt idx="5">
                  <c:v>102.08529678595652</c:v>
                </c:pt>
                <c:pt idx="6">
                  <c:v>97.524948693331453</c:v>
                </c:pt>
                <c:pt idx="7">
                  <c:v>98.636960178978811</c:v>
                </c:pt>
                <c:pt idx="8">
                  <c:v>105.5715078435345</c:v>
                </c:pt>
                <c:pt idx="9">
                  <c:v>108.61027190332328</c:v>
                </c:pt>
                <c:pt idx="10">
                  <c:v>110.95848784053976</c:v>
                </c:pt>
                <c:pt idx="11">
                  <c:v>112.5056151075018</c:v>
                </c:pt>
                <c:pt idx="12">
                  <c:v>120.68209243127552</c:v>
                </c:pt>
                <c:pt idx="13">
                  <c:v>115.29819523838887</c:v>
                </c:pt>
                <c:pt idx="14">
                  <c:v>118.26032959580037</c:v>
                </c:pt>
                <c:pt idx="15">
                  <c:v>116.52294927466026</c:v>
                </c:pt>
                <c:pt idx="16">
                  <c:v>122.46307241066476</c:v>
                </c:pt>
                <c:pt idx="17">
                  <c:v>126.47380056899759</c:v>
                </c:pt>
                <c:pt idx="18">
                  <c:v>123.13204090440668</c:v>
                </c:pt>
                <c:pt idx="19">
                  <c:v>122.44809879066003</c:v>
                </c:pt>
                <c:pt idx="20">
                  <c:v>122.11559634643676</c:v>
                </c:pt>
                <c:pt idx="21">
                  <c:v>116.23624849162803</c:v>
                </c:pt>
                <c:pt idx="22">
                  <c:v>115.12996221362957</c:v>
                </c:pt>
                <c:pt idx="23">
                  <c:v>118.70293218711745</c:v>
                </c:pt>
                <c:pt idx="24">
                  <c:v>122.53750011010018</c:v>
                </c:pt>
                <c:pt idx="25">
                  <c:v>122.00197299463596</c:v>
                </c:pt>
                <c:pt idx="26">
                  <c:v>124.92006729320995</c:v>
                </c:pt>
                <c:pt idx="27">
                  <c:v>130.38852139906462</c:v>
                </c:pt>
                <c:pt idx="28">
                  <c:v>129.94195520245216</c:v>
                </c:pt>
                <c:pt idx="29">
                  <c:v>129.01711396686429</c:v>
                </c:pt>
                <c:pt idx="30">
                  <c:v>124.52767036896763</c:v>
                </c:pt>
                <c:pt idx="31">
                  <c:v>116.80084204592499</c:v>
                </c:pt>
                <c:pt idx="32">
                  <c:v>117.80847859212743</c:v>
                </c:pt>
                <c:pt idx="33">
                  <c:v>108.46053570327571</c:v>
                </c:pt>
                <c:pt idx="34">
                  <c:v>111.47727973364573</c:v>
                </c:pt>
                <c:pt idx="35">
                  <c:v>110.99636229114003</c:v>
                </c:pt>
                <c:pt idx="36">
                  <c:v>110.48725921097832</c:v>
                </c:pt>
                <c:pt idx="37">
                  <c:v>108.12362925316869</c:v>
                </c:pt>
                <c:pt idx="38">
                  <c:v>106.36290770084469</c:v>
                </c:pt>
                <c:pt idx="39">
                  <c:v>106.70818176213083</c:v>
                </c:pt>
                <c:pt idx="40">
                  <c:v>112.28101080743043</c:v>
                </c:pt>
                <c:pt idx="41">
                  <c:v>119.00328538838927</c:v>
                </c:pt>
                <c:pt idx="42">
                  <c:v>117.97230761100298</c:v>
                </c:pt>
                <c:pt idx="43">
                  <c:v>118.17577268283232</c:v>
                </c:pt>
                <c:pt idx="44">
                  <c:v>119.08079589194334</c:v>
                </c:pt>
                <c:pt idx="45">
                  <c:v>119.90786819691193</c:v>
                </c:pt>
                <c:pt idx="46">
                  <c:v>125.38953432041789</c:v>
                </c:pt>
                <c:pt idx="47">
                  <c:v>126.46895616252547</c:v>
                </c:pt>
                <c:pt idx="48">
                  <c:v>131.9493010842663</c:v>
                </c:pt>
                <c:pt idx="49">
                  <c:v>133.4347722688558</c:v>
                </c:pt>
                <c:pt idx="50">
                  <c:v>137.0557459064766</c:v>
                </c:pt>
                <c:pt idx="51">
                  <c:v>137.37063232716483</c:v>
                </c:pt>
                <c:pt idx="52">
                  <c:v>135.63325200602472</c:v>
                </c:pt>
                <c:pt idx="53">
                  <c:v>137.88722221732891</c:v>
                </c:pt>
                <c:pt idx="54">
                  <c:v>139.30090810601328</c:v>
                </c:pt>
                <c:pt idx="55">
                  <c:v>137.00774224234368</c:v>
                </c:pt>
                <c:pt idx="56">
                  <c:v>140.11608959509573</c:v>
                </c:pt>
                <c:pt idx="57">
                  <c:v>140.39926717342098</c:v>
                </c:pt>
                <c:pt idx="58">
                  <c:v>142.83996723419625</c:v>
                </c:pt>
                <c:pt idx="59">
                  <c:v>147.27347995736923</c:v>
                </c:pt>
                <c:pt idx="60">
                  <c:v>150.91955642852739</c:v>
                </c:pt>
                <c:pt idx="61">
                  <c:v>148.43217390538433</c:v>
                </c:pt>
                <c:pt idx="62">
                  <c:v>149.23458377740391</c:v>
                </c:pt>
                <c:pt idx="63">
                  <c:v>148.14283071882181</c:v>
                </c:pt>
                <c:pt idx="64">
                  <c:v>147.75748020399354</c:v>
                </c:pt>
                <c:pt idx="65">
                  <c:v>149.61993429223219</c:v>
                </c:pt>
                <c:pt idx="66">
                  <c:v>149.25043819858539</c:v>
                </c:pt>
                <c:pt idx="67">
                  <c:v>152.49222692961513</c:v>
                </c:pt>
                <c:pt idx="68">
                  <c:v>150.57604396959471</c:v>
                </c:pt>
                <c:pt idx="69">
                  <c:v>150.1766006359384</c:v>
                </c:pt>
                <c:pt idx="70">
                  <c:v>147.31663921502994</c:v>
                </c:pt>
                <c:pt idx="71">
                  <c:v>149.91852589115052</c:v>
                </c:pt>
                <c:pt idx="72">
                  <c:v>149.90443307232252</c:v>
                </c:pt>
                <c:pt idx="73">
                  <c:v>150.78611505024963</c:v>
                </c:pt>
                <c:pt idx="74">
                  <c:v>153.97990011714649</c:v>
                </c:pt>
                <c:pt idx="75">
                  <c:v>154.59646094087174</c:v>
                </c:pt>
                <c:pt idx="76">
                  <c:v>157.58501933358573</c:v>
                </c:pt>
                <c:pt idx="77">
                  <c:v>156.01543163661657</c:v>
                </c:pt>
                <c:pt idx="78">
                  <c:v>156.32855645495133</c:v>
                </c:pt>
                <c:pt idx="79">
                  <c:v>159.49019227889679</c:v>
                </c:pt>
                <c:pt idx="80">
                  <c:v>162.50429390573655</c:v>
                </c:pt>
                <c:pt idx="81">
                  <c:v>165.49065029550869</c:v>
                </c:pt>
                <c:pt idx="82">
                  <c:v>169.83828490394851</c:v>
                </c:pt>
                <c:pt idx="83">
                  <c:v>171.05467132904079</c:v>
                </c:pt>
                <c:pt idx="84">
                  <c:v>174.61883329076116</c:v>
                </c:pt>
                <c:pt idx="85">
                  <c:v>176.14261932653929</c:v>
                </c:pt>
                <c:pt idx="86">
                  <c:v>175.78765645230888</c:v>
                </c:pt>
                <c:pt idx="87">
                  <c:v>176.41742929368539</c:v>
                </c:pt>
                <c:pt idx="88">
                  <c:v>181.33670386583623</c:v>
                </c:pt>
                <c:pt idx="89">
                  <c:v>183.80558956426756</c:v>
                </c:pt>
                <c:pt idx="90">
                  <c:v>177.94870213946595</c:v>
                </c:pt>
                <c:pt idx="91">
                  <c:v>169.16843560902984</c:v>
                </c:pt>
                <c:pt idx="92">
                  <c:v>173.06069600908975</c:v>
                </c:pt>
                <c:pt idx="93">
                  <c:v>176.58257951432611</c:v>
                </c:pt>
                <c:pt idx="94">
                  <c:v>176.68827565553613</c:v>
                </c:pt>
                <c:pt idx="95">
                  <c:v>173.04396078673147</c:v>
                </c:pt>
                <c:pt idx="96">
                  <c:v>170.84856385368118</c:v>
                </c:pt>
                <c:pt idx="97">
                  <c:v>161.94366395673495</c:v>
                </c:pt>
                <c:pt idx="98">
                  <c:v>157.38992187293553</c:v>
                </c:pt>
                <c:pt idx="99">
                  <c:v>156.98519373221873</c:v>
                </c:pt>
                <c:pt idx="100">
                  <c:v>159.8288603313573</c:v>
                </c:pt>
                <c:pt idx="101">
                  <c:v>162.79671989641767</c:v>
                </c:pt>
                <c:pt idx="102">
                  <c:v>151.93556058590886</c:v>
                </c:pt>
                <c:pt idx="103">
                  <c:v>156.08809773369848</c:v>
                </c:pt>
                <c:pt idx="104">
                  <c:v>160.69777069222155</c:v>
                </c:pt>
                <c:pt idx="105">
                  <c:v>153.6509208776302</c:v>
                </c:pt>
                <c:pt idx="106">
                  <c:v>133.66686337892941</c:v>
                </c:pt>
                <c:pt idx="107">
                  <c:v>128.70707195264805</c:v>
                </c:pt>
                <c:pt idx="108">
                  <c:v>130.51843957263517</c:v>
                </c:pt>
                <c:pt idx="109">
                  <c:v>126.44165132604607</c:v>
                </c:pt>
                <c:pt idx="110">
                  <c:v>112.99269815824465</c:v>
                </c:pt>
                <c:pt idx="111">
                  <c:v>117.75166691622691</c:v>
                </c:pt>
                <c:pt idx="112">
                  <c:v>122.40846273770615</c:v>
                </c:pt>
                <c:pt idx="113">
                  <c:v>125.70706314463629</c:v>
                </c:pt>
                <c:pt idx="114">
                  <c:v>128.90040781094476</c:v>
                </c:pt>
                <c:pt idx="115">
                  <c:v>134.06850871552754</c:v>
                </c:pt>
                <c:pt idx="116">
                  <c:v>136.36828058802277</c:v>
                </c:pt>
                <c:pt idx="117">
                  <c:v>139.65587098024355</c:v>
                </c:pt>
                <c:pt idx="118">
                  <c:v>138.65880404816212</c:v>
                </c:pt>
                <c:pt idx="119">
                  <c:v>146.54021297772448</c:v>
                </c:pt>
                <c:pt idx="120">
                  <c:v>150.77070102965652</c:v>
                </c:pt>
                <c:pt idx="121">
                  <c:v>147.00263359551843</c:v>
                </c:pt>
                <c:pt idx="122">
                  <c:v>149.23194137387364</c:v>
                </c:pt>
                <c:pt idx="123">
                  <c:v>154.525116045555</c:v>
                </c:pt>
                <c:pt idx="124">
                  <c:v>155.44687447702429</c:v>
                </c:pt>
                <c:pt idx="125">
                  <c:v>146.91014947195967</c:v>
                </c:pt>
                <c:pt idx="126">
                  <c:v>144.52493988531967</c:v>
                </c:pt>
                <c:pt idx="127">
                  <c:v>151.4427523275171</c:v>
                </c:pt>
                <c:pt idx="128">
                  <c:v>150.0603348806074</c:v>
                </c:pt>
                <c:pt idx="129">
                  <c:v>157.78628240247329</c:v>
                </c:pt>
                <c:pt idx="130">
                  <c:v>161.28086107123039</c:v>
                </c:pt>
                <c:pt idx="131">
                  <c:v>158.46802251327807</c:v>
                </c:pt>
                <c:pt idx="132">
                  <c:v>165.53645195669981</c:v>
                </c:pt>
                <c:pt idx="133">
                  <c:v>164.68383641760545</c:v>
                </c:pt>
                <c:pt idx="134">
                  <c:v>168.54879198118607</c:v>
                </c:pt>
                <c:pt idx="135">
                  <c:v>170.12102208168545</c:v>
                </c:pt>
                <c:pt idx="136">
                  <c:v>176.60548034492172</c:v>
                </c:pt>
                <c:pt idx="137">
                  <c:v>179.4931870028978</c:v>
                </c:pt>
                <c:pt idx="138">
                  <c:v>176.671540433178</c:v>
                </c:pt>
                <c:pt idx="139">
                  <c:v>172.1688848176301</c:v>
                </c:pt>
                <c:pt idx="140">
                  <c:v>171.8372631745836</c:v>
                </c:pt>
                <c:pt idx="141">
                  <c:v>167.57022187381642</c:v>
                </c:pt>
                <c:pt idx="142">
                  <c:v>177.15862348392099</c:v>
                </c:pt>
                <c:pt idx="143">
                  <c:v>178.53839852730042</c:v>
                </c:pt>
                <c:pt idx="144">
                  <c:v>183.55368042771707</c:v>
                </c:pt>
                <c:pt idx="145">
                  <c:v>182.38838047087631</c:v>
                </c:pt>
                <c:pt idx="146">
                  <c:v>185.1342781393956</c:v>
                </c:pt>
                <c:pt idx="147">
                  <c:v>189.80296477676092</c:v>
                </c:pt>
                <c:pt idx="148">
                  <c:v>191.57205394026406</c:v>
                </c:pt>
                <c:pt idx="149">
                  <c:v>187.8722485973241</c:v>
                </c:pt>
                <c:pt idx="150">
                  <c:v>195.13841790492634</c:v>
                </c:pt>
                <c:pt idx="151">
                  <c:v>198.90604493847601</c:v>
                </c:pt>
                <c:pt idx="152">
                  <c:v>196.49088811182651</c:v>
                </c:pt>
                <c:pt idx="153">
                  <c:v>199.28346824271355</c:v>
                </c:pt>
                <c:pt idx="154">
                  <c:v>198.76952075607971</c:v>
                </c:pt>
                <c:pt idx="155">
                  <c:v>197.56370394510844</c:v>
                </c:pt>
                <c:pt idx="156">
                  <c:v>195.84526084926844</c:v>
                </c:pt>
                <c:pt idx="157">
                  <c:v>205.38697999700526</c:v>
                </c:pt>
                <c:pt idx="158">
                  <c:v>210.26397611267203</c:v>
                </c:pt>
                <c:pt idx="159">
                  <c:v>219.85810293042545</c:v>
                </c:pt>
                <c:pt idx="160">
                  <c:v>228.00815621889666</c:v>
                </c:pt>
                <c:pt idx="161">
                  <c:v>219.48376243030654</c:v>
                </c:pt>
                <c:pt idx="162">
                  <c:v>220.19544978112089</c:v>
                </c:pt>
                <c:pt idx="163">
                  <c:v>229.12060810513239</c:v>
                </c:pt>
                <c:pt idx="164">
                  <c:v>217.3830516237569</c:v>
                </c:pt>
                <c:pt idx="165">
                  <c:v>221.05643293139434</c:v>
                </c:pt>
                <c:pt idx="166">
                  <c:v>230.76594470330207</c:v>
                </c:pt>
                <c:pt idx="167">
                  <c:v>232.90981476751247</c:v>
                </c:pt>
                <c:pt idx="168">
                  <c:v>234.84317335047953</c:v>
                </c:pt>
                <c:pt idx="169">
                  <c:v>228.66303189381057</c:v>
                </c:pt>
                <c:pt idx="170">
                  <c:v>236.5426792210194</c:v>
                </c:pt>
                <c:pt idx="171">
                  <c:v>240.84627377062171</c:v>
                </c:pt>
                <c:pt idx="172">
                  <c:v>245.30092572203668</c:v>
                </c:pt>
                <c:pt idx="173">
                  <c:v>247.12550535967509</c:v>
                </c:pt>
                <c:pt idx="174">
                  <c:v>251.8228180352848</c:v>
                </c:pt>
                <c:pt idx="175">
                  <c:v>241.87460914447769</c:v>
                </c:pt>
                <c:pt idx="176">
                  <c:v>250.36465168717456</c:v>
                </c:pt>
                <c:pt idx="177">
                  <c:v>247.56590594805024</c:v>
                </c:pt>
                <c:pt idx="178">
                  <c:v>259.42457259122887</c:v>
                </c:pt>
                <c:pt idx="179">
                  <c:v>266.1781156139624</c:v>
                </c:pt>
                <c:pt idx="180">
                  <c:v>268.62806408709361</c:v>
                </c:pt>
                <c:pt idx="181">
                  <c:v>267.15932812486233</c:v>
                </c:pt>
                <c:pt idx="182">
                  <c:v>270.45440532708545</c:v>
                </c:pt>
                <c:pt idx="183">
                  <c:v>268.78000229008296</c:v>
                </c:pt>
                <c:pt idx="184">
                  <c:v>263.09707309768953</c:v>
                </c:pt>
                <c:pt idx="185">
                  <c:v>264.92869914474193</c:v>
                </c:pt>
                <c:pt idx="186">
                  <c:v>259.55493116538787</c:v>
                </c:pt>
                <c:pt idx="187">
                  <c:v>270.46057093532261</c:v>
                </c:pt>
                <c:pt idx="188">
                  <c:v>256.69585054565619</c:v>
                </c:pt>
                <c:pt idx="189">
                  <c:v>254.95802982392772</c:v>
                </c:pt>
                <c:pt idx="190">
                  <c:v>271.94472091814703</c:v>
                </c:pt>
                <c:pt idx="191">
                  <c:v>274.3818977742153</c:v>
                </c:pt>
                <c:pt idx="192">
                  <c:v>273.40508926919915</c:v>
                </c:pt>
                <c:pt idx="193">
                  <c:v>268.28587282992595</c:v>
                </c:pt>
                <c:pt idx="194">
                  <c:v>270.47686575709253</c:v>
                </c:pt>
                <c:pt idx="195">
                  <c:v>285.85917750786109</c:v>
                </c:pt>
                <c:pt idx="196">
                  <c:v>283.51272317299805</c:v>
                </c:pt>
                <c:pt idx="197">
                  <c:v>287.7088599790369</c:v>
                </c:pt>
                <c:pt idx="198">
                  <c:v>303.3408788634141</c:v>
                </c:pt>
                <c:pt idx="199">
                  <c:v>304.01116855892116</c:v>
                </c:pt>
                <c:pt idx="200">
                  <c:v>297.66103247513934</c:v>
                </c:pt>
                <c:pt idx="201">
                  <c:v>294.04182043987208</c:v>
                </c:pt>
                <c:pt idx="202">
                  <c:v>287.02095425999494</c:v>
                </c:pt>
                <c:pt idx="203">
                  <c:v>287.79738049730037</c:v>
                </c:pt>
                <c:pt idx="204">
                  <c:v>294.37696528762564</c:v>
                </c:pt>
                <c:pt idx="205">
                  <c:v>296.21651854526874</c:v>
                </c:pt>
                <c:pt idx="206">
                  <c:v>308.84148221222017</c:v>
                </c:pt>
                <c:pt idx="207">
                  <c:v>307.84441528013878</c:v>
                </c:pt>
                <c:pt idx="208">
                  <c:v>310.84002008226679</c:v>
                </c:pt>
                <c:pt idx="209">
                  <c:v>318.4858146970484</c:v>
                </c:pt>
                <c:pt idx="210">
                  <c:v>316.7061559194243</c:v>
                </c:pt>
                <c:pt idx="211">
                  <c:v>320.67328441950804</c:v>
                </c:pt>
                <c:pt idx="212">
                  <c:v>322.62866303189384</c:v>
                </c:pt>
                <c:pt idx="213">
                  <c:v>324.53119357367467</c:v>
                </c:pt>
                <c:pt idx="214">
                  <c:v>330.37530938141339</c:v>
                </c:pt>
                <c:pt idx="215">
                  <c:v>342.20138638105226</c:v>
                </c:pt>
                <c:pt idx="216">
                  <c:v>337.72515480080688</c:v>
                </c:pt>
                <c:pt idx="217">
                  <c:v>346.43099363180761</c:v>
                </c:pt>
                <c:pt idx="218">
                  <c:v>330.95884016101053</c:v>
                </c:pt>
                <c:pt idx="219">
                  <c:v>332.94196401046395</c:v>
                </c:pt>
                <c:pt idx="220">
                  <c:v>330.71397743387394</c:v>
                </c:pt>
                <c:pt idx="221">
                  <c:v>332.18007099257488</c:v>
                </c:pt>
                <c:pt idx="222">
                  <c:v>336.13839148089102</c:v>
                </c:pt>
                <c:pt idx="223">
                  <c:v>347.66984048690688</c:v>
                </c:pt>
                <c:pt idx="224">
                  <c:v>353.10218174451478</c:v>
                </c:pt>
                <c:pt idx="225">
                  <c:v>350.93937445500427</c:v>
                </c:pt>
                <c:pt idx="226">
                  <c:v>340.52786414522643</c:v>
                </c:pt>
                <c:pt idx="227">
                  <c:v>356.08853813428692</c:v>
                </c:pt>
                <c:pt idx="228">
                  <c:v>330.44401187319983</c:v>
                </c:pt>
                <c:pt idx="229">
                  <c:v>351.9773986418046</c:v>
                </c:pt>
                <c:pt idx="230">
                  <c:v>365.49681590374604</c:v>
                </c:pt>
                <c:pt idx="231">
                  <c:v>372.92020822139818</c:v>
                </c:pt>
                <c:pt idx="232">
                  <c:v>381.30675662582684</c:v>
                </c:pt>
                <c:pt idx="233">
                  <c:v>376.71425929025037</c:v>
                </c:pt>
                <c:pt idx="234">
                  <c:v>389.8086899844098</c:v>
                </c:pt>
                <c:pt idx="235">
                  <c:v>393.54813138030346</c:v>
                </c:pt>
                <c:pt idx="236">
                  <c:v>402.10027040596123</c:v>
                </c:pt>
                <c:pt idx="237">
                  <c:v>409.82709872900386</c:v>
                </c:pt>
                <c:pt idx="238">
                  <c:v>407.88625333603431</c:v>
                </c:pt>
                <c:pt idx="239">
                  <c:v>407.00325015634206</c:v>
                </c:pt>
                <c:pt idx="240">
                  <c:v>412.9922577576562</c:v>
                </c:pt>
                <c:pt idx="241">
                  <c:v>425.15788361093234</c:v>
                </c:pt>
                <c:pt idx="242">
                  <c:v>383.6884430077597</c:v>
                </c:pt>
                <c:pt idx="243">
                  <c:v>332.35843323086664</c:v>
                </c:pt>
                <c:pt idx="244">
                  <c:v>354.19569640545024</c:v>
                </c:pt>
                <c:pt idx="245">
                  <c:v>354.58104692027854</c:v>
                </c:pt>
                <c:pt idx="246">
                  <c:v>352.51600856138731</c:v>
                </c:pt>
                <c:pt idx="247">
                  <c:v>378.14027639540916</c:v>
                </c:pt>
                <c:pt idx="248">
                  <c:v>388.4844054151655</c:v>
                </c:pt>
                <c:pt idx="249">
                  <c:v>381.11033796341138</c:v>
                </c:pt>
                <c:pt idx="250">
                  <c:v>369.58153136092579</c:v>
                </c:pt>
                <c:pt idx="251">
                  <c:v>391.6865580932415</c:v>
                </c:pt>
                <c:pt idx="252">
                  <c:v>399.28743184800879</c:v>
                </c:pt>
                <c:pt idx="253">
                  <c:v>391.39369170197199</c:v>
                </c:pt>
                <c:pt idx="254">
                  <c:v>386.55192763337521</c:v>
                </c:pt>
                <c:pt idx="255">
                  <c:v>412.09384055737081</c:v>
                </c:pt>
                <c:pt idx="256">
                  <c:v>428.65510468321963</c:v>
                </c:pt>
                <c:pt idx="257">
                  <c:v>433.01066650225022</c:v>
                </c:pt>
                <c:pt idx="258">
                  <c:v>432.31131036791038</c:v>
                </c:pt>
                <c:pt idx="259">
                  <c:v>447.66235367690422</c:v>
                </c:pt>
                <c:pt idx="260">
                  <c:v>454.70964389208399</c:v>
                </c:pt>
                <c:pt idx="261">
                  <c:v>431.45032721763693</c:v>
                </c:pt>
                <c:pt idx="262">
                  <c:v>451.24633366510147</c:v>
                </c:pt>
                <c:pt idx="263">
                  <c:v>444.37916729056718</c:v>
                </c:pt>
                <c:pt idx="264">
                  <c:v>486.30045889741274</c:v>
                </c:pt>
                <c:pt idx="265">
                  <c:v>463.61058018373484</c:v>
                </c:pt>
                <c:pt idx="266">
                  <c:v>451.96330582297628</c:v>
                </c:pt>
                <c:pt idx="267">
                  <c:v>475.128376771511</c:v>
                </c:pt>
                <c:pt idx="268">
                  <c:v>463.62731540609303</c:v>
                </c:pt>
                <c:pt idx="269">
                  <c:v>459.94248368315789</c:v>
                </c:pt>
                <c:pt idx="270">
                  <c:v>439.14148309302112</c:v>
                </c:pt>
                <c:pt idx="271">
                  <c:v>457.11202910167054</c:v>
                </c:pt>
                <c:pt idx="272">
                  <c:v>447.70683413633014</c:v>
                </c:pt>
                <c:pt idx="273">
                  <c:v>409.32680366060947</c:v>
                </c:pt>
                <c:pt idx="274">
                  <c:v>437.23542934653329</c:v>
                </c:pt>
                <c:pt idx="275">
                  <c:v>461.44777289422433</c:v>
                </c:pt>
                <c:pt idx="276">
                  <c:v>452.21873816423397</c:v>
                </c:pt>
                <c:pt idx="277">
                  <c:v>451.73077431231428</c:v>
                </c:pt>
                <c:pt idx="278">
                  <c:v>435.89705195846119</c:v>
                </c:pt>
                <c:pt idx="279">
                  <c:v>441.48133141905856</c:v>
                </c:pt>
                <c:pt idx="280">
                  <c:v>452.56885663199216</c:v>
                </c:pt>
              </c:numCache>
            </c:numRef>
          </c:yVal>
          <c:smooth val="0"/>
          <c:extLst>
            <c:ext xmlns:c16="http://schemas.microsoft.com/office/drawing/2014/chart" uri="{C3380CC4-5D6E-409C-BE32-E72D297353CC}">
              <c16:uniqueId val="{00000000-2F2D-4685-A72E-56AAA6666DC9}"/>
            </c:ext>
          </c:extLst>
        </c:ser>
        <c:ser>
          <c:idx val="1"/>
          <c:order val="1"/>
          <c:spPr>
            <a:ln w="19050" cmpd="sng" algn="ctr">
              <a:solidFill>
                <a:srgbClr val="009DE0"/>
              </a:solidFill>
              <a:prstDash val="solid"/>
            </a:ln>
          </c:spPr>
          <c:marker>
            <c:symbol val="none"/>
          </c:marker>
          <c:xVal>
            <c:numRef>
              <c:f>Sheet1!$A$1:$JU$1</c:f>
              <c:numCache>
                <c:formatCode>General</c:formatCode>
                <c:ptCount val="281"/>
                <c:pt idx="0">
                  <c:v>10957</c:v>
                </c:pt>
                <c:pt idx="1">
                  <c:v>10987</c:v>
                </c:pt>
                <c:pt idx="2">
                  <c:v>11016</c:v>
                </c:pt>
                <c:pt idx="3">
                  <c:v>11047</c:v>
                </c:pt>
                <c:pt idx="4">
                  <c:v>11075</c:v>
                </c:pt>
                <c:pt idx="5">
                  <c:v>11108</c:v>
                </c:pt>
                <c:pt idx="6">
                  <c:v>11138</c:v>
                </c:pt>
                <c:pt idx="7">
                  <c:v>11169</c:v>
                </c:pt>
                <c:pt idx="8">
                  <c:v>11200</c:v>
                </c:pt>
                <c:pt idx="9">
                  <c:v>11229</c:v>
                </c:pt>
                <c:pt idx="10">
                  <c:v>11261</c:v>
                </c:pt>
                <c:pt idx="11">
                  <c:v>11291</c:v>
                </c:pt>
                <c:pt idx="12">
                  <c:v>11320</c:v>
                </c:pt>
                <c:pt idx="13">
                  <c:v>11353</c:v>
                </c:pt>
                <c:pt idx="14">
                  <c:v>11381</c:v>
                </c:pt>
                <c:pt idx="15">
                  <c:v>11411</c:v>
                </c:pt>
                <c:pt idx="16">
                  <c:v>11442</c:v>
                </c:pt>
                <c:pt idx="17">
                  <c:v>11473</c:v>
                </c:pt>
                <c:pt idx="18">
                  <c:v>11502</c:v>
                </c:pt>
                <c:pt idx="19">
                  <c:v>11534</c:v>
                </c:pt>
                <c:pt idx="20">
                  <c:v>11565</c:v>
                </c:pt>
                <c:pt idx="21">
                  <c:v>11593</c:v>
                </c:pt>
                <c:pt idx="22">
                  <c:v>11626</c:v>
                </c:pt>
                <c:pt idx="23">
                  <c:v>11656</c:v>
                </c:pt>
                <c:pt idx="24">
                  <c:v>11687</c:v>
                </c:pt>
                <c:pt idx="25">
                  <c:v>11718</c:v>
                </c:pt>
                <c:pt idx="26">
                  <c:v>11746</c:v>
                </c:pt>
                <c:pt idx="27">
                  <c:v>11775</c:v>
                </c:pt>
                <c:pt idx="28">
                  <c:v>11807</c:v>
                </c:pt>
                <c:pt idx="29">
                  <c:v>11838</c:v>
                </c:pt>
                <c:pt idx="30">
                  <c:v>11866</c:v>
                </c:pt>
                <c:pt idx="31">
                  <c:v>11899</c:v>
                </c:pt>
                <c:pt idx="32">
                  <c:v>11929</c:v>
                </c:pt>
                <c:pt idx="33">
                  <c:v>11960</c:v>
                </c:pt>
                <c:pt idx="34">
                  <c:v>11991</c:v>
                </c:pt>
                <c:pt idx="35">
                  <c:v>12020</c:v>
                </c:pt>
                <c:pt idx="36">
                  <c:v>12052</c:v>
                </c:pt>
                <c:pt idx="37">
                  <c:v>12083</c:v>
                </c:pt>
                <c:pt idx="38">
                  <c:v>12111</c:v>
                </c:pt>
                <c:pt idx="39">
                  <c:v>12142</c:v>
                </c:pt>
                <c:pt idx="40">
                  <c:v>12172</c:v>
                </c:pt>
                <c:pt idx="41">
                  <c:v>12202</c:v>
                </c:pt>
                <c:pt idx="42">
                  <c:v>12233</c:v>
                </c:pt>
                <c:pt idx="43">
                  <c:v>12264</c:v>
                </c:pt>
                <c:pt idx="44">
                  <c:v>12293</c:v>
                </c:pt>
                <c:pt idx="45">
                  <c:v>12325</c:v>
                </c:pt>
                <c:pt idx="46">
                  <c:v>12356</c:v>
                </c:pt>
                <c:pt idx="47">
                  <c:v>12384</c:v>
                </c:pt>
                <c:pt idx="48">
                  <c:v>12417</c:v>
                </c:pt>
                <c:pt idx="49">
                  <c:v>12447</c:v>
                </c:pt>
                <c:pt idx="50">
                  <c:v>12475</c:v>
                </c:pt>
                <c:pt idx="51">
                  <c:v>12508</c:v>
                </c:pt>
                <c:pt idx="52">
                  <c:v>12538</c:v>
                </c:pt>
                <c:pt idx="53">
                  <c:v>12569</c:v>
                </c:pt>
                <c:pt idx="54">
                  <c:v>12599</c:v>
                </c:pt>
                <c:pt idx="55">
                  <c:v>12629</c:v>
                </c:pt>
                <c:pt idx="56">
                  <c:v>12661</c:v>
                </c:pt>
                <c:pt idx="57">
                  <c:v>12691</c:v>
                </c:pt>
                <c:pt idx="58">
                  <c:v>12720</c:v>
                </c:pt>
                <c:pt idx="59">
                  <c:v>12752</c:v>
                </c:pt>
                <c:pt idx="60">
                  <c:v>12783</c:v>
                </c:pt>
                <c:pt idx="61">
                  <c:v>12814</c:v>
                </c:pt>
                <c:pt idx="62">
                  <c:v>12842</c:v>
                </c:pt>
                <c:pt idx="63">
                  <c:v>12873</c:v>
                </c:pt>
                <c:pt idx="64">
                  <c:v>12902</c:v>
                </c:pt>
                <c:pt idx="65">
                  <c:v>12934</c:v>
                </c:pt>
                <c:pt idx="66">
                  <c:v>12964</c:v>
                </c:pt>
                <c:pt idx="67">
                  <c:v>12993</c:v>
                </c:pt>
                <c:pt idx="68">
                  <c:v>13026</c:v>
                </c:pt>
                <c:pt idx="69">
                  <c:v>13056</c:v>
                </c:pt>
                <c:pt idx="70">
                  <c:v>13087</c:v>
                </c:pt>
                <c:pt idx="71">
                  <c:v>13117</c:v>
                </c:pt>
                <c:pt idx="72">
                  <c:v>13147</c:v>
                </c:pt>
                <c:pt idx="73">
                  <c:v>13179</c:v>
                </c:pt>
                <c:pt idx="74">
                  <c:v>13207</c:v>
                </c:pt>
                <c:pt idx="75">
                  <c:v>13238</c:v>
                </c:pt>
                <c:pt idx="76">
                  <c:v>13266</c:v>
                </c:pt>
                <c:pt idx="77">
                  <c:v>13299</c:v>
                </c:pt>
                <c:pt idx="78">
                  <c:v>13329</c:v>
                </c:pt>
                <c:pt idx="79">
                  <c:v>13360</c:v>
                </c:pt>
                <c:pt idx="80">
                  <c:v>13391</c:v>
                </c:pt>
                <c:pt idx="81">
                  <c:v>13420</c:v>
                </c:pt>
                <c:pt idx="82">
                  <c:v>13452</c:v>
                </c:pt>
                <c:pt idx="83">
                  <c:v>13482</c:v>
                </c:pt>
                <c:pt idx="84">
                  <c:v>13511</c:v>
                </c:pt>
                <c:pt idx="85">
                  <c:v>13544</c:v>
                </c:pt>
                <c:pt idx="86">
                  <c:v>13572</c:v>
                </c:pt>
                <c:pt idx="87">
                  <c:v>13602</c:v>
                </c:pt>
                <c:pt idx="88">
                  <c:v>13633</c:v>
                </c:pt>
                <c:pt idx="89">
                  <c:v>13664</c:v>
                </c:pt>
                <c:pt idx="90">
                  <c:v>13693</c:v>
                </c:pt>
                <c:pt idx="91">
                  <c:v>13725</c:v>
                </c:pt>
                <c:pt idx="92">
                  <c:v>13756</c:v>
                </c:pt>
                <c:pt idx="93">
                  <c:v>13784</c:v>
                </c:pt>
                <c:pt idx="94">
                  <c:v>13817</c:v>
                </c:pt>
                <c:pt idx="95">
                  <c:v>13847</c:v>
                </c:pt>
                <c:pt idx="96">
                  <c:v>13878</c:v>
                </c:pt>
                <c:pt idx="97">
                  <c:v>13909</c:v>
                </c:pt>
                <c:pt idx="98">
                  <c:v>13938</c:v>
                </c:pt>
                <c:pt idx="99">
                  <c:v>13969</c:v>
                </c:pt>
                <c:pt idx="100">
                  <c:v>13999</c:v>
                </c:pt>
                <c:pt idx="101">
                  <c:v>14029</c:v>
                </c:pt>
                <c:pt idx="102">
                  <c:v>14060</c:v>
                </c:pt>
                <c:pt idx="103">
                  <c:v>14091</c:v>
                </c:pt>
                <c:pt idx="104">
                  <c:v>14120</c:v>
                </c:pt>
                <c:pt idx="105">
                  <c:v>14152</c:v>
                </c:pt>
                <c:pt idx="106">
                  <c:v>14183</c:v>
                </c:pt>
                <c:pt idx="107">
                  <c:v>14211</c:v>
                </c:pt>
                <c:pt idx="108">
                  <c:v>14244</c:v>
                </c:pt>
                <c:pt idx="109">
                  <c:v>14274</c:v>
                </c:pt>
                <c:pt idx="110">
                  <c:v>14302</c:v>
                </c:pt>
                <c:pt idx="111">
                  <c:v>14334</c:v>
                </c:pt>
                <c:pt idx="112">
                  <c:v>14364</c:v>
                </c:pt>
                <c:pt idx="113">
                  <c:v>14393</c:v>
                </c:pt>
                <c:pt idx="114">
                  <c:v>14425</c:v>
                </c:pt>
                <c:pt idx="115">
                  <c:v>14456</c:v>
                </c:pt>
                <c:pt idx="116">
                  <c:v>14487</c:v>
                </c:pt>
                <c:pt idx="117">
                  <c:v>14517</c:v>
                </c:pt>
                <c:pt idx="118">
                  <c:v>14547</c:v>
                </c:pt>
                <c:pt idx="119">
                  <c:v>14578</c:v>
                </c:pt>
                <c:pt idx="120">
                  <c:v>14609</c:v>
                </c:pt>
                <c:pt idx="121">
                  <c:v>14638</c:v>
                </c:pt>
                <c:pt idx="122">
                  <c:v>14666</c:v>
                </c:pt>
                <c:pt idx="123">
                  <c:v>14699</c:v>
                </c:pt>
                <c:pt idx="124">
                  <c:v>14729</c:v>
                </c:pt>
                <c:pt idx="125">
                  <c:v>14760</c:v>
                </c:pt>
                <c:pt idx="126">
                  <c:v>14790</c:v>
                </c:pt>
                <c:pt idx="127">
                  <c:v>14820</c:v>
                </c:pt>
                <c:pt idx="128">
                  <c:v>14852</c:v>
                </c:pt>
                <c:pt idx="129">
                  <c:v>14882</c:v>
                </c:pt>
                <c:pt idx="130">
                  <c:v>14911</c:v>
                </c:pt>
                <c:pt idx="131">
                  <c:v>14943</c:v>
                </c:pt>
                <c:pt idx="132">
                  <c:v>14974</c:v>
                </c:pt>
                <c:pt idx="133">
                  <c:v>15005</c:v>
                </c:pt>
                <c:pt idx="134">
                  <c:v>15033</c:v>
                </c:pt>
                <c:pt idx="135">
                  <c:v>15064</c:v>
                </c:pt>
                <c:pt idx="136">
                  <c:v>15093</c:v>
                </c:pt>
                <c:pt idx="137">
                  <c:v>15125</c:v>
                </c:pt>
                <c:pt idx="138">
                  <c:v>15155</c:v>
                </c:pt>
                <c:pt idx="139">
                  <c:v>15184</c:v>
                </c:pt>
                <c:pt idx="140">
                  <c:v>15217</c:v>
                </c:pt>
                <c:pt idx="141">
                  <c:v>15247</c:v>
                </c:pt>
                <c:pt idx="142">
                  <c:v>15278</c:v>
                </c:pt>
                <c:pt idx="143">
                  <c:v>15308</c:v>
                </c:pt>
                <c:pt idx="144">
                  <c:v>15338</c:v>
                </c:pt>
                <c:pt idx="145">
                  <c:v>15370</c:v>
                </c:pt>
                <c:pt idx="146">
                  <c:v>15399</c:v>
                </c:pt>
                <c:pt idx="147">
                  <c:v>15429</c:v>
                </c:pt>
                <c:pt idx="148">
                  <c:v>15460</c:v>
                </c:pt>
                <c:pt idx="149">
                  <c:v>15491</c:v>
                </c:pt>
                <c:pt idx="150">
                  <c:v>15520</c:v>
                </c:pt>
                <c:pt idx="151">
                  <c:v>15552</c:v>
                </c:pt>
                <c:pt idx="152">
                  <c:v>15583</c:v>
                </c:pt>
                <c:pt idx="153">
                  <c:v>15611</c:v>
                </c:pt>
                <c:pt idx="154">
                  <c:v>15644</c:v>
                </c:pt>
                <c:pt idx="155">
                  <c:v>15674</c:v>
                </c:pt>
                <c:pt idx="156">
                  <c:v>15705</c:v>
                </c:pt>
                <c:pt idx="157">
                  <c:v>15736</c:v>
                </c:pt>
                <c:pt idx="158">
                  <c:v>15764</c:v>
                </c:pt>
                <c:pt idx="159">
                  <c:v>15793</c:v>
                </c:pt>
                <c:pt idx="160">
                  <c:v>15825</c:v>
                </c:pt>
                <c:pt idx="161">
                  <c:v>15856</c:v>
                </c:pt>
                <c:pt idx="162">
                  <c:v>15884</c:v>
                </c:pt>
                <c:pt idx="163">
                  <c:v>15917</c:v>
                </c:pt>
                <c:pt idx="164">
                  <c:v>15947</c:v>
                </c:pt>
                <c:pt idx="165">
                  <c:v>15978</c:v>
                </c:pt>
                <c:pt idx="166">
                  <c:v>16009</c:v>
                </c:pt>
                <c:pt idx="167">
                  <c:v>16038</c:v>
                </c:pt>
                <c:pt idx="168">
                  <c:v>16070</c:v>
                </c:pt>
                <c:pt idx="169">
                  <c:v>16101</c:v>
                </c:pt>
                <c:pt idx="170">
                  <c:v>16129</c:v>
                </c:pt>
                <c:pt idx="171">
                  <c:v>16160</c:v>
                </c:pt>
                <c:pt idx="172">
                  <c:v>16190</c:v>
                </c:pt>
                <c:pt idx="173">
                  <c:v>16220</c:v>
                </c:pt>
                <c:pt idx="174">
                  <c:v>16251</c:v>
                </c:pt>
                <c:pt idx="175">
                  <c:v>16282</c:v>
                </c:pt>
                <c:pt idx="176">
                  <c:v>16311</c:v>
                </c:pt>
                <c:pt idx="177">
                  <c:v>16343</c:v>
                </c:pt>
                <c:pt idx="178">
                  <c:v>16374</c:v>
                </c:pt>
                <c:pt idx="179">
                  <c:v>16402</c:v>
                </c:pt>
                <c:pt idx="180">
                  <c:v>16435</c:v>
                </c:pt>
                <c:pt idx="181">
                  <c:v>16465</c:v>
                </c:pt>
                <c:pt idx="182">
                  <c:v>16493</c:v>
                </c:pt>
                <c:pt idx="183">
                  <c:v>16525</c:v>
                </c:pt>
                <c:pt idx="184">
                  <c:v>16555</c:v>
                </c:pt>
                <c:pt idx="185">
                  <c:v>16584</c:v>
                </c:pt>
                <c:pt idx="186">
                  <c:v>16616</c:v>
                </c:pt>
                <c:pt idx="187">
                  <c:v>16647</c:v>
                </c:pt>
                <c:pt idx="188">
                  <c:v>16678</c:v>
                </c:pt>
                <c:pt idx="189">
                  <c:v>16708</c:v>
                </c:pt>
                <c:pt idx="190">
                  <c:v>16738</c:v>
                </c:pt>
                <c:pt idx="191">
                  <c:v>16769</c:v>
                </c:pt>
                <c:pt idx="192">
                  <c:v>16800</c:v>
                </c:pt>
                <c:pt idx="193">
                  <c:v>16829</c:v>
                </c:pt>
                <c:pt idx="194">
                  <c:v>16860</c:v>
                </c:pt>
                <c:pt idx="195">
                  <c:v>16891</c:v>
                </c:pt>
                <c:pt idx="196">
                  <c:v>16920</c:v>
                </c:pt>
                <c:pt idx="197">
                  <c:v>16952</c:v>
                </c:pt>
                <c:pt idx="198">
                  <c:v>16982</c:v>
                </c:pt>
                <c:pt idx="199">
                  <c:v>17011</c:v>
                </c:pt>
                <c:pt idx="200">
                  <c:v>17044</c:v>
                </c:pt>
                <c:pt idx="201">
                  <c:v>17074</c:v>
                </c:pt>
                <c:pt idx="202">
                  <c:v>17105</c:v>
                </c:pt>
                <c:pt idx="203">
                  <c:v>17135</c:v>
                </c:pt>
                <c:pt idx="204">
                  <c:v>17165</c:v>
                </c:pt>
                <c:pt idx="205">
                  <c:v>17197</c:v>
                </c:pt>
                <c:pt idx="206">
                  <c:v>17225</c:v>
                </c:pt>
                <c:pt idx="207">
                  <c:v>17256</c:v>
                </c:pt>
                <c:pt idx="208">
                  <c:v>17284</c:v>
                </c:pt>
                <c:pt idx="209">
                  <c:v>17317</c:v>
                </c:pt>
                <c:pt idx="210">
                  <c:v>17347</c:v>
                </c:pt>
                <c:pt idx="211">
                  <c:v>17378</c:v>
                </c:pt>
                <c:pt idx="212">
                  <c:v>17409</c:v>
                </c:pt>
                <c:pt idx="213">
                  <c:v>17438</c:v>
                </c:pt>
                <c:pt idx="214">
                  <c:v>17470</c:v>
                </c:pt>
                <c:pt idx="215">
                  <c:v>17500</c:v>
                </c:pt>
                <c:pt idx="216">
                  <c:v>17529</c:v>
                </c:pt>
                <c:pt idx="217">
                  <c:v>17562</c:v>
                </c:pt>
                <c:pt idx="218">
                  <c:v>17590</c:v>
                </c:pt>
                <c:pt idx="219">
                  <c:v>17620</c:v>
                </c:pt>
                <c:pt idx="220">
                  <c:v>17651</c:v>
                </c:pt>
                <c:pt idx="221">
                  <c:v>17682</c:v>
                </c:pt>
                <c:pt idx="222">
                  <c:v>17711</c:v>
                </c:pt>
                <c:pt idx="223">
                  <c:v>17743</c:v>
                </c:pt>
                <c:pt idx="224">
                  <c:v>17774</c:v>
                </c:pt>
                <c:pt idx="225">
                  <c:v>17802</c:v>
                </c:pt>
                <c:pt idx="226">
                  <c:v>17835</c:v>
                </c:pt>
                <c:pt idx="227">
                  <c:v>17865</c:v>
                </c:pt>
                <c:pt idx="228">
                  <c:v>17896</c:v>
                </c:pt>
                <c:pt idx="229">
                  <c:v>17927</c:v>
                </c:pt>
                <c:pt idx="230">
                  <c:v>17955</c:v>
                </c:pt>
                <c:pt idx="231">
                  <c:v>17984</c:v>
                </c:pt>
                <c:pt idx="232">
                  <c:v>18016</c:v>
                </c:pt>
                <c:pt idx="233">
                  <c:v>18047</c:v>
                </c:pt>
                <c:pt idx="234">
                  <c:v>18075</c:v>
                </c:pt>
                <c:pt idx="235">
                  <c:v>18108</c:v>
                </c:pt>
                <c:pt idx="236">
                  <c:v>18138</c:v>
                </c:pt>
                <c:pt idx="237">
                  <c:v>18169</c:v>
                </c:pt>
                <c:pt idx="238">
                  <c:v>18200</c:v>
                </c:pt>
                <c:pt idx="239">
                  <c:v>18229</c:v>
                </c:pt>
                <c:pt idx="240">
                  <c:v>18261</c:v>
                </c:pt>
                <c:pt idx="241">
                  <c:v>18292</c:v>
                </c:pt>
                <c:pt idx="242">
                  <c:v>18320</c:v>
                </c:pt>
                <c:pt idx="243">
                  <c:v>18352</c:v>
                </c:pt>
                <c:pt idx="244">
                  <c:v>18382</c:v>
                </c:pt>
                <c:pt idx="245">
                  <c:v>18411</c:v>
                </c:pt>
                <c:pt idx="246">
                  <c:v>18443</c:v>
                </c:pt>
                <c:pt idx="247">
                  <c:v>18474</c:v>
                </c:pt>
                <c:pt idx="248">
                  <c:v>18505</c:v>
                </c:pt>
                <c:pt idx="249">
                  <c:v>18535</c:v>
                </c:pt>
                <c:pt idx="250">
                  <c:v>18565</c:v>
                </c:pt>
                <c:pt idx="251">
                  <c:v>18596</c:v>
                </c:pt>
                <c:pt idx="252">
                  <c:v>18627</c:v>
                </c:pt>
                <c:pt idx="253">
                  <c:v>18656</c:v>
                </c:pt>
                <c:pt idx="254">
                  <c:v>18684</c:v>
                </c:pt>
                <c:pt idx="255">
                  <c:v>18717</c:v>
                </c:pt>
                <c:pt idx="256">
                  <c:v>18747</c:v>
                </c:pt>
                <c:pt idx="257">
                  <c:v>18778</c:v>
                </c:pt>
                <c:pt idx="258">
                  <c:v>18808</c:v>
                </c:pt>
                <c:pt idx="259">
                  <c:v>18838</c:v>
                </c:pt>
                <c:pt idx="260">
                  <c:v>18870</c:v>
                </c:pt>
                <c:pt idx="261">
                  <c:v>18900</c:v>
                </c:pt>
                <c:pt idx="262">
                  <c:v>18929</c:v>
                </c:pt>
                <c:pt idx="263">
                  <c:v>18961</c:v>
                </c:pt>
                <c:pt idx="264">
                  <c:v>18992</c:v>
                </c:pt>
                <c:pt idx="265">
                  <c:v>19023</c:v>
                </c:pt>
                <c:pt idx="266">
                  <c:v>19051</c:v>
                </c:pt>
                <c:pt idx="267">
                  <c:v>19082</c:v>
                </c:pt>
                <c:pt idx="268">
                  <c:v>19111</c:v>
                </c:pt>
                <c:pt idx="269">
                  <c:v>19143</c:v>
                </c:pt>
                <c:pt idx="270">
                  <c:v>19173</c:v>
                </c:pt>
                <c:pt idx="271">
                  <c:v>19202</c:v>
                </c:pt>
                <c:pt idx="272">
                  <c:v>19235</c:v>
                </c:pt>
                <c:pt idx="273">
                  <c:v>19265</c:v>
                </c:pt>
                <c:pt idx="274">
                  <c:v>19296</c:v>
                </c:pt>
                <c:pt idx="275">
                  <c:v>19326</c:v>
                </c:pt>
                <c:pt idx="276">
                  <c:v>19356</c:v>
                </c:pt>
                <c:pt idx="277">
                  <c:v>19388</c:v>
                </c:pt>
                <c:pt idx="278">
                  <c:v>19416</c:v>
                </c:pt>
                <c:pt idx="279">
                  <c:v>19447</c:v>
                </c:pt>
                <c:pt idx="280">
                  <c:v>19475</c:v>
                </c:pt>
              </c:numCache>
            </c:numRef>
          </c:xVal>
          <c:yVal>
            <c:numRef>
              <c:f>Sheet1!$A$3:$JU$3</c:f>
              <c:numCache>
                <c:formatCode>General</c:formatCode>
                <c:ptCount val="281"/>
                <c:pt idx="0">
                  <c:v>100</c:v>
                </c:pt>
                <c:pt idx="1">
                  <c:v>93.763470488345334</c:v>
                </c:pt>
                <c:pt idx="2">
                  <c:v>101.00103014988838</c:v>
                </c:pt>
                <c:pt idx="3">
                  <c:v>110.49834414103556</c:v>
                </c:pt>
                <c:pt idx="4">
                  <c:v>104.83429407595973</c:v>
                </c:pt>
                <c:pt idx="5">
                  <c:v>100.35966530043953</c:v>
                </c:pt>
                <c:pt idx="6">
                  <c:v>105.06777384296008</c:v>
                </c:pt>
                <c:pt idx="7">
                  <c:v>104.26651136139475</c:v>
                </c:pt>
                <c:pt idx="8">
                  <c:v>116.75407806803584</c:v>
                </c:pt>
                <c:pt idx="9">
                  <c:v>105.64745494529352</c:v>
                </c:pt>
                <c:pt idx="10">
                  <c:v>99.354669021294995</c:v>
                </c:pt>
                <c:pt idx="11">
                  <c:v>78.300576236832214</c:v>
                </c:pt>
                <c:pt idx="12">
                  <c:v>79.536547359236366</c:v>
                </c:pt>
                <c:pt idx="13">
                  <c:v>95.567119953491954</c:v>
                </c:pt>
                <c:pt idx="14">
                  <c:v>72.272894742060728</c:v>
                </c:pt>
                <c:pt idx="15">
                  <c:v>62.338784673624119</c:v>
                </c:pt>
                <c:pt idx="16">
                  <c:v>74.917050494044048</c:v>
                </c:pt>
                <c:pt idx="17">
                  <c:v>71.005716444720008</c:v>
                </c:pt>
                <c:pt idx="18">
                  <c:v>72.041919898801112</c:v>
                </c:pt>
                <c:pt idx="19">
                  <c:v>65.294907803150593</c:v>
                </c:pt>
                <c:pt idx="20">
                  <c:v>56.965514506117771</c:v>
                </c:pt>
                <c:pt idx="21">
                  <c:v>42.498327441543971</c:v>
                </c:pt>
                <c:pt idx="22">
                  <c:v>49.601873682958086</c:v>
                </c:pt>
                <c:pt idx="23">
                  <c:v>58.93626325913543</c:v>
                </c:pt>
                <c:pt idx="24">
                  <c:v>59.688679727756572</c:v>
                </c:pt>
                <c:pt idx="25">
                  <c:v>58.754656287932661</c:v>
                </c:pt>
                <c:pt idx="26">
                  <c:v>49.593106449865545</c:v>
                </c:pt>
                <c:pt idx="27">
                  <c:v>55.603357850274485</c:v>
                </c:pt>
                <c:pt idx="28">
                  <c:v>48.955812101495368</c:v>
                </c:pt>
                <c:pt idx="29">
                  <c:v>45.057837645455209</c:v>
                </c:pt>
                <c:pt idx="30">
                  <c:v>36.930925684131225</c:v>
                </c:pt>
                <c:pt idx="31">
                  <c:v>32.123663910206851</c:v>
                </c:pt>
                <c:pt idx="32">
                  <c:v>31.79030030904498</c:v>
                </c:pt>
                <c:pt idx="33">
                  <c:v>25.548552206263786</c:v>
                </c:pt>
                <c:pt idx="34">
                  <c:v>31.282740136079994</c:v>
                </c:pt>
                <c:pt idx="35">
                  <c:v>40.355887040463934</c:v>
                </c:pt>
                <c:pt idx="36">
                  <c:v>34.23333155901237</c:v>
                </c:pt>
                <c:pt idx="37">
                  <c:v>34.002356715752754</c:v>
                </c:pt>
                <c:pt idx="38">
                  <c:v>34.410763657313922</c:v>
                </c:pt>
                <c:pt idx="39">
                  <c:v>34.595919270482725</c:v>
                </c:pt>
                <c:pt idx="40">
                  <c:v>41.56743515639598</c:v>
                </c:pt>
                <c:pt idx="41">
                  <c:v>48.400032146521369</c:v>
                </c:pt>
                <c:pt idx="42">
                  <c:v>48.478415385241632</c:v>
                </c:pt>
                <c:pt idx="43">
                  <c:v>50.476718299407288</c:v>
                </c:pt>
                <c:pt idx="44">
                  <c:v>55.414653595139633</c:v>
                </c:pt>
                <c:pt idx="45">
                  <c:v>53.387335314310533</c:v>
                </c:pt>
                <c:pt idx="46">
                  <c:v>59.090420441012711</c:v>
                </c:pt>
                <c:pt idx="47">
                  <c:v>60.90085407462378</c:v>
                </c:pt>
                <c:pt idx="48">
                  <c:v>63.006033735060491</c:v>
                </c:pt>
                <c:pt idx="49">
                  <c:v>67.167442671167194</c:v>
                </c:pt>
                <c:pt idx="50">
                  <c:v>65.859037503927013</c:v>
                </c:pt>
                <c:pt idx="51">
                  <c:v>63.923879542392207</c:v>
                </c:pt>
                <c:pt idx="52">
                  <c:v>59.014855241500761</c:v>
                </c:pt>
                <c:pt idx="53">
                  <c:v>61.513725416521865</c:v>
                </c:pt>
                <c:pt idx="54">
                  <c:v>63.426547808035188</c:v>
                </c:pt>
                <c:pt idx="55">
                  <c:v>56.763868144989182</c:v>
                </c:pt>
                <c:pt idx="56">
                  <c:v>53.763908849999964</c:v>
                </c:pt>
                <c:pt idx="57">
                  <c:v>55.591355090683479</c:v>
                </c:pt>
                <c:pt idx="58">
                  <c:v>59.605912872490016</c:v>
                </c:pt>
                <c:pt idx="59">
                  <c:v>64.102981589854252</c:v>
                </c:pt>
                <c:pt idx="60">
                  <c:v>67.057539142042771</c:v>
                </c:pt>
                <c:pt idx="61">
                  <c:v>62.250381739940934</c:v>
                </c:pt>
                <c:pt idx="62">
                  <c:v>62.678619327782862</c:v>
                </c:pt>
                <c:pt idx="63">
                  <c:v>60.088632551692783</c:v>
                </c:pt>
                <c:pt idx="64">
                  <c:v>55.862304341972212</c:v>
                </c:pt>
                <c:pt idx="65">
                  <c:v>61.895726286982892</c:v>
                </c:pt>
                <c:pt idx="66">
                  <c:v>61.823605357614426</c:v>
                </c:pt>
                <c:pt idx="67">
                  <c:v>67.369089032295804</c:v>
                </c:pt>
                <c:pt idx="68">
                  <c:v>65.835762587502757</c:v>
                </c:pt>
                <c:pt idx="69">
                  <c:v>67.756099750238249</c:v>
                </c:pt>
                <c:pt idx="70">
                  <c:v>64.57557720227156</c:v>
                </c:pt>
                <c:pt idx="71">
                  <c:v>68.490459893561621</c:v>
                </c:pt>
                <c:pt idx="72">
                  <c:v>68.954183901063871</c:v>
                </c:pt>
                <c:pt idx="73">
                  <c:v>74.660504554264477</c:v>
                </c:pt>
                <c:pt idx="74">
                  <c:v>73.474110047562235</c:v>
                </c:pt>
                <c:pt idx="75">
                  <c:v>76.225038173994093</c:v>
                </c:pt>
                <c:pt idx="76">
                  <c:v>77.081200234210371</c:v>
                </c:pt>
                <c:pt idx="77">
                  <c:v>71.761055324371966</c:v>
                </c:pt>
                <c:pt idx="78">
                  <c:v>70.775159088750485</c:v>
                </c:pt>
                <c:pt idx="79">
                  <c:v>66.475144372323498</c:v>
                </c:pt>
                <c:pt idx="80">
                  <c:v>68.869955840281875</c:v>
                </c:pt>
                <c:pt idx="81">
                  <c:v>69.927555517981673</c:v>
                </c:pt>
                <c:pt idx="82">
                  <c:v>73.453966285813848</c:v>
                </c:pt>
                <c:pt idx="83">
                  <c:v>77.413624488969432</c:v>
                </c:pt>
                <c:pt idx="84">
                  <c:v>75.190295925428387</c:v>
                </c:pt>
                <c:pt idx="85">
                  <c:v>76.89844517295974</c:v>
                </c:pt>
                <c:pt idx="86">
                  <c:v>76.616432508482802</c:v>
                </c:pt>
                <c:pt idx="87">
                  <c:v>77.414772579017281</c:v>
                </c:pt>
                <c:pt idx="88">
                  <c:v>81.904117781514273</c:v>
                </c:pt>
                <c:pt idx="89">
                  <c:v>85.936731888618539</c:v>
                </c:pt>
                <c:pt idx="90">
                  <c:v>82.360431389616863</c:v>
                </c:pt>
                <c:pt idx="91">
                  <c:v>77.702421321910862</c:v>
                </c:pt>
                <c:pt idx="92">
                  <c:v>78.331574668123679</c:v>
                </c:pt>
                <c:pt idx="93">
                  <c:v>81.057766672615841</c:v>
                </c:pt>
                <c:pt idx="94">
                  <c:v>81.70299327949833</c:v>
                </c:pt>
                <c:pt idx="95">
                  <c:v>75.079557421723734</c:v>
                </c:pt>
                <c:pt idx="96">
                  <c:v>74.052121200735186</c:v>
                </c:pt>
                <c:pt idx="97">
                  <c:v>69.220227676693668</c:v>
                </c:pt>
                <c:pt idx="98">
                  <c:v>65.738592420726988</c:v>
                </c:pt>
                <c:pt idx="99">
                  <c:v>62.778711905589418</c:v>
                </c:pt>
                <c:pt idx="100">
                  <c:v>66.342487785887457</c:v>
                </c:pt>
                <c:pt idx="101">
                  <c:v>65.380597069447958</c:v>
                </c:pt>
                <c:pt idx="102">
                  <c:v>53.003038263753851</c:v>
                </c:pt>
                <c:pt idx="103">
                  <c:v>51.658833561385755</c:v>
                </c:pt>
                <c:pt idx="104">
                  <c:v>53.60766423167204</c:v>
                </c:pt>
                <c:pt idx="105">
                  <c:v>44.758812373905783</c:v>
                </c:pt>
                <c:pt idx="106">
                  <c:v>33.332602730575616</c:v>
                </c:pt>
                <c:pt idx="107">
                  <c:v>27.209316646366343</c:v>
                </c:pt>
                <c:pt idx="108">
                  <c:v>28.662172415988501</c:v>
                </c:pt>
                <c:pt idx="109">
                  <c:v>24.354434184694281</c:v>
                </c:pt>
                <c:pt idx="110">
                  <c:v>20.270260397260024</c:v>
                </c:pt>
                <c:pt idx="111">
                  <c:v>23.340670672457211</c:v>
                </c:pt>
                <c:pt idx="112">
                  <c:v>30.078915535015174</c:v>
                </c:pt>
                <c:pt idx="113">
                  <c:v>35.366809551691702</c:v>
                </c:pt>
                <c:pt idx="114">
                  <c:v>34.004652895848395</c:v>
                </c:pt>
                <c:pt idx="115">
                  <c:v>37.273056518385609</c:v>
                </c:pt>
                <c:pt idx="116">
                  <c:v>42.052868502984502</c:v>
                </c:pt>
                <c:pt idx="117">
                  <c:v>44.500909600433339</c:v>
                </c:pt>
                <c:pt idx="118">
                  <c:v>40.542816974615725</c:v>
                </c:pt>
                <c:pt idx="119">
                  <c:v>42.688910389484327</c:v>
                </c:pt>
                <c:pt idx="120">
                  <c:v>44.271500334511693</c:v>
                </c:pt>
                <c:pt idx="121">
                  <c:v>43.308461528024353</c:v>
                </c:pt>
                <c:pt idx="122">
                  <c:v>45.617896845152927</c:v>
                </c:pt>
                <c:pt idx="123">
                  <c:v>50.933762510267584</c:v>
                </c:pt>
                <c:pt idx="124">
                  <c:v>52.510507633233246</c:v>
                </c:pt>
                <c:pt idx="125">
                  <c:v>47.516420296979582</c:v>
                </c:pt>
                <c:pt idx="126">
                  <c:v>42.748089212859028</c:v>
                </c:pt>
                <c:pt idx="127">
                  <c:v>46.805439441902998</c:v>
                </c:pt>
                <c:pt idx="128">
                  <c:v>42.797039597625755</c:v>
                </c:pt>
                <c:pt idx="129">
                  <c:v>47.404011844114436</c:v>
                </c:pt>
                <c:pt idx="130">
                  <c:v>48.896946393588244</c:v>
                </c:pt>
                <c:pt idx="131">
                  <c:v>49.335203676393085</c:v>
                </c:pt>
                <c:pt idx="132">
                  <c:v>55.753862018363193</c:v>
                </c:pt>
                <c:pt idx="133">
                  <c:v>57.468691062536465</c:v>
                </c:pt>
                <c:pt idx="134">
                  <c:v>60.346222209697608</c:v>
                </c:pt>
                <c:pt idx="135">
                  <c:v>60.072246175555499</c:v>
                </c:pt>
                <c:pt idx="136">
                  <c:v>60.642429442038676</c:v>
                </c:pt>
                <c:pt idx="137">
                  <c:v>58.726580267671984</c:v>
                </c:pt>
                <c:pt idx="138">
                  <c:v>56.299935393841864</c:v>
                </c:pt>
                <c:pt idx="139">
                  <c:v>53.836551638481062</c:v>
                </c:pt>
                <c:pt idx="140">
                  <c:v>46.700023901147375</c:v>
                </c:pt>
                <c:pt idx="141">
                  <c:v>38.875581481516278</c:v>
                </c:pt>
                <c:pt idx="142">
                  <c:v>47.215098845334531</c:v>
                </c:pt>
                <c:pt idx="143">
                  <c:v>46.470823378870769</c:v>
                </c:pt>
                <c:pt idx="144">
                  <c:v>45.196130310307872</c:v>
                </c:pt>
                <c:pt idx="145">
                  <c:v>50.119557922708502</c:v>
                </c:pt>
                <c:pt idx="146">
                  <c:v>52.630952716433249</c:v>
                </c:pt>
                <c:pt idx="147">
                  <c:v>52.793877131403086</c:v>
                </c:pt>
                <c:pt idx="148">
                  <c:v>51.102427375476587</c:v>
                </c:pt>
                <c:pt idx="149">
                  <c:v>44.230586580079809</c:v>
                </c:pt>
                <c:pt idx="150">
                  <c:v>45.963158834083252</c:v>
                </c:pt>
                <c:pt idx="151">
                  <c:v>45.734271427274244</c:v>
                </c:pt>
                <c:pt idx="152">
                  <c:v>48.051012771979934</c:v>
                </c:pt>
                <c:pt idx="153">
                  <c:v>49.827525563268644</c:v>
                </c:pt>
                <c:pt idx="154">
                  <c:v>49.124268223059296</c:v>
                </c:pt>
                <c:pt idx="155">
                  <c:v>49.896097850671069</c:v>
                </c:pt>
                <c:pt idx="156">
                  <c:v>52.762983071934123</c:v>
                </c:pt>
                <c:pt idx="157">
                  <c:v>56.845486910207896</c:v>
                </c:pt>
                <c:pt idx="158">
                  <c:v>55.902800609113974</c:v>
                </c:pt>
                <c:pt idx="159">
                  <c:v>57.619821461560399</c:v>
                </c:pt>
                <c:pt idx="160">
                  <c:v>57.398031338683452</c:v>
                </c:pt>
                <c:pt idx="161">
                  <c:v>61.386287421212337</c:v>
                </c:pt>
                <c:pt idx="162">
                  <c:v>59.901180758428303</c:v>
                </c:pt>
                <c:pt idx="163">
                  <c:v>63.126687561905563</c:v>
                </c:pt>
                <c:pt idx="164">
                  <c:v>61.660263455354453</c:v>
                </c:pt>
                <c:pt idx="165">
                  <c:v>65.0306383485038</c:v>
                </c:pt>
                <c:pt idx="166">
                  <c:v>68.626038891028529</c:v>
                </c:pt>
                <c:pt idx="167">
                  <c:v>70.632900294641686</c:v>
                </c:pt>
                <c:pt idx="168">
                  <c:v>73.682958064445458</c:v>
                </c:pt>
                <c:pt idx="169">
                  <c:v>70.990060671340458</c:v>
                </c:pt>
                <c:pt idx="170">
                  <c:v>75.034573166213193</c:v>
                </c:pt>
                <c:pt idx="171">
                  <c:v>75.094378220523083</c:v>
                </c:pt>
                <c:pt idx="172">
                  <c:v>75.110451481192754</c:v>
                </c:pt>
                <c:pt idx="173">
                  <c:v>76.796265158702596</c:v>
                </c:pt>
                <c:pt idx="174">
                  <c:v>80.266315142368413</c:v>
                </c:pt>
                <c:pt idx="175">
                  <c:v>77.931934959655095</c:v>
                </c:pt>
                <c:pt idx="176">
                  <c:v>82.136031971176706</c:v>
                </c:pt>
                <c:pt idx="177">
                  <c:v>79.846114184861307</c:v>
                </c:pt>
                <c:pt idx="178">
                  <c:v>82.016526234379484</c:v>
                </c:pt>
                <c:pt idx="179">
                  <c:v>82.951697764251236</c:v>
                </c:pt>
                <c:pt idx="180">
                  <c:v>82.375669675706362</c:v>
                </c:pt>
                <c:pt idx="181">
                  <c:v>78.67234866868526</c:v>
                </c:pt>
                <c:pt idx="182">
                  <c:v>84.480327477030414</c:v>
                </c:pt>
                <c:pt idx="183">
                  <c:v>82.717069907203054</c:v>
                </c:pt>
                <c:pt idx="184">
                  <c:v>84.970040068342726</c:v>
                </c:pt>
                <c:pt idx="185">
                  <c:v>83.539311125096987</c:v>
                </c:pt>
                <c:pt idx="186">
                  <c:v>81.082294050910534</c:v>
                </c:pt>
                <c:pt idx="187">
                  <c:v>77.657228322755287</c:v>
                </c:pt>
                <c:pt idx="188">
                  <c:v>73.542995450432301</c:v>
                </c:pt>
                <c:pt idx="189">
                  <c:v>68.880184278889899</c:v>
                </c:pt>
                <c:pt idx="190">
                  <c:v>75.836566250536265</c:v>
                </c:pt>
                <c:pt idx="191">
                  <c:v>76.052407179528984</c:v>
                </c:pt>
                <c:pt idx="192">
                  <c:v>70.990269414985548</c:v>
                </c:pt>
                <c:pt idx="193">
                  <c:v>62.278875247491726</c:v>
                </c:pt>
                <c:pt idx="194">
                  <c:v>62.204145022560006</c:v>
                </c:pt>
                <c:pt idx="195">
                  <c:v>69.466962665155407</c:v>
                </c:pt>
                <c:pt idx="196">
                  <c:v>74.065585165841654</c:v>
                </c:pt>
                <c:pt idx="197">
                  <c:v>73.862477599197632</c:v>
                </c:pt>
                <c:pt idx="198">
                  <c:v>70.793841644983473</c:v>
                </c:pt>
                <c:pt idx="199">
                  <c:v>75.119009970640263</c:v>
                </c:pt>
                <c:pt idx="200">
                  <c:v>77.611200349019441</c:v>
                </c:pt>
                <c:pt idx="201">
                  <c:v>79.093071485305046</c:v>
                </c:pt>
                <c:pt idx="202">
                  <c:v>77.676954597213552</c:v>
                </c:pt>
                <c:pt idx="203">
                  <c:v>87.537482530766283</c:v>
                </c:pt>
                <c:pt idx="204">
                  <c:v>88.21788244184151</c:v>
                </c:pt>
                <c:pt idx="205">
                  <c:v>89.97999192162105</c:v>
                </c:pt>
                <c:pt idx="206">
                  <c:v>91.009828694527798</c:v>
                </c:pt>
                <c:pt idx="207">
                  <c:v>90.537963684868174</c:v>
                </c:pt>
                <c:pt idx="208">
                  <c:v>89.266923630093842</c:v>
                </c:pt>
                <c:pt idx="209">
                  <c:v>87.742990649328519</c:v>
                </c:pt>
                <c:pt idx="210">
                  <c:v>89.678566098153439</c:v>
                </c:pt>
                <c:pt idx="211">
                  <c:v>92.063984102084106</c:v>
                </c:pt>
                <c:pt idx="212">
                  <c:v>89.375157210057793</c:v>
                </c:pt>
                <c:pt idx="213">
                  <c:v>95.364116758670534</c:v>
                </c:pt>
                <c:pt idx="214">
                  <c:v>96.947959165568264</c:v>
                </c:pt>
                <c:pt idx="215">
                  <c:v>100.17023044254709</c:v>
                </c:pt>
                <c:pt idx="216">
                  <c:v>102.60188516385867</c:v>
                </c:pt>
                <c:pt idx="217">
                  <c:v>108.71275100118683</c:v>
                </c:pt>
                <c:pt idx="218">
                  <c:v>104.48903208702951</c:v>
                </c:pt>
                <c:pt idx="219">
                  <c:v>102.66148147452347</c:v>
                </c:pt>
                <c:pt idx="220">
                  <c:v>101.29588054853667</c:v>
                </c:pt>
                <c:pt idx="221">
                  <c:v>105.91569052919657</c:v>
                </c:pt>
                <c:pt idx="222">
                  <c:v>104.11538096237095</c:v>
                </c:pt>
                <c:pt idx="223">
                  <c:v>107.09832765028771</c:v>
                </c:pt>
                <c:pt idx="224">
                  <c:v>109.45159913287902</c:v>
                </c:pt>
                <c:pt idx="225">
                  <c:v>109.02586646877781</c:v>
                </c:pt>
                <c:pt idx="226">
                  <c:v>94.839335234988042</c:v>
                </c:pt>
                <c:pt idx="227">
                  <c:v>96.653734997855267</c:v>
                </c:pt>
                <c:pt idx="228">
                  <c:v>85.673193036729572</c:v>
                </c:pt>
                <c:pt idx="229">
                  <c:v>96.752470741968963</c:v>
                </c:pt>
                <c:pt idx="230">
                  <c:v>100.3943167455197</c:v>
                </c:pt>
                <c:pt idx="231">
                  <c:v>100.7828930408001</c:v>
                </c:pt>
                <c:pt idx="232">
                  <c:v>106.95648634346901</c:v>
                </c:pt>
                <c:pt idx="233">
                  <c:v>94.43134578071701</c:v>
                </c:pt>
                <c:pt idx="234">
                  <c:v>104.00318125315086</c:v>
                </c:pt>
                <c:pt idx="235">
                  <c:v>104.25095995983786</c:v>
                </c:pt>
                <c:pt idx="236">
                  <c:v>98.158776678742598</c:v>
                </c:pt>
                <c:pt idx="237">
                  <c:v>100.55275317212073</c:v>
                </c:pt>
                <c:pt idx="238">
                  <c:v>102.95278323120563</c:v>
                </c:pt>
                <c:pt idx="239">
                  <c:v>107.55996422133936</c:v>
                </c:pt>
                <c:pt idx="240">
                  <c:v>113.63784856274796</c:v>
                </c:pt>
                <c:pt idx="241">
                  <c:v>108.91961595344195</c:v>
                </c:pt>
                <c:pt idx="242">
                  <c:v>98.705893772446586</c:v>
                </c:pt>
                <c:pt idx="243">
                  <c:v>72.142012476607761</c:v>
                </c:pt>
                <c:pt idx="244">
                  <c:v>85.846450262129935</c:v>
                </c:pt>
                <c:pt idx="245">
                  <c:v>93.445553916918044</c:v>
                </c:pt>
                <c:pt idx="246">
                  <c:v>98.745137577717983</c:v>
                </c:pt>
                <c:pt idx="247">
                  <c:v>100.54523840089855</c:v>
                </c:pt>
                <c:pt idx="248">
                  <c:v>107.32397953059828</c:v>
                </c:pt>
                <c:pt idx="249">
                  <c:v>102.28876969626766</c:v>
                </c:pt>
                <c:pt idx="250">
                  <c:v>103.96894729536086</c:v>
                </c:pt>
                <c:pt idx="251">
                  <c:v>130.56340953520109</c:v>
                </c:pt>
                <c:pt idx="252">
                  <c:v>139.77046548789141</c:v>
                </c:pt>
                <c:pt idx="253">
                  <c:v>138.94425814074134</c:v>
                </c:pt>
                <c:pt idx="254">
                  <c:v>164.11581932402561</c:v>
                </c:pt>
                <c:pt idx="255">
                  <c:v>170.73163603875551</c:v>
                </c:pt>
                <c:pt idx="256">
                  <c:v>178.89873115175368</c:v>
                </c:pt>
                <c:pt idx="257">
                  <c:v>188.08084223885928</c:v>
                </c:pt>
                <c:pt idx="258">
                  <c:v>185.83225569426591</c:v>
                </c:pt>
                <c:pt idx="259">
                  <c:v>178.70272086904174</c:v>
                </c:pt>
                <c:pt idx="260">
                  <c:v>183.42471086395881</c:v>
                </c:pt>
                <c:pt idx="261">
                  <c:v>179.87471206423476</c:v>
                </c:pt>
                <c:pt idx="262">
                  <c:v>193.11010287930566</c:v>
                </c:pt>
                <c:pt idx="263">
                  <c:v>187.86969804188041</c:v>
                </c:pt>
                <c:pt idx="264">
                  <c:v>194.25433116970561</c:v>
                </c:pt>
                <c:pt idx="265">
                  <c:v>183.14081950667628</c:v>
                </c:pt>
                <c:pt idx="266">
                  <c:v>185.64877003025757</c:v>
                </c:pt>
                <c:pt idx="267">
                  <c:v>186.90154501608907</c:v>
                </c:pt>
                <c:pt idx="268">
                  <c:v>165.4576234744755</c:v>
                </c:pt>
                <c:pt idx="269">
                  <c:v>167.61707648262799</c:v>
                </c:pt>
                <c:pt idx="270">
                  <c:v>144.27922384937906</c:v>
                </c:pt>
                <c:pt idx="271">
                  <c:v>166.98677504636734</c:v>
                </c:pt>
                <c:pt idx="272">
                  <c:v>158.72491031851163</c:v>
                </c:pt>
                <c:pt idx="273">
                  <c:v>141.2188332691448</c:v>
                </c:pt>
                <c:pt idx="274">
                  <c:v>153.61924950397304</c:v>
                </c:pt>
                <c:pt idx="275">
                  <c:v>168.06441411399297</c:v>
                </c:pt>
                <c:pt idx="276">
                  <c:v>153.59973197315989</c:v>
                </c:pt>
                <c:pt idx="277">
                  <c:v>178.36800043418694</c:v>
                </c:pt>
                <c:pt idx="278">
                  <c:v>174.03333427267992</c:v>
                </c:pt>
                <c:pt idx="279">
                  <c:v>172.42266830739189</c:v>
                </c:pt>
                <c:pt idx="280">
                  <c:v>165.60196970503495</c:v>
                </c:pt>
              </c:numCache>
            </c:numRef>
          </c:yVal>
          <c:smooth val="0"/>
          <c:extLst>
            <c:ext xmlns:c16="http://schemas.microsoft.com/office/drawing/2014/chart" uri="{C3380CC4-5D6E-409C-BE32-E72D297353CC}">
              <c16:uniqueId val="{00000001-2F2D-4685-A72E-56AAA6666DC9}"/>
            </c:ext>
          </c:extLst>
        </c:ser>
        <c:ser>
          <c:idx val="2"/>
          <c:order val="2"/>
          <c:spPr>
            <a:ln w="19050" cmpd="sng" algn="ctr">
              <a:solidFill>
                <a:srgbClr val="76D3FF"/>
              </a:solidFill>
              <a:prstDash val="solid"/>
            </a:ln>
          </c:spPr>
          <c:marker>
            <c:symbol val="none"/>
          </c:marker>
          <c:xVal>
            <c:numRef>
              <c:f>Sheet1!$A$1:$JU$1</c:f>
              <c:numCache>
                <c:formatCode>General</c:formatCode>
                <c:ptCount val="281"/>
                <c:pt idx="0">
                  <c:v>10957</c:v>
                </c:pt>
                <c:pt idx="1">
                  <c:v>10987</c:v>
                </c:pt>
                <c:pt idx="2">
                  <c:v>11016</c:v>
                </c:pt>
                <c:pt idx="3">
                  <c:v>11047</c:v>
                </c:pt>
                <c:pt idx="4">
                  <c:v>11075</c:v>
                </c:pt>
                <c:pt idx="5">
                  <c:v>11108</c:v>
                </c:pt>
                <c:pt idx="6">
                  <c:v>11138</c:v>
                </c:pt>
                <c:pt idx="7">
                  <c:v>11169</c:v>
                </c:pt>
                <c:pt idx="8">
                  <c:v>11200</c:v>
                </c:pt>
                <c:pt idx="9">
                  <c:v>11229</c:v>
                </c:pt>
                <c:pt idx="10">
                  <c:v>11261</c:v>
                </c:pt>
                <c:pt idx="11">
                  <c:v>11291</c:v>
                </c:pt>
                <c:pt idx="12">
                  <c:v>11320</c:v>
                </c:pt>
                <c:pt idx="13">
                  <c:v>11353</c:v>
                </c:pt>
                <c:pt idx="14">
                  <c:v>11381</c:v>
                </c:pt>
                <c:pt idx="15">
                  <c:v>11411</c:v>
                </c:pt>
                <c:pt idx="16">
                  <c:v>11442</c:v>
                </c:pt>
                <c:pt idx="17">
                  <c:v>11473</c:v>
                </c:pt>
                <c:pt idx="18">
                  <c:v>11502</c:v>
                </c:pt>
                <c:pt idx="19">
                  <c:v>11534</c:v>
                </c:pt>
                <c:pt idx="20">
                  <c:v>11565</c:v>
                </c:pt>
                <c:pt idx="21">
                  <c:v>11593</c:v>
                </c:pt>
                <c:pt idx="22">
                  <c:v>11626</c:v>
                </c:pt>
                <c:pt idx="23">
                  <c:v>11656</c:v>
                </c:pt>
                <c:pt idx="24">
                  <c:v>11687</c:v>
                </c:pt>
                <c:pt idx="25">
                  <c:v>11718</c:v>
                </c:pt>
                <c:pt idx="26">
                  <c:v>11746</c:v>
                </c:pt>
                <c:pt idx="27">
                  <c:v>11775</c:v>
                </c:pt>
                <c:pt idx="28">
                  <c:v>11807</c:v>
                </c:pt>
                <c:pt idx="29">
                  <c:v>11838</c:v>
                </c:pt>
                <c:pt idx="30">
                  <c:v>11866</c:v>
                </c:pt>
                <c:pt idx="31">
                  <c:v>11899</c:v>
                </c:pt>
                <c:pt idx="32">
                  <c:v>11929</c:v>
                </c:pt>
                <c:pt idx="33">
                  <c:v>11960</c:v>
                </c:pt>
                <c:pt idx="34">
                  <c:v>11991</c:v>
                </c:pt>
                <c:pt idx="35">
                  <c:v>12020</c:v>
                </c:pt>
                <c:pt idx="36">
                  <c:v>12052</c:v>
                </c:pt>
                <c:pt idx="37">
                  <c:v>12083</c:v>
                </c:pt>
                <c:pt idx="38">
                  <c:v>12111</c:v>
                </c:pt>
                <c:pt idx="39">
                  <c:v>12142</c:v>
                </c:pt>
                <c:pt idx="40">
                  <c:v>12172</c:v>
                </c:pt>
                <c:pt idx="41">
                  <c:v>12202</c:v>
                </c:pt>
                <c:pt idx="42">
                  <c:v>12233</c:v>
                </c:pt>
                <c:pt idx="43">
                  <c:v>12264</c:v>
                </c:pt>
                <c:pt idx="44">
                  <c:v>12293</c:v>
                </c:pt>
                <c:pt idx="45">
                  <c:v>12325</c:v>
                </c:pt>
                <c:pt idx="46">
                  <c:v>12356</c:v>
                </c:pt>
                <c:pt idx="47">
                  <c:v>12384</c:v>
                </c:pt>
                <c:pt idx="48">
                  <c:v>12417</c:v>
                </c:pt>
                <c:pt idx="49">
                  <c:v>12447</c:v>
                </c:pt>
                <c:pt idx="50">
                  <c:v>12475</c:v>
                </c:pt>
                <c:pt idx="51">
                  <c:v>12508</c:v>
                </c:pt>
                <c:pt idx="52">
                  <c:v>12538</c:v>
                </c:pt>
                <c:pt idx="53">
                  <c:v>12569</c:v>
                </c:pt>
                <c:pt idx="54">
                  <c:v>12599</c:v>
                </c:pt>
                <c:pt idx="55">
                  <c:v>12629</c:v>
                </c:pt>
                <c:pt idx="56">
                  <c:v>12661</c:v>
                </c:pt>
                <c:pt idx="57">
                  <c:v>12691</c:v>
                </c:pt>
                <c:pt idx="58">
                  <c:v>12720</c:v>
                </c:pt>
                <c:pt idx="59">
                  <c:v>12752</c:v>
                </c:pt>
                <c:pt idx="60">
                  <c:v>12783</c:v>
                </c:pt>
                <c:pt idx="61">
                  <c:v>12814</c:v>
                </c:pt>
                <c:pt idx="62">
                  <c:v>12842</c:v>
                </c:pt>
                <c:pt idx="63">
                  <c:v>12873</c:v>
                </c:pt>
                <c:pt idx="64">
                  <c:v>12902</c:v>
                </c:pt>
                <c:pt idx="65">
                  <c:v>12934</c:v>
                </c:pt>
                <c:pt idx="66">
                  <c:v>12964</c:v>
                </c:pt>
                <c:pt idx="67">
                  <c:v>12993</c:v>
                </c:pt>
                <c:pt idx="68">
                  <c:v>13026</c:v>
                </c:pt>
                <c:pt idx="69">
                  <c:v>13056</c:v>
                </c:pt>
                <c:pt idx="70">
                  <c:v>13087</c:v>
                </c:pt>
                <c:pt idx="71">
                  <c:v>13117</c:v>
                </c:pt>
                <c:pt idx="72">
                  <c:v>13147</c:v>
                </c:pt>
                <c:pt idx="73">
                  <c:v>13179</c:v>
                </c:pt>
                <c:pt idx="74">
                  <c:v>13207</c:v>
                </c:pt>
                <c:pt idx="75">
                  <c:v>13238</c:v>
                </c:pt>
                <c:pt idx="76">
                  <c:v>13266</c:v>
                </c:pt>
                <c:pt idx="77">
                  <c:v>13299</c:v>
                </c:pt>
                <c:pt idx="78">
                  <c:v>13329</c:v>
                </c:pt>
                <c:pt idx="79">
                  <c:v>13360</c:v>
                </c:pt>
                <c:pt idx="80">
                  <c:v>13391</c:v>
                </c:pt>
                <c:pt idx="81">
                  <c:v>13420</c:v>
                </c:pt>
                <c:pt idx="82">
                  <c:v>13452</c:v>
                </c:pt>
                <c:pt idx="83">
                  <c:v>13482</c:v>
                </c:pt>
                <c:pt idx="84">
                  <c:v>13511</c:v>
                </c:pt>
                <c:pt idx="85">
                  <c:v>13544</c:v>
                </c:pt>
                <c:pt idx="86">
                  <c:v>13572</c:v>
                </c:pt>
                <c:pt idx="87">
                  <c:v>13602</c:v>
                </c:pt>
                <c:pt idx="88">
                  <c:v>13633</c:v>
                </c:pt>
                <c:pt idx="89">
                  <c:v>13664</c:v>
                </c:pt>
                <c:pt idx="90">
                  <c:v>13693</c:v>
                </c:pt>
                <c:pt idx="91">
                  <c:v>13725</c:v>
                </c:pt>
                <c:pt idx="92">
                  <c:v>13756</c:v>
                </c:pt>
                <c:pt idx="93">
                  <c:v>13784</c:v>
                </c:pt>
                <c:pt idx="94">
                  <c:v>13817</c:v>
                </c:pt>
                <c:pt idx="95">
                  <c:v>13847</c:v>
                </c:pt>
                <c:pt idx="96">
                  <c:v>13878</c:v>
                </c:pt>
                <c:pt idx="97">
                  <c:v>13909</c:v>
                </c:pt>
                <c:pt idx="98">
                  <c:v>13938</c:v>
                </c:pt>
                <c:pt idx="99">
                  <c:v>13969</c:v>
                </c:pt>
                <c:pt idx="100">
                  <c:v>13999</c:v>
                </c:pt>
                <c:pt idx="101">
                  <c:v>14029</c:v>
                </c:pt>
                <c:pt idx="102">
                  <c:v>14060</c:v>
                </c:pt>
                <c:pt idx="103">
                  <c:v>14091</c:v>
                </c:pt>
                <c:pt idx="104">
                  <c:v>14120</c:v>
                </c:pt>
                <c:pt idx="105">
                  <c:v>14152</c:v>
                </c:pt>
                <c:pt idx="106">
                  <c:v>14183</c:v>
                </c:pt>
                <c:pt idx="107">
                  <c:v>14211</c:v>
                </c:pt>
                <c:pt idx="108">
                  <c:v>14244</c:v>
                </c:pt>
                <c:pt idx="109">
                  <c:v>14274</c:v>
                </c:pt>
                <c:pt idx="110">
                  <c:v>14302</c:v>
                </c:pt>
                <c:pt idx="111">
                  <c:v>14334</c:v>
                </c:pt>
                <c:pt idx="112">
                  <c:v>14364</c:v>
                </c:pt>
                <c:pt idx="113">
                  <c:v>14393</c:v>
                </c:pt>
                <c:pt idx="114">
                  <c:v>14425</c:v>
                </c:pt>
                <c:pt idx="115">
                  <c:v>14456</c:v>
                </c:pt>
                <c:pt idx="116">
                  <c:v>14487</c:v>
                </c:pt>
                <c:pt idx="117">
                  <c:v>14517</c:v>
                </c:pt>
                <c:pt idx="118">
                  <c:v>14547</c:v>
                </c:pt>
                <c:pt idx="119">
                  <c:v>14578</c:v>
                </c:pt>
                <c:pt idx="120">
                  <c:v>14609</c:v>
                </c:pt>
                <c:pt idx="121">
                  <c:v>14638</c:v>
                </c:pt>
                <c:pt idx="122">
                  <c:v>14666</c:v>
                </c:pt>
                <c:pt idx="123">
                  <c:v>14699</c:v>
                </c:pt>
                <c:pt idx="124">
                  <c:v>14729</c:v>
                </c:pt>
                <c:pt idx="125">
                  <c:v>14760</c:v>
                </c:pt>
                <c:pt idx="126">
                  <c:v>14790</c:v>
                </c:pt>
                <c:pt idx="127">
                  <c:v>14820</c:v>
                </c:pt>
                <c:pt idx="128">
                  <c:v>14852</c:v>
                </c:pt>
                <c:pt idx="129">
                  <c:v>14882</c:v>
                </c:pt>
                <c:pt idx="130">
                  <c:v>14911</c:v>
                </c:pt>
                <c:pt idx="131">
                  <c:v>14943</c:v>
                </c:pt>
                <c:pt idx="132">
                  <c:v>14974</c:v>
                </c:pt>
                <c:pt idx="133">
                  <c:v>15005</c:v>
                </c:pt>
                <c:pt idx="134">
                  <c:v>15033</c:v>
                </c:pt>
                <c:pt idx="135">
                  <c:v>15064</c:v>
                </c:pt>
                <c:pt idx="136">
                  <c:v>15093</c:v>
                </c:pt>
                <c:pt idx="137">
                  <c:v>15125</c:v>
                </c:pt>
                <c:pt idx="138">
                  <c:v>15155</c:v>
                </c:pt>
                <c:pt idx="139">
                  <c:v>15184</c:v>
                </c:pt>
                <c:pt idx="140">
                  <c:v>15217</c:v>
                </c:pt>
                <c:pt idx="141">
                  <c:v>15247</c:v>
                </c:pt>
                <c:pt idx="142">
                  <c:v>15278</c:v>
                </c:pt>
                <c:pt idx="143">
                  <c:v>15308</c:v>
                </c:pt>
                <c:pt idx="144">
                  <c:v>15338</c:v>
                </c:pt>
                <c:pt idx="145">
                  <c:v>15370</c:v>
                </c:pt>
                <c:pt idx="146">
                  <c:v>15399</c:v>
                </c:pt>
                <c:pt idx="147">
                  <c:v>15429</c:v>
                </c:pt>
                <c:pt idx="148">
                  <c:v>15460</c:v>
                </c:pt>
                <c:pt idx="149">
                  <c:v>15491</c:v>
                </c:pt>
                <c:pt idx="150">
                  <c:v>15520</c:v>
                </c:pt>
                <c:pt idx="151">
                  <c:v>15552</c:v>
                </c:pt>
                <c:pt idx="152">
                  <c:v>15583</c:v>
                </c:pt>
                <c:pt idx="153">
                  <c:v>15611</c:v>
                </c:pt>
                <c:pt idx="154">
                  <c:v>15644</c:v>
                </c:pt>
                <c:pt idx="155">
                  <c:v>15674</c:v>
                </c:pt>
                <c:pt idx="156">
                  <c:v>15705</c:v>
                </c:pt>
                <c:pt idx="157">
                  <c:v>15736</c:v>
                </c:pt>
                <c:pt idx="158">
                  <c:v>15764</c:v>
                </c:pt>
                <c:pt idx="159">
                  <c:v>15793</c:v>
                </c:pt>
                <c:pt idx="160">
                  <c:v>15825</c:v>
                </c:pt>
                <c:pt idx="161">
                  <c:v>15856</c:v>
                </c:pt>
                <c:pt idx="162">
                  <c:v>15884</c:v>
                </c:pt>
                <c:pt idx="163">
                  <c:v>15917</c:v>
                </c:pt>
                <c:pt idx="164">
                  <c:v>15947</c:v>
                </c:pt>
                <c:pt idx="165">
                  <c:v>15978</c:v>
                </c:pt>
                <c:pt idx="166">
                  <c:v>16009</c:v>
                </c:pt>
                <c:pt idx="167">
                  <c:v>16038</c:v>
                </c:pt>
                <c:pt idx="168">
                  <c:v>16070</c:v>
                </c:pt>
                <c:pt idx="169">
                  <c:v>16101</c:v>
                </c:pt>
                <c:pt idx="170">
                  <c:v>16129</c:v>
                </c:pt>
                <c:pt idx="171">
                  <c:v>16160</c:v>
                </c:pt>
                <c:pt idx="172">
                  <c:v>16190</c:v>
                </c:pt>
                <c:pt idx="173">
                  <c:v>16220</c:v>
                </c:pt>
                <c:pt idx="174">
                  <c:v>16251</c:v>
                </c:pt>
                <c:pt idx="175">
                  <c:v>16282</c:v>
                </c:pt>
                <c:pt idx="176">
                  <c:v>16311</c:v>
                </c:pt>
                <c:pt idx="177">
                  <c:v>16343</c:v>
                </c:pt>
                <c:pt idx="178">
                  <c:v>16374</c:v>
                </c:pt>
                <c:pt idx="179">
                  <c:v>16402</c:v>
                </c:pt>
                <c:pt idx="180">
                  <c:v>16435</c:v>
                </c:pt>
                <c:pt idx="181">
                  <c:v>16465</c:v>
                </c:pt>
                <c:pt idx="182">
                  <c:v>16493</c:v>
                </c:pt>
                <c:pt idx="183">
                  <c:v>16525</c:v>
                </c:pt>
                <c:pt idx="184">
                  <c:v>16555</c:v>
                </c:pt>
                <c:pt idx="185">
                  <c:v>16584</c:v>
                </c:pt>
                <c:pt idx="186">
                  <c:v>16616</c:v>
                </c:pt>
                <c:pt idx="187">
                  <c:v>16647</c:v>
                </c:pt>
                <c:pt idx="188">
                  <c:v>16678</c:v>
                </c:pt>
                <c:pt idx="189">
                  <c:v>16708</c:v>
                </c:pt>
                <c:pt idx="190">
                  <c:v>16738</c:v>
                </c:pt>
                <c:pt idx="191">
                  <c:v>16769</c:v>
                </c:pt>
                <c:pt idx="192">
                  <c:v>16800</c:v>
                </c:pt>
                <c:pt idx="193">
                  <c:v>16829</c:v>
                </c:pt>
                <c:pt idx="194">
                  <c:v>16860</c:v>
                </c:pt>
                <c:pt idx="195">
                  <c:v>16891</c:v>
                </c:pt>
                <c:pt idx="196">
                  <c:v>16920</c:v>
                </c:pt>
                <c:pt idx="197">
                  <c:v>16952</c:v>
                </c:pt>
                <c:pt idx="198">
                  <c:v>16982</c:v>
                </c:pt>
                <c:pt idx="199">
                  <c:v>17011</c:v>
                </c:pt>
                <c:pt idx="200">
                  <c:v>17044</c:v>
                </c:pt>
                <c:pt idx="201">
                  <c:v>17074</c:v>
                </c:pt>
                <c:pt idx="202">
                  <c:v>17105</c:v>
                </c:pt>
                <c:pt idx="203">
                  <c:v>17135</c:v>
                </c:pt>
                <c:pt idx="204">
                  <c:v>17165</c:v>
                </c:pt>
                <c:pt idx="205">
                  <c:v>17197</c:v>
                </c:pt>
                <c:pt idx="206">
                  <c:v>17225</c:v>
                </c:pt>
                <c:pt idx="207">
                  <c:v>17256</c:v>
                </c:pt>
                <c:pt idx="208">
                  <c:v>17284</c:v>
                </c:pt>
                <c:pt idx="209">
                  <c:v>17317</c:v>
                </c:pt>
                <c:pt idx="210">
                  <c:v>17347</c:v>
                </c:pt>
                <c:pt idx="211">
                  <c:v>17378</c:v>
                </c:pt>
                <c:pt idx="212">
                  <c:v>17409</c:v>
                </c:pt>
                <c:pt idx="213">
                  <c:v>17438</c:v>
                </c:pt>
                <c:pt idx="214">
                  <c:v>17470</c:v>
                </c:pt>
                <c:pt idx="215">
                  <c:v>17500</c:v>
                </c:pt>
                <c:pt idx="216">
                  <c:v>17529</c:v>
                </c:pt>
                <c:pt idx="217">
                  <c:v>17562</c:v>
                </c:pt>
                <c:pt idx="218">
                  <c:v>17590</c:v>
                </c:pt>
                <c:pt idx="219">
                  <c:v>17620</c:v>
                </c:pt>
                <c:pt idx="220">
                  <c:v>17651</c:v>
                </c:pt>
                <c:pt idx="221">
                  <c:v>17682</c:v>
                </c:pt>
                <c:pt idx="222">
                  <c:v>17711</c:v>
                </c:pt>
                <c:pt idx="223">
                  <c:v>17743</c:v>
                </c:pt>
                <c:pt idx="224">
                  <c:v>17774</c:v>
                </c:pt>
                <c:pt idx="225">
                  <c:v>17802</c:v>
                </c:pt>
                <c:pt idx="226">
                  <c:v>17835</c:v>
                </c:pt>
                <c:pt idx="227">
                  <c:v>17865</c:v>
                </c:pt>
                <c:pt idx="228">
                  <c:v>17896</c:v>
                </c:pt>
                <c:pt idx="229">
                  <c:v>17927</c:v>
                </c:pt>
                <c:pt idx="230">
                  <c:v>17955</c:v>
                </c:pt>
                <c:pt idx="231">
                  <c:v>17984</c:v>
                </c:pt>
                <c:pt idx="232">
                  <c:v>18016</c:v>
                </c:pt>
                <c:pt idx="233">
                  <c:v>18047</c:v>
                </c:pt>
                <c:pt idx="234">
                  <c:v>18075</c:v>
                </c:pt>
                <c:pt idx="235">
                  <c:v>18108</c:v>
                </c:pt>
                <c:pt idx="236">
                  <c:v>18138</c:v>
                </c:pt>
                <c:pt idx="237">
                  <c:v>18169</c:v>
                </c:pt>
                <c:pt idx="238">
                  <c:v>18200</c:v>
                </c:pt>
                <c:pt idx="239">
                  <c:v>18229</c:v>
                </c:pt>
                <c:pt idx="240">
                  <c:v>18261</c:v>
                </c:pt>
                <c:pt idx="241">
                  <c:v>18292</c:v>
                </c:pt>
                <c:pt idx="242">
                  <c:v>18320</c:v>
                </c:pt>
                <c:pt idx="243">
                  <c:v>18352</c:v>
                </c:pt>
                <c:pt idx="244">
                  <c:v>18382</c:v>
                </c:pt>
                <c:pt idx="245">
                  <c:v>18411</c:v>
                </c:pt>
                <c:pt idx="246">
                  <c:v>18443</c:v>
                </c:pt>
                <c:pt idx="247">
                  <c:v>18474</c:v>
                </c:pt>
                <c:pt idx="248">
                  <c:v>18505</c:v>
                </c:pt>
                <c:pt idx="249">
                  <c:v>18535</c:v>
                </c:pt>
                <c:pt idx="250">
                  <c:v>18565</c:v>
                </c:pt>
                <c:pt idx="251">
                  <c:v>18596</c:v>
                </c:pt>
                <c:pt idx="252">
                  <c:v>18627</c:v>
                </c:pt>
                <c:pt idx="253">
                  <c:v>18656</c:v>
                </c:pt>
                <c:pt idx="254">
                  <c:v>18684</c:v>
                </c:pt>
                <c:pt idx="255">
                  <c:v>18717</c:v>
                </c:pt>
                <c:pt idx="256">
                  <c:v>18747</c:v>
                </c:pt>
                <c:pt idx="257">
                  <c:v>18778</c:v>
                </c:pt>
                <c:pt idx="258">
                  <c:v>18808</c:v>
                </c:pt>
                <c:pt idx="259">
                  <c:v>18838</c:v>
                </c:pt>
                <c:pt idx="260">
                  <c:v>18870</c:v>
                </c:pt>
                <c:pt idx="261">
                  <c:v>18900</c:v>
                </c:pt>
                <c:pt idx="262">
                  <c:v>18929</c:v>
                </c:pt>
                <c:pt idx="263">
                  <c:v>18961</c:v>
                </c:pt>
                <c:pt idx="264">
                  <c:v>18992</c:v>
                </c:pt>
                <c:pt idx="265">
                  <c:v>19023</c:v>
                </c:pt>
                <c:pt idx="266">
                  <c:v>19051</c:v>
                </c:pt>
                <c:pt idx="267">
                  <c:v>19082</c:v>
                </c:pt>
                <c:pt idx="268">
                  <c:v>19111</c:v>
                </c:pt>
                <c:pt idx="269">
                  <c:v>19143</c:v>
                </c:pt>
                <c:pt idx="270">
                  <c:v>19173</c:v>
                </c:pt>
                <c:pt idx="271">
                  <c:v>19202</c:v>
                </c:pt>
                <c:pt idx="272">
                  <c:v>19235</c:v>
                </c:pt>
                <c:pt idx="273">
                  <c:v>19265</c:v>
                </c:pt>
                <c:pt idx="274">
                  <c:v>19296</c:v>
                </c:pt>
                <c:pt idx="275">
                  <c:v>19326</c:v>
                </c:pt>
                <c:pt idx="276">
                  <c:v>19356</c:v>
                </c:pt>
                <c:pt idx="277">
                  <c:v>19388</c:v>
                </c:pt>
                <c:pt idx="278">
                  <c:v>19416</c:v>
                </c:pt>
                <c:pt idx="279">
                  <c:v>19447</c:v>
                </c:pt>
                <c:pt idx="280">
                  <c:v>19475</c:v>
                </c:pt>
              </c:numCache>
            </c:numRef>
          </c:xVal>
          <c:yVal>
            <c:numRef>
              <c:f>Sheet1!$A$4:$JU$4</c:f>
              <c:numCache>
                <c:formatCode>General</c:formatCode>
                <c:ptCount val="281"/>
                <c:pt idx="0">
                  <c:v>100</c:v>
                </c:pt>
                <c:pt idx="1">
                  <c:v>94.909647779479329</c:v>
                </c:pt>
                <c:pt idx="2">
                  <c:v>93.00119108388634</c:v>
                </c:pt>
                <c:pt idx="3">
                  <c:v>101.99625659350008</c:v>
                </c:pt>
                <c:pt idx="4">
                  <c:v>98.855198230389661</c:v>
                </c:pt>
                <c:pt idx="5">
                  <c:v>96.688786795984342</c:v>
                </c:pt>
                <c:pt idx="6">
                  <c:v>99.002892632295371</c:v>
                </c:pt>
                <c:pt idx="7">
                  <c:v>97.385060404968499</c:v>
                </c:pt>
                <c:pt idx="8">
                  <c:v>103.29623957801597</c:v>
                </c:pt>
                <c:pt idx="9">
                  <c:v>97.771652203505155</c:v>
                </c:pt>
                <c:pt idx="10">
                  <c:v>97.287731835970703</c:v>
                </c:pt>
                <c:pt idx="11">
                  <c:v>89.49804321932956</c:v>
                </c:pt>
                <c:pt idx="12">
                  <c:v>89.860813340139501</c:v>
                </c:pt>
                <c:pt idx="13">
                  <c:v>92.973285689977843</c:v>
                </c:pt>
                <c:pt idx="14">
                  <c:v>84.39271737280923</c:v>
                </c:pt>
                <c:pt idx="15">
                  <c:v>78.974306619023281</c:v>
                </c:pt>
                <c:pt idx="16">
                  <c:v>85.040667006976321</c:v>
                </c:pt>
                <c:pt idx="17">
                  <c:v>85.473540922239209</c:v>
                </c:pt>
                <c:pt idx="18">
                  <c:v>83.336396120469615</c:v>
                </c:pt>
                <c:pt idx="19">
                  <c:v>82.438659179853659</c:v>
                </c:pt>
                <c:pt idx="20">
                  <c:v>77.153649821337396</c:v>
                </c:pt>
                <c:pt idx="21">
                  <c:v>70.848392036753438</c:v>
                </c:pt>
                <c:pt idx="22">
                  <c:v>72.130678917815203</c:v>
                </c:pt>
                <c:pt idx="23">
                  <c:v>77.553173387782877</c:v>
                </c:pt>
                <c:pt idx="24">
                  <c:v>78.140547898587698</c:v>
                </c:pt>
                <c:pt idx="25">
                  <c:v>76.923600476433549</c:v>
                </c:pt>
                <c:pt idx="26">
                  <c:v>75.326186830015303</c:v>
                </c:pt>
                <c:pt idx="27">
                  <c:v>78.09358516249786</c:v>
                </c:pt>
                <c:pt idx="28">
                  <c:v>73.297260507061409</c:v>
                </c:pt>
                <c:pt idx="29">
                  <c:v>72.631614769440176</c:v>
                </c:pt>
                <c:pt idx="30">
                  <c:v>67.368385230559795</c:v>
                </c:pt>
                <c:pt idx="31">
                  <c:v>62.046622426408028</c:v>
                </c:pt>
                <c:pt idx="32">
                  <c:v>62.34949804321932</c:v>
                </c:pt>
                <c:pt idx="33">
                  <c:v>55.489535477284313</c:v>
                </c:pt>
                <c:pt idx="34">
                  <c:v>60.286540752084377</c:v>
                </c:pt>
                <c:pt idx="35">
                  <c:v>63.72707163518799</c:v>
                </c:pt>
                <c:pt idx="36">
                  <c:v>59.882252850093565</c:v>
                </c:pt>
                <c:pt idx="37">
                  <c:v>58.24059894503997</c:v>
                </c:pt>
                <c:pt idx="38">
                  <c:v>57.250297770971564</c:v>
                </c:pt>
                <c:pt idx="39">
                  <c:v>57.728773183597056</c:v>
                </c:pt>
                <c:pt idx="40">
                  <c:v>62.407350689127092</c:v>
                </c:pt>
                <c:pt idx="41">
                  <c:v>65.583801259145815</c:v>
                </c:pt>
                <c:pt idx="42">
                  <c:v>66.326356984856204</c:v>
                </c:pt>
                <c:pt idx="43">
                  <c:v>67.402416198740838</c:v>
                </c:pt>
                <c:pt idx="44">
                  <c:v>68.607112472349826</c:v>
                </c:pt>
                <c:pt idx="45">
                  <c:v>67.787646758550267</c:v>
                </c:pt>
                <c:pt idx="46">
                  <c:v>71.513357155011036</c:v>
                </c:pt>
                <c:pt idx="47">
                  <c:v>72.023141058363095</c:v>
                </c:pt>
                <c:pt idx="48">
                  <c:v>75.679428279734537</c:v>
                </c:pt>
                <c:pt idx="49">
                  <c:v>76.986898077250274</c:v>
                </c:pt>
                <c:pt idx="50">
                  <c:v>77.926833418410737</c:v>
                </c:pt>
                <c:pt idx="51">
                  <c:v>76.652033350348802</c:v>
                </c:pt>
                <c:pt idx="52">
                  <c:v>75.364982133741677</c:v>
                </c:pt>
                <c:pt idx="53">
                  <c:v>76.275650842266444</c:v>
                </c:pt>
                <c:pt idx="54">
                  <c:v>77.647779479326161</c:v>
                </c:pt>
                <c:pt idx="55">
                  <c:v>74.985196528841229</c:v>
                </c:pt>
                <c:pt idx="56">
                  <c:v>75.156712608473697</c:v>
                </c:pt>
                <c:pt idx="57">
                  <c:v>75.860473030457698</c:v>
                </c:pt>
                <c:pt idx="58">
                  <c:v>76.923600476433549</c:v>
                </c:pt>
                <c:pt idx="59">
                  <c:v>79.892462140547877</c:v>
                </c:pt>
                <c:pt idx="60">
                  <c:v>82.485621915943497</c:v>
                </c:pt>
                <c:pt idx="61">
                  <c:v>80.399523566445453</c:v>
                </c:pt>
                <c:pt idx="62">
                  <c:v>81.919346605410894</c:v>
                </c:pt>
                <c:pt idx="63">
                  <c:v>80.353241449719206</c:v>
                </c:pt>
                <c:pt idx="64">
                  <c:v>78.737451080483197</c:v>
                </c:pt>
                <c:pt idx="65">
                  <c:v>81.09579717542961</c:v>
                </c:pt>
                <c:pt idx="66">
                  <c:v>81.084226646248055</c:v>
                </c:pt>
                <c:pt idx="67">
                  <c:v>84.000680619363607</c:v>
                </c:pt>
                <c:pt idx="68">
                  <c:v>83.05802280074866</c:v>
                </c:pt>
                <c:pt idx="69">
                  <c:v>83.635188021099182</c:v>
                </c:pt>
                <c:pt idx="70">
                  <c:v>82.151437808405632</c:v>
                </c:pt>
                <c:pt idx="71">
                  <c:v>85.042028245703563</c:v>
                </c:pt>
                <c:pt idx="72">
                  <c:v>84.961034541432667</c:v>
                </c:pt>
                <c:pt idx="73">
                  <c:v>87.124723498383489</c:v>
                </c:pt>
                <c:pt idx="74">
                  <c:v>87.164199421473512</c:v>
                </c:pt>
                <c:pt idx="75">
                  <c:v>88.128637059724312</c:v>
                </c:pt>
                <c:pt idx="76">
                  <c:v>89.202654415518083</c:v>
                </c:pt>
                <c:pt idx="77">
                  <c:v>86.444784754126218</c:v>
                </c:pt>
                <c:pt idx="78">
                  <c:v>86.452271567126061</c:v>
                </c:pt>
                <c:pt idx="79">
                  <c:v>86.891951676025158</c:v>
                </c:pt>
                <c:pt idx="80">
                  <c:v>88.740513867619484</c:v>
                </c:pt>
                <c:pt idx="81">
                  <c:v>90.920537689297205</c:v>
                </c:pt>
                <c:pt idx="82">
                  <c:v>93.785264590777572</c:v>
                </c:pt>
                <c:pt idx="83">
                  <c:v>95.329589926833378</c:v>
                </c:pt>
                <c:pt idx="84">
                  <c:v>96.53224434235149</c:v>
                </c:pt>
                <c:pt idx="85">
                  <c:v>97.889399353411548</c:v>
                </c:pt>
                <c:pt idx="86">
                  <c:v>95.750893312914698</c:v>
                </c:pt>
                <c:pt idx="87">
                  <c:v>96.706482899438427</c:v>
                </c:pt>
                <c:pt idx="88">
                  <c:v>100.89297260507055</c:v>
                </c:pt>
                <c:pt idx="89">
                  <c:v>104.17696103454136</c:v>
                </c:pt>
                <c:pt idx="90">
                  <c:v>102.32091202994718</c:v>
                </c:pt>
                <c:pt idx="91">
                  <c:v>99.048494129657925</c:v>
                </c:pt>
                <c:pt idx="92">
                  <c:v>100.32261357835623</c:v>
                </c:pt>
                <c:pt idx="93">
                  <c:v>103.91356134082007</c:v>
                </c:pt>
                <c:pt idx="94">
                  <c:v>105.45380296069416</c:v>
                </c:pt>
                <c:pt idx="95">
                  <c:v>100.80925642334518</c:v>
                </c:pt>
                <c:pt idx="96">
                  <c:v>99.938744257274038</c:v>
                </c:pt>
                <c:pt idx="97">
                  <c:v>93.826782371958402</c:v>
                </c:pt>
                <c:pt idx="98">
                  <c:v>90.565254381487094</c:v>
                </c:pt>
                <c:pt idx="99">
                  <c:v>90.025523226135718</c:v>
                </c:pt>
                <c:pt idx="100">
                  <c:v>94.305938403947522</c:v>
                </c:pt>
                <c:pt idx="101">
                  <c:v>95.312574442742829</c:v>
                </c:pt>
                <c:pt idx="102">
                  <c:v>87.119278543474493</c:v>
                </c:pt>
                <c:pt idx="103">
                  <c:v>86.260336906584939</c:v>
                </c:pt>
                <c:pt idx="104">
                  <c:v>87.311893823379208</c:v>
                </c:pt>
                <c:pt idx="105">
                  <c:v>79.384720095286653</c:v>
                </c:pt>
                <c:pt idx="106">
                  <c:v>65.935000850774159</c:v>
                </c:pt>
                <c:pt idx="107">
                  <c:v>60.999829845159056</c:v>
                </c:pt>
                <c:pt idx="108">
                  <c:v>61.476944019057306</c:v>
                </c:pt>
                <c:pt idx="109">
                  <c:v>56.210992002722449</c:v>
                </c:pt>
                <c:pt idx="110">
                  <c:v>50.031648800408348</c:v>
                </c:pt>
                <c:pt idx="111">
                  <c:v>54.304577165220316</c:v>
                </c:pt>
                <c:pt idx="112">
                  <c:v>59.4051386761953</c:v>
                </c:pt>
                <c:pt idx="113">
                  <c:v>62.558448187850914</c:v>
                </c:pt>
                <c:pt idx="114">
                  <c:v>62.570699336396089</c:v>
                </c:pt>
                <c:pt idx="115">
                  <c:v>67.209800918836095</c:v>
                </c:pt>
                <c:pt idx="116">
                  <c:v>69.465373489875745</c:v>
                </c:pt>
                <c:pt idx="117">
                  <c:v>71.946911689637517</c:v>
                </c:pt>
                <c:pt idx="118">
                  <c:v>70.525097839033478</c:v>
                </c:pt>
                <c:pt idx="119">
                  <c:v>74.570699336396075</c:v>
                </c:pt>
                <c:pt idx="120">
                  <c:v>75.895865237365939</c:v>
                </c:pt>
                <c:pt idx="121">
                  <c:v>73.089671601156994</c:v>
                </c:pt>
                <c:pt idx="122">
                  <c:v>75.17372809256419</c:v>
                </c:pt>
                <c:pt idx="123">
                  <c:v>79.593670239918282</c:v>
                </c:pt>
                <c:pt idx="124">
                  <c:v>80.768419261527939</c:v>
                </c:pt>
                <c:pt idx="125">
                  <c:v>74.147354092223878</c:v>
                </c:pt>
                <c:pt idx="126">
                  <c:v>70.152118427769224</c:v>
                </c:pt>
                <c:pt idx="127">
                  <c:v>74.977029096477736</c:v>
                </c:pt>
                <c:pt idx="128">
                  <c:v>71.419431682831316</c:v>
                </c:pt>
                <c:pt idx="129">
                  <c:v>77.672281776416483</c:v>
                </c:pt>
                <c:pt idx="130">
                  <c:v>80.534966819805959</c:v>
                </c:pt>
                <c:pt idx="131">
                  <c:v>80.350518972264695</c:v>
                </c:pt>
                <c:pt idx="132">
                  <c:v>85.597413646418175</c:v>
                </c:pt>
                <c:pt idx="133">
                  <c:v>87.535817594010467</c:v>
                </c:pt>
                <c:pt idx="134">
                  <c:v>90.333163178492356</c:v>
                </c:pt>
                <c:pt idx="135">
                  <c:v>90.238557086949044</c:v>
                </c:pt>
                <c:pt idx="136">
                  <c:v>92.809937042708782</c:v>
                </c:pt>
                <c:pt idx="137">
                  <c:v>91.556916794282728</c:v>
                </c:pt>
                <c:pt idx="138">
                  <c:v>89.885315637229809</c:v>
                </c:pt>
                <c:pt idx="139">
                  <c:v>87.955079122000939</c:v>
                </c:pt>
                <c:pt idx="140">
                  <c:v>82.960013612387201</c:v>
                </c:pt>
                <c:pt idx="141">
                  <c:v>77.006636038795236</c:v>
                </c:pt>
                <c:pt idx="142">
                  <c:v>85.302024842606684</c:v>
                </c:pt>
                <c:pt idx="143">
                  <c:v>84.870512166071038</c:v>
                </c:pt>
                <c:pt idx="144">
                  <c:v>85.594691168963649</c:v>
                </c:pt>
                <c:pt idx="145">
                  <c:v>89.325165900969779</c:v>
                </c:pt>
                <c:pt idx="146">
                  <c:v>92.950825250978284</c:v>
                </c:pt>
                <c:pt idx="147">
                  <c:v>95.863195507912081</c:v>
                </c:pt>
                <c:pt idx="148">
                  <c:v>95.144461459928422</c:v>
                </c:pt>
                <c:pt idx="149">
                  <c:v>89.183597073336614</c:v>
                </c:pt>
                <c:pt idx="150">
                  <c:v>92.711247234983716</c:v>
                </c:pt>
                <c:pt idx="151">
                  <c:v>93.87919006295715</c:v>
                </c:pt>
                <c:pt idx="152">
                  <c:v>95.734558448187698</c:v>
                </c:pt>
                <c:pt idx="153">
                  <c:v>98.054789858771343</c:v>
                </c:pt>
                <c:pt idx="154">
                  <c:v>96.114344053088175</c:v>
                </c:pt>
                <c:pt idx="155">
                  <c:v>96.387953037263784</c:v>
                </c:pt>
                <c:pt idx="156">
                  <c:v>97.069253020248283</c:v>
                </c:pt>
                <c:pt idx="157">
                  <c:v>101.96426748340976</c:v>
                </c:pt>
                <c:pt idx="158">
                  <c:v>103.09205376892959</c:v>
                </c:pt>
                <c:pt idx="159">
                  <c:v>106.80210992002709</c:v>
                </c:pt>
                <c:pt idx="160">
                  <c:v>108.73370767398318</c:v>
                </c:pt>
                <c:pt idx="161">
                  <c:v>110.9913221031137</c:v>
                </c:pt>
                <c:pt idx="162">
                  <c:v>109.32652713969699</c:v>
                </c:pt>
                <c:pt idx="163">
                  <c:v>114.73404798366499</c:v>
                </c:pt>
                <c:pt idx="164">
                  <c:v>111.14310022120115</c:v>
                </c:pt>
                <c:pt idx="165">
                  <c:v>114.44954908967146</c:v>
                </c:pt>
                <c:pt idx="166">
                  <c:v>119.55351369746455</c:v>
                </c:pt>
                <c:pt idx="167">
                  <c:v>122.9069253020247</c:v>
                </c:pt>
                <c:pt idx="168">
                  <c:v>125.8029606942316</c:v>
                </c:pt>
                <c:pt idx="169">
                  <c:v>121.32652713969699</c:v>
                </c:pt>
                <c:pt idx="170">
                  <c:v>126.55776756848719</c:v>
                </c:pt>
                <c:pt idx="171">
                  <c:v>127.43508592819451</c:v>
                </c:pt>
                <c:pt idx="172">
                  <c:v>128.22528500935837</c:v>
                </c:pt>
                <c:pt idx="173">
                  <c:v>130.92189892802435</c:v>
                </c:pt>
                <c:pt idx="174">
                  <c:v>133.41704951505855</c:v>
                </c:pt>
                <c:pt idx="175">
                  <c:v>131.40513867619518</c:v>
                </c:pt>
                <c:pt idx="176">
                  <c:v>136.35324144971906</c:v>
                </c:pt>
                <c:pt idx="177">
                  <c:v>134.23787646758532</c:v>
                </c:pt>
                <c:pt idx="178">
                  <c:v>137.35239067551453</c:v>
                </c:pt>
                <c:pt idx="179">
                  <c:v>140.72213714480159</c:v>
                </c:pt>
                <c:pt idx="180">
                  <c:v>140.13272077590591</c:v>
                </c:pt>
                <c:pt idx="181">
                  <c:v>135.78288242300476</c:v>
                </c:pt>
                <c:pt idx="182">
                  <c:v>143.23634507401718</c:v>
                </c:pt>
                <c:pt idx="183">
                  <c:v>140.74459758380107</c:v>
                </c:pt>
                <c:pt idx="184">
                  <c:v>141.94384890250109</c:v>
                </c:pt>
                <c:pt idx="185">
                  <c:v>143.43304407010359</c:v>
                </c:pt>
                <c:pt idx="186">
                  <c:v>140.4192615279903</c:v>
                </c:pt>
                <c:pt idx="187">
                  <c:v>143.1914241960182</c:v>
                </c:pt>
                <c:pt idx="188">
                  <c:v>134.23038965458551</c:v>
                </c:pt>
                <c:pt idx="189">
                  <c:v>130.68095967330254</c:v>
                </c:pt>
                <c:pt idx="190">
                  <c:v>141.52526799387428</c:v>
                </c:pt>
                <c:pt idx="191">
                  <c:v>141.59673302705446</c:v>
                </c:pt>
                <c:pt idx="192">
                  <c:v>139.11451420792906</c:v>
                </c:pt>
                <c:pt idx="193">
                  <c:v>132.0564914071804</c:v>
                </c:pt>
                <c:pt idx="194">
                  <c:v>131.51131529692006</c:v>
                </c:pt>
                <c:pt idx="195">
                  <c:v>140.18989280245009</c:v>
                </c:pt>
                <c:pt idx="196">
                  <c:v>140.56831716862334</c:v>
                </c:pt>
                <c:pt idx="197">
                  <c:v>142.72315807384709</c:v>
                </c:pt>
                <c:pt idx="198">
                  <c:v>142.85247575293505</c:v>
                </c:pt>
                <c:pt idx="199">
                  <c:v>147.93942487663759</c:v>
                </c:pt>
                <c:pt idx="200">
                  <c:v>147.75906074527805</c:v>
                </c:pt>
                <c:pt idx="201">
                  <c:v>147.57665475582766</c:v>
                </c:pt>
                <c:pt idx="202">
                  <c:v>144.70988599625645</c:v>
                </c:pt>
                <c:pt idx="203">
                  <c:v>149.65526629232585</c:v>
                </c:pt>
                <c:pt idx="204">
                  <c:v>152.37910498553669</c:v>
                </c:pt>
                <c:pt idx="205">
                  <c:v>155.10430491747474</c:v>
                </c:pt>
                <c:pt idx="206">
                  <c:v>160.87391526288906</c:v>
                </c:pt>
                <c:pt idx="207">
                  <c:v>160.81129828143594</c:v>
                </c:pt>
                <c:pt idx="208">
                  <c:v>162.27326867449361</c:v>
                </c:pt>
                <c:pt idx="209">
                  <c:v>164.15177811808732</c:v>
                </c:pt>
                <c:pt idx="210">
                  <c:v>164.94197719925117</c:v>
                </c:pt>
                <c:pt idx="211">
                  <c:v>168.13340139526954</c:v>
                </c:pt>
                <c:pt idx="212">
                  <c:v>168.22528500935837</c:v>
                </c:pt>
                <c:pt idx="213">
                  <c:v>171.47251999319369</c:v>
                </c:pt>
                <c:pt idx="214">
                  <c:v>175.27718223583452</c:v>
                </c:pt>
                <c:pt idx="215">
                  <c:v>180.19942147354081</c:v>
                </c:pt>
                <c:pt idx="216">
                  <c:v>181.97107367704601</c:v>
                </c:pt>
                <c:pt idx="217">
                  <c:v>192.19397651863184</c:v>
                </c:pt>
                <c:pt idx="218">
                  <c:v>184.70852475752923</c:v>
                </c:pt>
                <c:pt idx="219">
                  <c:v>179.74272588055118</c:v>
                </c:pt>
                <c:pt idx="220">
                  <c:v>180.231410583631</c:v>
                </c:pt>
                <c:pt idx="221">
                  <c:v>184.12591458226976</c:v>
                </c:pt>
                <c:pt idx="222">
                  <c:v>185.01752594861313</c:v>
                </c:pt>
                <c:pt idx="223">
                  <c:v>191.68215075718896</c:v>
                </c:pt>
                <c:pt idx="224">
                  <c:v>197.48306959332987</c:v>
                </c:pt>
                <c:pt idx="225">
                  <c:v>198.33112132040154</c:v>
                </c:pt>
                <c:pt idx="226">
                  <c:v>184.56627531053255</c:v>
                </c:pt>
                <c:pt idx="227">
                  <c:v>187.86251488854856</c:v>
                </c:pt>
                <c:pt idx="228">
                  <c:v>170.62106516930402</c:v>
                </c:pt>
                <c:pt idx="229">
                  <c:v>184.04628211672616</c:v>
                </c:pt>
                <c:pt idx="230">
                  <c:v>189.51778118087455</c:v>
                </c:pt>
                <c:pt idx="231">
                  <c:v>192.91475242470645</c:v>
                </c:pt>
                <c:pt idx="232">
                  <c:v>200.49889399353407</c:v>
                </c:pt>
                <c:pt idx="233">
                  <c:v>187.31053258465198</c:v>
                </c:pt>
                <c:pt idx="234">
                  <c:v>200.22188191254037</c:v>
                </c:pt>
                <c:pt idx="235">
                  <c:v>202.85043389484426</c:v>
                </c:pt>
                <c:pt idx="236">
                  <c:v>199.18053428620038</c:v>
                </c:pt>
                <c:pt idx="237">
                  <c:v>202.60268844648621</c:v>
                </c:pt>
                <c:pt idx="238">
                  <c:v>206.7422154160285</c:v>
                </c:pt>
                <c:pt idx="239">
                  <c:v>213.7811808745958</c:v>
                </c:pt>
                <c:pt idx="240">
                  <c:v>219.89314275991146</c:v>
                </c:pt>
                <c:pt idx="241">
                  <c:v>219.53513697464686</c:v>
                </c:pt>
                <c:pt idx="242">
                  <c:v>201.06993363961197</c:v>
                </c:pt>
                <c:pt idx="243">
                  <c:v>175.91220010209287</c:v>
                </c:pt>
                <c:pt idx="244">
                  <c:v>198.22562531904026</c:v>
                </c:pt>
                <c:pt idx="245">
                  <c:v>207.20163348647264</c:v>
                </c:pt>
                <c:pt idx="246">
                  <c:v>211.01174068402241</c:v>
                </c:pt>
                <c:pt idx="247">
                  <c:v>222.63876127275819</c:v>
                </c:pt>
                <c:pt idx="248">
                  <c:v>238.23787646758547</c:v>
                </c:pt>
                <c:pt idx="249">
                  <c:v>228.89229198570695</c:v>
                </c:pt>
                <c:pt idx="250">
                  <c:v>222.55980942657814</c:v>
                </c:pt>
                <c:pt idx="251">
                  <c:v>246.49515058703417</c:v>
                </c:pt>
                <c:pt idx="252">
                  <c:v>255.64539731155347</c:v>
                </c:pt>
                <c:pt idx="253">
                  <c:v>252.79836651352724</c:v>
                </c:pt>
                <c:pt idx="254">
                  <c:v>259.39424876637736</c:v>
                </c:pt>
                <c:pt idx="255">
                  <c:v>270.40258635358168</c:v>
                </c:pt>
                <c:pt idx="256">
                  <c:v>284.57852645907769</c:v>
                </c:pt>
                <c:pt idx="257">
                  <c:v>286.13986727922401</c:v>
                </c:pt>
                <c:pt idx="258">
                  <c:v>292.49617151607953</c:v>
                </c:pt>
                <c:pt idx="259">
                  <c:v>299.14990641483746</c:v>
                </c:pt>
                <c:pt idx="260">
                  <c:v>307.82235834609492</c:v>
                </c:pt>
                <c:pt idx="261">
                  <c:v>293.17951335715497</c:v>
                </c:pt>
                <c:pt idx="262">
                  <c:v>313.45108048323971</c:v>
                </c:pt>
                <c:pt idx="263">
                  <c:v>310.83886336566269</c:v>
                </c:pt>
                <c:pt idx="264">
                  <c:v>324.3954398502637</c:v>
                </c:pt>
                <c:pt idx="265">
                  <c:v>307.33707673983321</c:v>
                </c:pt>
                <c:pt idx="266">
                  <c:v>297.6988259315977</c:v>
                </c:pt>
                <c:pt idx="267">
                  <c:v>308.34847711417387</c:v>
                </c:pt>
                <c:pt idx="268">
                  <c:v>281.22715671260852</c:v>
                </c:pt>
                <c:pt idx="269">
                  <c:v>281.24213033860815</c:v>
                </c:pt>
                <c:pt idx="270">
                  <c:v>257.64029266632639</c:v>
                </c:pt>
                <c:pt idx="271">
                  <c:v>281.11553513697464</c:v>
                </c:pt>
                <c:pt idx="272">
                  <c:v>269.184958312064</c:v>
                </c:pt>
                <c:pt idx="273">
                  <c:v>244.04424025863537</c:v>
                </c:pt>
                <c:pt idx="274">
                  <c:v>263.53445635528334</c:v>
                </c:pt>
                <c:pt idx="275">
                  <c:v>277.70018717032502</c:v>
                </c:pt>
                <c:pt idx="276">
                  <c:v>261.32380466224265</c:v>
                </c:pt>
                <c:pt idx="277">
                  <c:v>277.46128977369403</c:v>
                </c:pt>
                <c:pt idx="278">
                  <c:v>270.21609664794966</c:v>
                </c:pt>
                <c:pt idx="279">
                  <c:v>279.68759571209802</c:v>
                </c:pt>
                <c:pt idx="280">
                  <c:v>283.78288242300488</c:v>
                </c:pt>
              </c:numCache>
            </c:numRef>
          </c:yVal>
          <c:smooth val="0"/>
          <c:extLst>
            <c:ext xmlns:c16="http://schemas.microsoft.com/office/drawing/2014/chart" uri="{C3380CC4-5D6E-409C-BE32-E72D297353CC}">
              <c16:uniqueId val="{00000002-2F2D-4685-A72E-56AAA6666DC9}"/>
            </c:ext>
          </c:extLst>
        </c:ser>
        <c:dLbls>
          <c:showLegendKey val="0"/>
          <c:showVal val="0"/>
          <c:showCatName val="0"/>
          <c:showSerName val="0"/>
          <c:showPercent val="0"/>
          <c:showBubbleSize val="0"/>
        </c:dLbls>
        <c:axId val="4"/>
        <c:axId val="5"/>
      </c:scatterChart>
      <c:valAx>
        <c:axId val="4"/>
        <c:scaling>
          <c:orientation val="minMax"/>
          <c:max val="19723"/>
          <c:min val="10957"/>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sia quarterly gdp change.xlsx]Sheet2'!$A$2</c:f>
              <c:strCache>
                <c:ptCount val="1"/>
                <c:pt idx="0">
                  <c:v>Average</c:v>
                </c:pt>
              </c:strCache>
            </c:strRef>
          </c:tx>
          <c:spPr>
            <a:solidFill>
              <a:srgbClr val="009DE0"/>
            </a:solidFill>
            <a:ln>
              <a:noFill/>
            </a:ln>
            <a:effectLst/>
          </c:spPr>
          <c:invertIfNegative val="0"/>
          <c:cat>
            <c:strRef>
              <c:f>'[asia quarterly gdp change.xlsx]Sheet2'!$AQ$1:$CS$1</c:f>
              <c:strCache>
                <c:ptCount val="55"/>
                <c:pt idx="0">
                  <c:v>2010Q2</c:v>
                </c:pt>
                <c:pt idx="1">
                  <c:v>2010Q3</c:v>
                </c:pt>
                <c:pt idx="2">
                  <c:v>2010Q4</c:v>
                </c:pt>
                <c:pt idx="3">
                  <c:v>2011Q1</c:v>
                </c:pt>
                <c:pt idx="4">
                  <c:v>2011Q2</c:v>
                </c:pt>
                <c:pt idx="5">
                  <c:v>2011Q3</c:v>
                </c:pt>
                <c:pt idx="6">
                  <c:v>2011Q4</c:v>
                </c:pt>
                <c:pt idx="7">
                  <c:v>2012Q1</c:v>
                </c:pt>
                <c:pt idx="8">
                  <c:v>2012Q2</c:v>
                </c:pt>
                <c:pt idx="9">
                  <c:v>2012Q3</c:v>
                </c:pt>
                <c:pt idx="10">
                  <c:v>2012Q4</c:v>
                </c:pt>
                <c:pt idx="11">
                  <c:v>2013Q1</c:v>
                </c:pt>
                <c:pt idx="12">
                  <c:v>2013Q2</c:v>
                </c:pt>
                <c:pt idx="13">
                  <c:v>2013Q3</c:v>
                </c:pt>
                <c:pt idx="14">
                  <c:v>2013Q4</c:v>
                </c:pt>
                <c:pt idx="15">
                  <c:v>2014Q1</c:v>
                </c:pt>
                <c:pt idx="16">
                  <c:v>2014Q2</c:v>
                </c:pt>
                <c:pt idx="17">
                  <c:v>2014Q3</c:v>
                </c:pt>
                <c:pt idx="18">
                  <c:v>2014Q4</c:v>
                </c:pt>
                <c:pt idx="19">
                  <c:v>2015Q1</c:v>
                </c:pt>
                <c:pt idx="20">
                  <c:v>2015Q2</c:v>
                </c:pt>
                <c:pt idx="21">
                  <c:v>2015Q3</c:v>
                </c:pt>
                <c:pt idx="22">
                  <c:v>2015Q4</c:v>
                </c:pt>
                <c:pt idx="23">
                  <c:v>2016Q1</c:v>
                </c:pt>
                <c:pt idx="24">
                  <c:v>2016Q2</c:v>
                </c:pt>
                <c:pt idx="25">
                  <c:v>2016Q3</c:v>
                </c:pt>
                <c:pt idx="26">
                  <c:v>2016Q4</c:v>
                </c:pt>
                <c:pt idx="27">
                  <c:v>2017Q1</c:v>
                </c:pt>
                <c:pt idx="28">
                  <c:v>2017Q2</c:v>
                </c:pt>
                <c:pt idx="29">
                  <c:v>2017Q3</c:v>
                </c:pt>
                <c:pt idx="30">
                  <c:v>2017Q4</c:v>
                </c:pt>
                <c:pt idx="31">
                  <c:v>2018Q1</c:v>
                </c:pt>
                <c:pt idx="32">
                  <c:v>2018Q2</c:v>
                </c:pt>
                <c:pt idx="33">
                  <c:v>2018Q3</c:v>
                </c:pt>
                <c:pt idx="34">
                  <c:v>2018Q4</c:v>
                </c:pt>
                <c:pt idx="35">
                  <c:v>2019Q1</c:v>
                </c:pt>
                <c:pt idx="36">
                  <c:v>2019Q2</c:v>
                </c:pt>
                <c:pt idx="37">
                  <c:v>2019Q3</c:v>
                </c:pt>
                <c:pt idx="38">
                  <c:v>2019Q4</c:v>
                </c:pt>
                <c:pt idx="39">
                  <c:v>2020Q1</c:v>
                </c:pt>
                <c:pt idx="40">
                  <c:v>2020Q2</c:v>
                </c:pt>
                <c:pt idx="41">
                  <c:v>2020Q3</c:v>
                </c:pt>
                <c:pt idx="42">
                  <c:v>2020Q4</c:v>
                </c:pt>
                <c:pt idx="43">
                  <c:v>2021Q1</c:v>
                </c:pt>
                <c:pt idx="44">
                  <c:v>2021Q2</c:v>
                </c:pt>
                <c:pt idx="45">
                  <c:v>2021Q3</c:v>
                </c:pt>
                <c:pt idx="46">
                  <c:v>2021Q4</c:v>
                </c:pt>
                <c:pt idx="47">
                  <c:v>2022Q1</c:v>
                </c:pt>
                <c:pt idx="48">
                  <c:v>2022Q2</c:v>
                </c:pt>
                <c:pt idx="49">
                  <c:v>2022Q3</c:v>
                </c:pt>
                <c:pt idx="50">
                  <c:v>2022Q4</c:v>
                </c:pt>
                <c:pt idx="51">
                  <c:v>2023Q1</c:v>
                </c:pt>
                <c:pt idx="52">
                  <c:v>2023Q2</c:v>
                </c:pt>
                <c:pt idx="53">
                  <c:v>2023Q3</c:v>
                </c:pt>
                <c:pt idx="54">
                  <c:v>2023Q4</c:v>
                </c:pt>
              </c:strCache>
            </c:strRef>
          </c:cat>
          <c:val>
            <c:numRef>
              <c:f>'[asia quarterly gdp change.xlsx]Sheet2'!$AQ$2:$CR$2</c:f>
              <c:numCache>
                <c:formatCode>General</c:formatCode>
                <c:ptCount val="54"/>
                <c:pt idx="0">
                  <c:v>2.0259999999999998</c:v>
                </c:pt>
                <c:pt idx="1">
                  <c:v>0.70500000000000007</c:v>
                </c:pt>
                <c:pt idx="2">
                  <c:v>1.456</c:v>
                </c:pt>
                <c:pt idx="3">
                  <c:v>1.5269999999999997</c:v>
                </c:pt>
                <c:pt idx="4">
                  <c:v>0.36299999999999999</c:v>
                </c:pt>
                <c:pt idx="5">
                  <c:v>1.2169999999999999</c:v>
                </c:pt>
                <c:pt idx="6">
                  <c:v>-2.6000000000000068E-2</c:v>
                </c:pt>
                <c:pt idx="7">
                  <c:v>2.4140000000000001</c:v>
                </c:pt>
                <c:pt idx="8">
                  <c:v>0.88300000000000001</c:v>
                </c:pt>
                <c:pt idx="9">
                  <c:v>0.81600000000000006</c:v>
                </c:pt>
                <c:pt idx="10">
                  <c:v>1.4709999999999999</c:v>
                </c:pt>
                <c:pt idx="11">
                  <c:v>0.92599999999999982</c:v>
                </c:pt>
                <c:pt idx="12">
                  <c:v>1.014</c:v>
                </c:pt>
                <c:pt idx="13">
                  <c:v>1.1649999999999998</c:v>
                </c:pt>
                <c:pt idx="14">
                  <c:v>0.93399999999999994</c:v>
                </c:pt>
                <c:pt idx="15">
                  <c:v>1.0780000000000001</c:v>
                </c:pt>
                <c:pt idx="16">
                  <c:v>0.81699999999999995</c:v>
                </c:pt>
                <c:pt idx="17">
                  <c:v>1.034</c:v>
                </c:pt>
                <c:pt idx="18">
                  <c:v>0.97200000000000009</c:v>
                </c:pt>
                <c:pt idx="19">
                  <c:v>1.02</c:v>
                </c:pt>
                <c:pt idx="20">
                  <c:v>0.83299999999999996</c:v>
                </c:pt>
                <c:pt idx="21">
                  <c:v>0.9</c:v>
                </c:pt>
                <c:pt idx="22">
                  <c:v>0.70499999999999996</c:v>
                </c:pt>
                <c:pt idx="23">
                  <c:v>0.91699999999999982</c:v>
                </c:pt>
                <c:pt idx="24">
                  <c:v>1.2399999999999998</c:v>
                </c:pt>
                <c:pt idx="25">
                  <c:v>0.95</c:v>
                </c:pt>
                <c:pt idx="26">
                  <c:v>1.0169999999999999</c:v>
                </c:pt>
                <c:pt idx="27">
                  <c:v>1.2100000000000002</c:v>
                </c:pt>
                <c:pt idx="28">
                  <c:v>1.1579999999999999</c:v>
                </c:pt>
                <c:pt idx="29">
                  <c:v>1.3750000000000002</c:v>
                </c:pt>
                <c:pt idx="30">
                  <c:v>0.62699999999999989</c:v>
                </c:pt>
                <c:pt idx="31">
                  <c:v>1.361</c:v>
                </c:pt>
                <c:pt idx="32">
                  <c:v>1.0229999999999999</c:v>
                </c:pt>
                <c:pt idx="33">
                  <c:v>0.58399999999999996</c:v>
                </c:pt>
                <c:pt idx="34">
                  <c:v>0.29600000000000004</c:v>
                </c:pt>
                <c:pt idx="35">
                  <c:v>1.036</c:v>
                </c:pt>
                <c:pt idx="36">
                  <c:v>1.208</c:v>
                </c:pt>
                <c:pt idx="37">
                  <c:v>0.28600000000000003</c:v>
                </c:pt>
                <c:pt idx="38">
                  <c:v>-0.31199999999999994</c:v>
                </c:pt>
                <c:pt idx="39">
                  <c:v>-2.3239999999999998</c:v>
                </c:pt>
                <c:pt idx="40">
                  <c:v>-5.798</c:v>
                </c:pt>
                <c:pt idx="41">
                  <c:v>6.3690000000000007</c:v>
                </c:pt>
                <c:pt idx="42">
                  <c:v>1.4140000000000001</c:v>
                </c:pt>
                <c:pt idx="43">
                  <c:v>1.9319999999999997</c:v>
                </c:pt>
                <c:pt idx="44">
                  <c:v>1.400000000000009E-2</c:v>
                </c:pt>
                <c:pt idx="45">
                  <c:v>0.219</c:v>
                </c:pt>
                <c:pt idx="46">
                  <c:v>2.2009999999999996</c:v>
                </c:pt>
                <c:pt idx="47">
                  <c:v>0.71600000000000008</c:v>
                </c:pt>
                <c:pt idx="48">
                  <c:v>0.44500000000000001</c:v>
                </c:pt>
                <c:pt idx="49">
                  <c:v>0.9630000000000003</c:v>
                </c:pt>
                <c:pt idx="50">
                  <c:v>6.3999999999999987E-2</c:v>
                </c:pt>
                <c:pt idx="51">
                  <c:v>1.2849999999999999</c:v>
                </c:pt>
                <c:pt idx="52">
                  <c:v>0.67599999999999993</c:v>
                </c:pt>
                <c:pt idx="53">
                  <c:v>0.56600000000000006</c:v>
                </c:pt>
              </c:numCache>
            </c:numRef>
          </c:val>
          <c:extLst>
            <c:ext xmlns:c16="http://schemas.microsoft.com/office/drawing/2014/chart" uri="{C3380CC4-5D6E-409C-BE32-E72D297353CC}">
              <c16:uniqueId val="{00000000-9ED6-4662-9560-96977DD4B5D2}"/>
            </c:ext>
          </c:extLst>
        </c:ser>
        <c:dLbls>
          <c:showLegendKey val="0"/>
          <c:showVal val="0"/>
          <c:showCatName val="0"/>
          <c:showSerName val="0"/>
          <c:showPercent val="0"/>
          <c:showBubbleSize val="0"/>
        </c:dLbls>
        <c:gapWidth val="8"/>
        <c:overlap val="-27"/>
        <c:axId val="1583939167"/>
        <c:axId val="296895199"/>
      </c:barChart>
      <c:catAx>
        <c:axId val="1583939167"/>
        <c:scaling>
          <c:orientation val="minMax"/>
        </c:scaling>
        <c:delete val="1"/>
        <c:axPos val="b"/>
        <c:numFmt formatCode="m/d/yyyy" sourceLinked="0"/>
        <c:majorTickMark val="none"/>
        <c:minorTickMark val="none"/>
        <c:tickLblPos val="nextTo"/>
        <c:crossAx val="296895199"/>
        <c:crosses val="autoZero"/>
        <c:auto val="1"/>
        <c:lblAlgn val="ctr"/>
        <c:lblOffset val="100"/>
        <c:noMultiLvlLbl val="0"/>
      </c:catAx>
      <c:valAx>
        <c:axId val="296895199"/>
        <c:scaling>
          <c:orientation val="minMax"/>
          <c:max val="3"/>
          <c:min val="-3"/>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83939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asia_inflation.xlsx]data!$P$1</c:f>
              <c:strCache>
                <c:ptCount val="1"/>
                <c:pt idx="0">
                  <c:v>North Asia</c:v>
                </c:pt>
              </c:strCache>
            </c:strRef>
          </c:tx>
          <c:spPr>
            <a:ln w="28575" cap="rnd">
              <a:solidFill>
                <a:schemeClr val="accent1"/>
              </a:solidFill>
              <a:round/>
            </a:ln>
            <a:effectLst/>
          </c:spPr>
          <c:marker>
            <c:symbol val="none"/>
          </c:marker>
          <c:cat>
            <c:numRef>
              <c:f>[asia_inflation.xlsx]data!$A$2:$A$179</c:f>
              <c:numCache>
                <c:formatCode>m/d/yyyy</c:formatCode>
                <c:ptCount val="178"/>
                <c:pt idx="0">
                  <c:v>40209</c:v>
                </c:pt>
                <c:pt idx="1">
                  <c:v>40237</c:v>
                </c:pt>
                <c:pt idx="2">
                  <c:v>40268</c:v>
                </c:pt>
                <c:pt idx="3">
                  <c:v>40298</c:v>
                </c:pt>
                <c:pt idx="4">
                  <c:v>40329</c:v>
                </c:pt>
                <c:pt idx="5">
                  <c:v>40359</c:v>
                </c:pt>
                <c:pt idx="6">
                  <c:v>40390</c:v>
                </c:pt>
                <c:pt idx="7">
                  <c:v>40421</c:v>
                </c:pt>
                <c:pt idx="8">
                  <c:v>40451</c:v>
                </c:pt>
                <c:pt idx="9">
                  <c:v>40482</c:v>
                </c:pt>
                <c:pt idx="10">
                  <c:v>40512</c:v>
                </c:pt>
                <c:pt idx="11">
                  <c:v>40543</c:v>
                </c:pt>
                <c:pt idx="12">
                  <c:v>40574</c:v>
                </c:pt>
                <c:pt idx="13">
                  <c:v>40602</c:v>
                </c:pt>
                <c:pt idx="14">
                  <c:v>40633</c:v>
                </c:pt>
                <c:pt idx="15">
                  <c:v>40663</c:v>
                </c:pt>
                <c:pt idx="16">
                  <c:v>40694</c:v>
                </c:pt>
                <c:pt idx="17">
                  <c:v>40724</c:v>
                </c:pt>
                <c:pt idx="18">
                  <c:v>40755</c:v>
                </c:pt>
                <c:pt idx="19">
                  <c:v>40786</c:v>
                </c:pt>
                <c:pt idx="20">
                  <c:v>40816</c:v>
                </c:pt>
                <c:pt idx="21">
                  <c:v>40847</c:v>
                </c:pt>
                <c:pt idx="22">
                  <c:v>40877</c:v>
                </c:pt>
                <c:pt idx="23">
                  <c:v>40908</c:v>
                </c:pt>
                <c:pt idx="24">
                  <c:v>40939</c:v>
                </c:pt>
                <c:pt idx="25">
                  <c:v>40968</c:v>
                </c:pt>
                <c:pt idx="26">
                  <c:v>40999</c:v>
                </c:pt>
                <c:pt idx="27">
                  <c:v>41029</c:v>
                </c:pt>
                <c:pt idx="28">
                  <c:v>41060</c:v>
                </c:pt>
                <c:pt idx="29">
                  <c:v>41090</c:v>
                </c:pt>
                <c:pt idx="30">
                  <c:v>41121</c:v>
                </c:pt>
                <c:pt idx="31">
                  <c:v>41152</c:v>
                </c:pt>
                <c:pt idx="32">
                  <c:v>41182</c:v>
                </c:pt>
                <c:pt idx="33">
                  <c:v>41213</c:v>
                </c:pt>
                <c:pt idx="34">
                  <c:v>41243</c:v>
                </c:pt>
                <c:pt idx="35">
                  <c:v>41274</c:v>
                </c:pt>
                <c:pt idx="36">
                  <c:v>41305</c:v>
                </c:pt>
                <c:pt idx="37">
                  <c:v>41333</c:v>
                </c:pt>
                <c:pt idx="38">
                  <c:v>41364</c:v>
                </c:pt>
                <c:pt idx="39">
                  <c:v>41394</c:v>
                </c:pt>
                <c:pt idx="40">
                  <c:v>41425</c:v>
                </c:pt>
                <c:pt idx="41">
                  <c:v>41455</c:v>
                </c:pt>
                <c:pt idx="42">
                  <c:v>41486</c:v>
                </c:pt>
                <c:pt idx="43">
                  <c:v>41517</c:v>
                </c:pt>
                <c:pt idx="44">
                  <c:v>41547</c:v>
                </c:pt>
                <c:pt idx="45">
                  <c:v>41578</c:v>
                </c:pt>
                <c:pt idx="46">
                  <c:v>41608</c:v>
                </c:pt>
                <c:pt idx="47">
                  <c:v>41639</c:v>
                </c:pt>
                <c:pt idx="48">
                  <c:v>41670</c:v>
                </c:pt>
                <c:pt idx="49">
                  <c:v>41698</c:v>
                </c:pt>
                <c:pt idx="50">
                  <c:v>41729</c:v>
                </c:pt>
                <c:pt idx="51">
                  <c:v>41759</c:v>
                </c:pt>
                <c:pt idx="52">
                  <c:v>41790</c:v>
                </c:pt>
                <c:pt idx="53">
                  <c:v>41820</c:v>
                </c:pt>
                <c:pt idx="54">
                  <c:v>41851</c:v>
                </c:pt>
                <c:pt idx="55">
                  <c:v>41882</c:v>
                </c:pt>
                <c:pt idx="56">
                  <c:v>41912</c:v>
                </c:pt>
                <c:pt idx="57">
                  <c:v>41943</c:v>
                </c:pt>
                <c:pt idx="58">
                  <c:v>41973</c:v>
                </c:pt>
                <c:pt idx="59">
                  <c:v>42004</c:v>
                </c:pt>
                <c:pt idx="60">
                  <c:v>42035</c:v>
                </c:pt>
                <c:pt idx="61">
                  <c:v>42063</c:v>
                </c:pt>
                <c:pt idx="62">
                  <c:v>42094</c:v>
                </c:pt>
                <c:pt idx="63">
                  <c:v>42124</c:v>
                </c:pt>
                <c:pt idx="64">
                  <c:v>42155</c:v>
                </c:pt>
                <c:pt idx="65">
                  <c:v>42185</c:v>
                </c:pt>
                <c:pt idx="66">
                  <c:v>42216</c:v>
                </c:pt>
                <c:pt idx="67">
                  <c:v>42247</c:v>
                </c:pt>
                <c:pt idx="68">
                  <c:v>42277</c:v>
                </c:pt>
                <c:pt idx="69">
                  <c:v>42308</c:v>
                </c:pt>
                <c:pt idx="70">
                  <c:v>42338</c:v>
                </c:pt>
                <c:pt idx="71">
                  <c:v>42369</c:v>
                </c:pt>
                <c:pt idx="72">
                  <c:v>42400</c:v>
                </c:pt>
                <c:pt idx="73">
                  <c:v>42429</c:v>
                </c:pt>
                <c:pt idx="74">
                  <c:v>42460</c:v>
                </c:pt>
                <c:pt idx="75">
                  <c:v>42490</c:v>
                </c:pt>
                <c:pt idx="76">
                  <c:v>42521</c:v>
                </c:pt>
                <c:pt idx="77">
                  <c:v>42551</c:v>
                </c:pt>
                <c:pt idx="78">
                  <c:v>42582</c:v>
                </c:pt>
                <c:pt idx="79">
                  <c:v>42613</c:v>
                </c:pt>
                <c:pt idx="80">
                  <c:v>42643</c:v>
                </c:pt>
                <c:pt idx="81">
                  <c:v>42674</c:v>
                </c:pt>
                <c:pt idx="82">
                  <c:v>42704</c:v>
                </c:pt>
                <c:pt idx="83">
                  <c:v>42735</c:v>
                </c:pt>
                <c:pt idx="84">
                  <c:v>42766</c:v>
                </c:pt>
                <c:pt idx="85">
                  <c:v>42794</c:v>
                </c:pt>
                <c:pt idx="86">
                  <c:v>42825</c:v>
                </c:pt>
                <c:pt idx="87">
                  <c:v>42855</c:v>
                </c:pt>
                <c:pt idx="88">
                  <c:v>42886</c:v>
                </c:pt>
                <c:pt idx="89">
                  <c:v>42916</c:v>
                </c:pt>
                <c:pt idx="90">
                  <c:v>42947</c:v>
                </c:pt>
                <c:pt idx="91">
                  <c:v>42978</c:v>
                </c:pt>
                <c:pt idx="92">
                  <c:v>43008</c:v>
                </c:pt>
                <c:pt idx="93">
                  <c:v>43039</c:v>
                </c:pt>
                <c:pt idx="94">
                  <c:v>43069</c:v>
                </c:pt>
                <c:pt idx="95">
                  <c:v>43100</c:v>
                </c:pt>
                <c:pt idx="96">
                  <c:v>43131</c:v>
                </c:pt>
                <c:pt idx="97">
                  <c:v>43159</c:v>
                </c:pt>
                <c:pt idx="98">
                  <c:v>43190</c:v>
                </c:pt>
                <c:pt idx="99">
                  <c:v>43220</c:v>
                </c:pt>
                <c:pt idx="100">
                  <c:v>43251</c:v>
                </c:pt>
                <c:pt idx="101">
                  <c:v>43281</c:v>
                </c:pt>
                <c:pt idx="102">
                  <c:v>43312</c:v>
                </c:pt>
                <c:pt idx="103">
                  <c:v>43343</c:v>
                </c:pt>
                <c:pt idx="104">
                  <c:v>43373</c:v>
                </c:pt>
                <c:pt idx="105">
                  <c:v>43404</c:v>
                </c:pt>
                <c:pt idx="106">
                  <c:v>43434</c:v>
                </c:pt>
                <c:pt idx="107">
                  <c:v>43465</c:v>
                </c:pt>
                <c:pt idx="108">
                  <c:v>43496</c:v>
                </c:pt>
                <c:pt idx="109">
                  <c:v>43524</c:v>
                </c:pt>
                <c:pt idx="110">
                  <c:v>43555</c:v>
                </c:pt>
                <c:pt idx="111">
                  <c:v>43585</c:v>
                </c:pt>
                <c:pt idx="112">
                  <c:v>43616</c:v>
                </c:pt>
                <c:pt idx="113">
                  <c:v>43646</c:v>
                </c:pt>
                <c:pt idx="114">
                  <c:v>43677</c:v>
                </c:pt>
                <c:pt idx="115">
                  <c:v>43708</c:v>
                </c:pt>
                <c:pt idx="116">
                  <c:v>43738</c:v>
                </c:pt>
                <c:pt idx="117">
                  <c:v>43769</c:v>
                </c:pt>
                <c:pt idx="118">
                  <c:v>43799</c:v>
                </c:pt>
                <c:pt idx="119">
                  <c:v>43830</c:v>
                </c:pt>
                <c:pt idx="120">
                  <c:v>43861</c:v>
                </c:pt>
                <c:pt idx="121">
                  <c:v>43890</c:v>
                </c:pt>
                <c:pt idx="122">
                  <c:v>43921</c:v>
                </c:pt>
                <c:pt idx="123">
                  <c:v>43951</c:v>
                </c:pt>
                <c:pt idx="124">
                  <c:v>43982</c:v>
                </c:pt>
                <c:pt idx="125">
                  <c:v>44012</c:v>
                </c:pt>
                <c:pt idx="126">
                  <c:v>44043</c:v>
                </c:pt>
                <c:pt idx="127">
                  <c:v>44074</c:v>
                </c:pt>
                <c:pt idx="128">
                  <c:v>44104</c:v>
                </c:pt>
                <c:pt idx="129">
                  <c:v>44135</c:v>
                </c:pt>
                <c:pt idx="130">
                  <c:v>44165</c:v>
                </c:pt>
                <c:pt idx="131">
                  <c:v>44196</c:v>
                </c:pt>
                <c:pt idx="132">
                  <c:v>44227</c:v>
                </c:pt>
                <c:pt idx="133">
                  <c:v>44255</c:v>
                </c:pt>
                <c:pt idx="134">
                  <c:v>44286</c:v>
                </c:pt>
                <c:pt idx="135">
                  <c:v>44316</c:v>
                </c:pt>
                <c:pt idx="136">
                  <c:v>44347</c:v>
                </c:pt>
                <c:pt idx="137">
                  <c:v>44377</c:v>
                </c:pt>
                <c:pt idx="138">
                  <c:v>44408</c:v>
                </c:pt>
                <c:pt idx="139">
                  <c:v>44439</c:v>
                </c:pt>
                <c:pt idx="140">
                  <c:v>44469</c:v>
                </c:pt>
                <c:pt idx="141">
                  <c:v>44500</c:v>
                </c:pt>
                <c:pt idx="142">
                  <c:v>44530</c:v>
                </c:pt>
                <c:pt idx="143">
                  <c:v>44561</c:v>
                </c:pt>
                <c:pt idx="144">
                  <c:v>44592</c:v>
                </c:pt>
                <c:pt idx="145">
                  <c:v>44620</c:v>
                </c:pt>
                <c:pt idx="146">
                  <c:v>44651</c:v>
                </c:pt>
                <c:pt idx="147">
                  <c:v>44681</c:v>
                </c:pt>
                <c:pt idx="148">
                  <c:v>44712</c:v>
                </c:pt>
                <c:pt idx="149">
                  <c:v>44742</c:v>
                </c:pt>
                <c:pt idx="150">
                  <c:v>44773</c:v>
                </c:pt>
                <c:pt idx="151">
                  <c:v>44804</c:v>
                </c:pt>
                <c:pt idx="152">
                  <c:v>44834</c:v>
                </c:pt>
                <c:pt idx="153">
                  <c:v>44865</c:v>
                </c:pt>
                <c:pt idx="154">
                  <c:v>44895</c:v>
                </c:pt>
                <c:pt idx="155">
                  <c:v>44926</c:v>
                </c:pt>
                <c:pt idx="156">
                  <c:v>44957</c:v>
                </c:pt>
                <c:pt idx="157">
                  <c:v>44985</c:v>
                </c:pt>
                <c:pt idx="158">
                  <c:v>45016</c:v>
                </c:pt>
                <c:pt idx="159">
                  <c:v>45046</c:v>
                </c:pt>
                <c:pt idx="160">
                  <c:v>45077</c:v>
                </c:pt>
                <c:pt idx="161">
                  <c:v>45107</c:v>
                </c:pt>
                <c:pt idx="162">
                  <c:v>45138</c:v>
                </c:pt>
                <c:pt idx="163">
                  <c:v>45169</c:v>
                </c:pt>
              </c:numCache>
            </c:numRef>
          </c:cat>
          <c:val>
            <c:numRef>
              <c:f>[asia_inflation.xlsx]data!$P$2:$P$179</c:f>
              <c:numCache>
                <c:formatCode>General</c:formatCode>
                <c:ptCount val="178"/>
                <c:pt idx="0">
                  <c:v>1.0067528356517701</c:v>
                </c:pt>
                <c:pt idx="1">
                  <c:v>1.89870830901184</c:v>
                </c:pt>
                <c:pt idx="2">
                  <c:v>1.44529997582054</c:v>
                </c:pt>
                <c:pt idx="3">
                  <c:v>1.5867514693448499</c:v>
                </c:pt>
                <c:pt idx="4">
                  <c:v>1.6090515315852201</c:v>
                </c:pt>
                <c:pt idx="5">
                  <c:v>1.7751992991068599</c:v>
                </c:pt>
                <c:pt idx="6">
                  <c:v>1.4334489306112901</c:v>
                </c:pt>
                <c:pt idx="7">
                  <c:v>1.4924534068013</c:v>
                </c:pt>
                <c:pt idx="8">
                  <c:v>1.7955537662546099</c:v>
                </c:pt>
                <c:pt idx="9">
                  <c:v>2.2715139076613098</c:v>
                </c:pt>
                <c:pt idx="10">
                  <c:v>2.5025762903313402</c:v>
                </c:pt>
                <c:pt idx="11">
                  <c:v>2.3739639646036701</c:v>
                </c:pt>
                <c:pt idx="12">
                  <c:v>2.4210690302139</c:v>
                </c:pt>
                <c:pt idx="13">
                  <c:v>2.6273209745583599</c:v>
                </c:pt>
                <c:pt idx="14">
                  <c:v>2.92967838564303</c:v>
                </c:pt>
                <c:pt idx="15">
                  <c:v>2.8905448370623099</c:v>
                </c:pt>
                <c:pt idx="16">
                  <c:v>3.18394695888421</c:v>
                </c:pt>
                <c:pt idx="17">
                  <c:v>3.59576418176986</c:v>
                </c:pt>
                <c:pt idx="18">
                  <c:v>4.1519255937290298</c:v>
                </c:pt>
                <c:pt idx="19">
                  <c:v>3.7330631203646201</c:v>
                </c:pt>
                <c:pt idx="20">
                  <c:v>3.42614843854254</c:v>
                </c:pt>
                <c:pt idx="21">
                  <c:v>3.1046942005389702</c:v>
                </c:pt>
                <c:pt idx="22">
                  <c:v>2.9313253087950799</c:v>
                </c:pt>
                <c:pt idx="23">
                  <c:v>3.14644251418069</c:v>
                </c:pt>
                <c:pt idx="24">
                  <c:v>3.2738538284479799</c:v>
                </c:pt>
                <c:pt idx="25">
                  <c:v>2.2680604332454801</c:v>
                </c:pt>
                <c:pt idx="26">
                  <c:v>2.6224949926680501</c:v>
                </c:pt>
                <c:pt idx="27">
                  <c:v>2.5323272304292899</c:v>
                </c:pt>
                <c:pt idx="28">
                  <c:v>2.35742278454196</c:v>
                </c:pt>
                <c:pt idx="29">
                  <c:v>1.9572823343246299</c:v>
                </c:pt>
                <c:pt idx="30">
                  <c:v>1.40221470572033</c:v>
                </c:pt>
                <c:pt idx="31">
                  <c:v>2.05086074491276</c:v>
                </c:pt>
                <c:pt idx="32">
                  <c:v>2.0236150306016301</c:v>
                </c:pt>
                <c:pt idx="33">
                  <c:v>1.89530593253735</c:v>
                </c:pt>
                <c:pt idx="34">
                  <c:v>1.7370353727016401</c:v>
                </c:pt>
                <c:pt idx="35">
                  <c:v>1.8017442855274499</c:v>
                </c:pt>
                <c:pt idx="36">
                  <c:v>1.4794312397159199</c:v>
                </c:pt>
                <c:pt idx="37">
                  <c:v>2.2917489849367998</c:v>
                </c:pt>
                <c:pt idx="38">
                  <c:v>1.5352506074951999</c:v>
                </c:pt>
                <c:pt idx="39">
                  <c:v>1.6787962518035799</c:v>
                </c:pt>
                <c:pt idx="40">
                  <c:v>1.56325697149309</c:v>
                </c:pt>
                <c:pt idx="41">
                  <c:v>1.80091871595863</c:v>
                </c:pt>
                <c:pt idx="42">
                  <c:v>2.3194880574349099</c:v>
                </c:pt>
                <c:pt idx="43">
                  <c:v>1.7511881674908301</c:v>
                </c:pt>
                <c:pt idx="44">
                  <c:v>2.0687420142350401</c:v>
                </c:pt>
                <c:pt idx="45">
                  <c:v>2.03217703607495</c:v>
                </c:pt>
                <c:pt idx="46">
                  <c:v>2.1281197285598101</c:v>
                </c:pt>
                <c:pt idx="47">
                  <c:v>1.9598496422640199</c:v>
                </c:pt>
                <c:pt idx="48">
                  <c:v>2.0710839357851998</c:v>
                </c:pt>
                <c:pt idx="49">
                  <c:v>1.64871458128635</c:v>
                </c:pt>
                <c:pt idx="50">
                  <c:v>2.1619193444727598</c:v>
                </c:pt>
                <c:pt idx="51">
                  <c:v>2.4494878618885898</c:v>
                </c:pt>
                <c:pt idx="52">
                  <c:v>2.6953205934872799</c:v>
                </c:pt>
                <c:pt idx="53">
                  <c:v>2.6428929161809198</c:v>
                </c:pt>
                <c:pt idx="54">
                  <c:v>2.6343982833211301</c:v>
                </c:pt>
                <c:pt idx="55">
                  <c:v>2.46749924337092</c:v>
                </c:pt>
                <c:pt idx="56">
                  <c:v>2.5416262254712501</c:v>
                </c:pt>
                <c:pt idx="57">
                  <c:v>2.3685382437034801</c:v>
                </c:pt>
                <c:pt idx="58">
                  <c:v>2.1529446913956298</c:v>
                </c:pt>
                <c:pt idx="59">
                  <c:v>2.0445775388628902</c:v>
                </c:pt>
                <c:pt idx="60">
                  <c:v>1.5017237267261601</c:v>
                </c:pt>
                <c:pt idx="61">
                  <c:v>1.72714572165705</c:v>
                </c:pt>
                <c:pt idx="62">
                  <c:v>1.6273625195160599</c:v>
                </c:pt>
                <c:pt idx="63">
                  <c:v>0.93548281227229801</c:v>
                </c:pt>
                <c:pt idx="64">
                  <c:v>0.93404061822421403</c:v>
                </c:pt>
                <c:pt idx="65">
                  <c:v>1.0047996019837799</c:v>
                </c:pt>
                <c:pt idx="66">
                  <c:v>0.80871603079973398</c:v>
                </c:pt>
                <c:pt idx="67">
                  <c:v>0.99601081311590001</c:v>
                </c:pt>
                <c:pt idx="68">
                  <c:v>0.80875994615499402</c:v>
                </c:pt>
                <c:pt idx="69">
                  <c:v>1.0116086407743099</c:v>
                </c:pt>
                <c:pt idx="70">
                  <c:v>1.0889772712747099</c:v>
                </c:pt>
                <c:pt idx="71">
                  <c:v>1.08922115302395</c:v>
                </c:pt>
                <c:pt idx="72">
                  <c:v>1.1496852915218501</c:v>
                </c:pt>
                <c:pt idx="73">
                  <c:v>1.79709415993539</c:v>
                </c:pt>
                <c:pt idx="74">
                  <c:v>1.5935775116653399</c:v>
                </c:pt>
                <c:pt idx="75">
                  <c:v>1.54527278546077</c:v>
                </c:pt>
                <c:pt idx="76">
                  <c:v>1.2379043591335901</c:v>
                </c:pt>
                <c:pt idx="77">
                  <c:v>1.1193788478876801</c:v>
                </c:pt>
                <c:pt idx="78">
                  <c:v>1.08743387265431</c:v>
                </c:pt>
                <c:pt idx="79">
                  <c:v>1.16123494002042</c:v>
                </c:pt>
                <c:pt idx="80">
                  <c:v>1.0529502746733099</c:v>
                </c:pt>
                <c:pt idx="81">
                  <c:v>1.3349373892591101</c:v>
                </c:pt>
                <c:pt idx="82">
                  <c:v>1.52828863132598</c:v>
                </c:pt>
                <c:pt idx="83">
                  <c:v>1.33388527317797</c:v>
                </c:pt>
                <c:pt idx="84">
                  <c:v>1.76925506363528</c:v>
                </c:pt>
                <c:pt idx="85">
                  <c:v>0.62827303578299598</c:v>
                </c:pt>
                <c:pt idx="86">
                  <c:v>0.841553618367615</c:v>
                </c:pt>
                <c:pt idx="87">
                  <c:v>1.15795579365477</c:v>
                </c:pt>
                <c:pt idx="88">
                  <c:v>1.31356592594684</c:v>
                </c:pt>
                <c:pt idx="89">
                  <c:v>1.30129919215261</c:v>
                </c:pt>
                <c:pt idx="90">
                  <c:v>1.32547673596793</c:v>
                </c:pt>
                <c:pt idx="91">
                  <c:v>1.45342907621351</c:v>
                </c:pt>
                <c:pt idx="92">
                  <c:v>1.22449610287399</c:v>
                </c:pt>
                <c:pt idx="93">
                  <c:v>1.0609139094716</c:v>
                </c:pt>
                <c:pt idx="94">
                  <c:v>1.1152551069407399</c:v>
                </c:pt>
                <c:pt idx="95">
                  <c:v>1.4554283050509</c:v>
                </c:pt>
                <c:pt idx="96">
                  <c:v>1.3439720617213999</c:v>
                </c:pt>
                <c:pt idx="97">
                  <c:v>2.20389627764385</c:v>
                </c:pt>
                <c:pt idx="98">
                  <c:v>1.691370648213</c:v>
                </c:pt>
                <c:pt idx="99">
                  <c:v>1.49818183066124</c:v>
                </c:pt>
                <c:pt idx="100">
                  <c:v>1.5120941472251599</c:v>
                </c:pt>
                <c:pt idx="101">
                  <c:v>1.52469709935192</c:v>
                </c:pt>
                <c:pt idx="102">
                  <c:v>1.70781209422492</c:v>
                </c:pt>
                <c:pt idx="103">
                  <c:v>1.6745361794121201</c:v>
                </c:pt>
                <c:pt idx="104">
                  <c:v>2.1150350356302399</c:v>
                </c:pt>
                <c:pt idx="105">
                  <c:v>1.9572317093370599</c:v>
                </c:pt>
                <c:pt idx="106">
                  <c:v>1.5794662144609599</c:v>
                </c:pt>
                <c:pt idx="107">
                  <c:v>1.2360103341367099</c:v>
                </c:pt>
                <c:pt idx="108">
                  <c:v>1.0521336897094999</c:v>
                </c:pt>
                <c:pt idx="109">
                  <c:v>0.92869835464969797</c:v>
                </c:pt>
                <c:pt idx="110">
                  <c:v>1.1718467382547799</c:v>
                </c:pt>
                <c:pt idx="111">
                  <c:v>1.4655490574934</c:v>
                </c:pt>
                <c:pt idx="112">
                  <c:v>1.5032148575701001</c:v>
                </c:pt>
                <c:pt idx="113">
                  <c:v>1.6046929818929101</c:v>
                </c:pt>
                <c:pt idx="114">
                  <c:v>1.50680048057904</c:v>
                </c:pt>
                <c:pt idx="115">
                  <c:v>1.3780194519411599</c:v>
                </c:pt>
                <c:pt idx="116">
                  <c:v>1.38629155392258</c:v>
                </c:pt>
                <c:pt idx="117">
                  <c:v>1.52611528998515</c:v>
                </c:pt>
                <c:pt idx="118">
                  <c:v>1.78882634589189</c:v>
                </c:pt>
                <c:pt idx="119">
                  <c:v>2.0069855749469299</c:v>
                </c:pt>
                <c:pt idx="120">
                  <c:v>1.9823448586757599</c:v>
                </c:pt>
                <c:pt idx="121">
                  <c:v>1.69703576400087</c:v>
                </c:pt>
                <c:pt idx="122">
                  <c:v>1.5804425738318599</c:v>
                </c:pt>
                <c:pt idx="123">
                  <c:v>0.88041359197999203</c:v>
                </c:pt>
                <c:pt idx="124">
                  <c:v>0.57649091086855797</c:v>
                </c:pt>
                <c:pt idx="125">
                  <c:v>0.59215149487793595</c:v>
                </c:pt>
                <c:pt idx="126">
                  <c:v>0.112447841970702</c:v>
                </c:pt>
                <c:pt idx="127">
                  <c:v>0.54780716832537302</c:v>
                </c:pt>
                <c:pt idx="128">
                  <c:v>-9.6860333306108007E-2</c:v>
                </c:pt>
                <c:pt idx="129">
                  <c:v>-9.4033725294836598E-2</c:v>
                </c:pt>
                <c:pt idx="130">
                  <c:v>-0.21898217731341599</c:v>
                </c:pt>
                <c:pt idx="131">
                  <c:v>-0.24438900878433201</c:v>
                </c:pt>
                <c:pt idx="132">
                  <c:v>0.44460333580448402</c:v>
                </c:pt>
                <c:pt idx="133">
                  <c:v>0.51508135665052601</c:v>
                </c:pt>
                <c:pt idx="134">
                  <c:v>0.74436002271740098</c:v>
                </c:pt>
                <c:pt idx="135">
                  <c:v>1.0291374274874101</c:v>
                </c:pt>
                <c:pt idx="136">
                  <c:v>1.2748230259046101</c:v>
                </c:pt>
                <c:pt idx="137">
                  <c:v>1.0705214626909301</c:v>
                </c:pt>
                <c:pt idx="138">
                  <c:v>1.8184642299074101</c:v>
                </c:pt>
                <c:pt idx="139">
                  <c:v>1.3826836209217299</c:v>
                </c:pt>
                <c:pt idx="140">
                  <c:v>1.5111741404243899</c:v>
                </c:pt>
                <c:pt idx="141">
                  <c:v>1.82068795538908</c:v>
                </c:pt>
                <c:pt idx="142">
                  <c:v>2.2762864540674199</c:v>
                </c:pt>
                <c:pt idx="143">
                  <c:v>2.2068878146746802</c:v>
                </c:pt>
                <c:pt idx="144">
                  <c:v>1.78177991525002</c:v>
                </c:pt>
                <c:pt idx="145">
                  <c:v>1.8725846444766301</c:v>
                </c:pt>
                <c:pt idx="146">
                  <c:v>2.3179198347969798</c:v>
                </c:pt>
                <c:pt idx="147">
                  <c:v>2.7773691047331099</c:v>
                </c:pt>
                <c:pt idx="148">
                  <c:v>2.8897940303711498</c:v>
                </c:pt>
                <c:pt idx="149">
                  <c:v>3.2583954976802501</c:v>
                </c:pt>
                <c:pt idx="150">
                  <c:v>3.4162396053676098</c:v>
                </c:pt>
                <c:pt idx="151">
                  <c:v>3.1715977047222701</c:v>
                </c:pt>
                <c:pt idx="152">
                  <c:v>3.7916367009049599</c:v>
                </c:pt>
                <c:pt idx="153">
                  <c:v>3.2090291468770298</c:v>
                </c:pt>
                <c:pt idx="154">
                  <c:v>2.9053366219844698</c:v>
                </c:pt>
                <c:pt idx="155">
                  <c:v>3.1023479075289102</c:v>
                </c:pt>
                <c:pt idx="156">
                  <c:v>3.32377432712582</c:v>
                </c:pt>
                <c:pt idx="157">
                  <c:v>2.6801744123647202</c:v>
                </c:pt>
                <c:pt idx="158">
                  <c:v>2.4496483962290299</c:v>
                </c:pt>
                <c:pt idx="159">
                  <c:v>2.3841567233752601</c:v>
                </c:pt>
                <c:pt idx="160">
                  <c:v>2.1673960717699798</c:v>
                </c:pt>
                <c:pt idx="161">
                  <c:v>1.95281435479843</c:v>
                </c:pt>
                <c:pt idx="162">
                  <c:v>1.8190633244452901</c:v>
                </c:pt>
                <c:pt idx="163">
                  <c:v>2.2113504972456299</c:v>
                </c:pt>
              </c:numCache>
            </c:numRef>
          </c:val>
          <c:smooth val="0"/>
          <c:extLst>
            <c:ext xmlns:c16="http://schemas.microsoft.com/office/drawing/2014/chart" uri="{C3380CC4-5D6E-409C-BE32-E72D297353CC}">
              <c16:uniqueId val="{00000000-52AD-42FF-83A1-DD8CCE7608F5}"/>
            </c:ext>
          </c:extLst>
        </c:ser>
        <c:ser>
          <c:idx val="1"/>
          <c:order val="1"/>
          <c:tx>
            <c:strRef>
              <c:f>[asia_inflation.xlsx]data!$Q$1</c:f>
              <c:strCache>
                <c:ptCount val="1"/>
                <c:pt idx="0">
                  <c:v>Southeast Asia</c:v>
                </c:pt>
              </c:strCache>
            </c:strRef>
          </c:tx>
          <c:spPr>
            <a:ln w="28575" cap="rnd">
              <a:solidFill>
                <a:schemeClr val="accent2"/>
              </a:solidFill>
              <a:round/>
            </a:ln>
            <a:effectLst/>
          </c:spPr>
          <c:marker>
            <c:symbol val="none"/>
          </c:marker>
          <c:cat>
            <c:numRef>
              <c:f>[asia_inflation.xlsx]data!$A$2:$A$179</c:f>
              <c:numCache>
                <c:formatCode>m/d/yyyy</c:formatCode>
                <c:ptCount val="178"/>
                <c:pt idx="0">
                  <c:v>40209</c:v>
                </c:pt>
                <c:pt idx="1">
                  <c:v>40237</c:v>
                </c:pt>
                <c:pt idx="2">
                  <c:v>40268</c:v>
                </c:pt>
                <c:pt idx="3">
                  <c:v>40298</c:v>
                </c:pt>
                <c:pt idx="4">
                  <c:v>40329</c:v>
                </c:pt>
                <c:pt idx="5">
                  <c:v>40359</c:v>
                </c:pt>
                <c:pt idx="6">
                  <c:v>40390</c:v>
                </c:pt>
                <c:pt idx="7">
                  <c:v>40421</c:v>
                </c:pt>
                <c:pt idx="8">
                  <c:v>40451</c:v>
                </c:pt>
                <c:pt idx="9">
                  <c:v>40482</c:v>
                </c:pt>
                <c:pt idx="10">
                  <c:v>40512</c:v>
                </c:pt>
                <c:pt idx="11">
                  <c:v>40543</c:v>
                </c:pt>
                <c:pt idx="12">
                  <c:v>40574</c:v>
                </c:pt>
                <c:pt idx="13">
                  <c:v>40602</c:v>
                </c:pt>
                <c:pt idx="14">
                  <c:v>40633</c:v>
                </c:pt>
                <c:pt idx="15">
                  <c:v>40663</c:v>
                </c:pt>
                <c:pt idx="16">
                  <c:v>40694</c:v>
                </c:pt>
                <c:pt idx="17">
                  <c:v>40724</c:v>
                </c:pt>
                <c:pt idx="18">
                  <c:v>40755</c:v>
                </c:pt>
                <c:pt idx="19">
                  <c:v>40786</c:v>
                </c:pt>
                <c:pt idx="20">
                  <c:v>40816</c:v>
                </c:pt>
                <c:pt idx="21">
                  <c:v>40847</c:v>
                </c:pt>
                <c:pt idx="22">
                  <c:v>40877</c:v>
                </c:pt>
                <c:pt idx="23">
                  <c:v>40908</c:v>
                </c:pt>
                <c:pt idx="24">
                  <c:v>40939</c:v>
                </c:pt>
                <c:pt idx="25">
                  <c:v>40968</c:v>
                </c:pt>
                <c:pt idx="26">
                  <c:v>40999</c:v>
                </c:pt>
                <c:pt idx="27">
                  <c:v>41029</c:v>
                </c:pt>
                <c:pt idx="28">
                  <c:v>41060</c:v>
                </c:pt>
                <c:pt idx="29">
                  <c:v>41090</c:v>
                </c:pt>
                <c:pt idx="30">
                  <c:v>41121</c:v>
                </c:pt>
                <c:pt idx="31">
                  <c:v>41152</c:v>
                </c:pt>
                <c:pt idx="32">
                  <c:v>41182</c:v>
                </c:pt>
                <c:pt idx="33">
                  <c:v>41213</c:v>
                </c:pt>
                <c:pt idx="34">
                  <c:v>41243</c:v>
                </c:pt>
                <c:pt idx="35">
                  <c:v>41274</c:v>
                </c:pt>
                <c:pt idx="36">
                  <c:v>41305</c:v>
                </c:pt>
                <c:pt idx="37">
                  <c:v>41333</c:v>
                </c:pt>
                <c:pt idx="38">
                  <c:v>41364</c:v>
                </c:pt>
                <c:pt idx="39">
                  <c:v>41394</c:v>
                </c:pt>
                <c:pt idx="40">
                  <c:v>41425</c:v>
                </c:pt>
                <c:pt idx="41">
                  <c:v>41455</c:v>
                </c:pt>
                <c:pt idx="42">
                  <c:v>41486</c:v>
                </c:pt>
                <c:pt idx="43">
                  <c:v>41517</c:v>
                </c:pt>
                <c:pt idx="44">
                  <c:v>41547</c:v>
                </c:pt>
                <c:pt idx="45">
                  <c:v>41578</c:v>
                </c:pt>
                <c:pt idx="46">
                  <c:v>41608</c:v>
                </c:pt>
                <c:pt idx="47">
                  <c:v>41639</c:v>
                </c:pt>
                <c:pt idx="48">
                  <c:v>41670</c:v>
                </c:pt>
                <c:pt idx="49">
                  <c:v>41698</c:v>
                </c:pt>
                <c:pt idx="50">
                  <c:v>41729</c:v>
                </c:pt>
                <c:pt idx="51">
                  <c:v>41759</c:v>
                </c:pt>
                <c:pt idx="52">
                  <c:v>41790</c:v>
                </c:pt>
                <c:pt idx="53">
                  <c:v>41820</c:v>
                </c:pt>
                <c:pt idx="54">
                  <c:v>41851</c:v>
                </c:pt>
                <c:pt idx="55">
                  <c:v>41882</c:v>
                </c:pt>
                <c:pt idx="56">
                  <c:v>41912</c:v>
                </c:pt>
                <c:pt idx="57">
                  <c:v>41943</c:v>
                </c:pt>
                <c:pt idx="58">
                  <c:v>41973</c:v>
                </c:pt>
                <c:pt idx="59">
                  <c:v>42004</c:v>
                </c:pt>
                <c:pt idx="60">
                  <c:v>42035</c:v>
                </c:pt>
                <c:pt idx="61">
                  <c:v>42063</c:v>
                </c:pt>
                <c:pt idx="62">
                  <c:v>42094</c:v>
                </c:pt>
                <c:pt idx="63">
                  <c:v>42124</c:v>
                </c:pt>
                <c:pt idx="64">
                  <c:v>42155</c:v>
                </c:pt>
                <c:pt idx="65">
                  <c:v>42185</c:v>
                </c:pt>
                <c:pt idx="66">
                  <c:v>42216</c:v>
                </c:pt>
                <c:pt idx="67">
                  <c:v>42247</c:v>
                </c:pt>
                <c:pt idx="68">
                  <c:v>42277</c:v>
                </c:pt>
                <c:pt idx="69">
                  <c:v>42308</c:v>
                </c:pt>
                <c:pt idx="70">
                  <c:v>42338</c:v>
                </c:pt>
                <c:pt idx="71">
                  <c:v>42369</c:v>
                </c:pt>
                <c:pt idx="72">
                  <c:v>42400</c:v>
                </c:pt>
                <c:pt idx="73">
                  <c:v>42429</c:v>
                </c:pt>
                <c:pt idx="74">
                  <c:v>42460</c:v>
                </c:pt>
                <c:pt idx="75">
                  <c:v>42490</c:v>
                </c:pt>
                <c:pt idx="76">
                  <c:v>42521</c:v>
                </c:pt>
                <c:pt idx="77">
                  <c:v>42551</c:v>
                </c:pt>
                <c:pt idx="78">
                  <c:v>42582</c:v>
                </c:pt>
                <c:pt idx="79">
                  <c:v>42613</c:v>
                </c:pt>
                <c:pt idx="80">
                  <c:v>42643</c:v>
                </c:pt>
                <c:pt idx="81">
                  <c:v>42674</c:v>
                </c:pt>
                <c:pt idx="82">
                  <c:v>42704</c:v>
                </c:pt>
                <c:pt idx="83">
                  <c:v>42735</c:v>
                </c:pt>
                <c:pt idx="84">
                  <c:v>42766</c:v>
                </c:pt>
                <c:pt idx="85">
                  <c:v>42794</c:v>
                </c:pt>
                <c:pt idx="86">
                  <c:v>42825</c:v>
                </c:pt>
                <c:pt idx="87">
                  <c:v>42855</c:v>
                </c:pt>
                <c:pt idx="88">
                  <c:v>42886</c:v>
                </c:pt>
                <c:pt idx="89">
                  <c:v>42916</c:v>
                </c:pt>
                <c:pt idx="90">
                  <c:v>42947</c:v>
                </c:pt>
                <c:pt idx="91">
                  <c:v>42978</c:v>
                </c:pt>
                <c:pt idx="92">
                  <c:v>43008</c:v>
                </c:pt>
                <c:pt idx="93">
                  <c:v>43039</c:v>
                </c:pt>
                <c:pt idx="94">
                  <c:v>43069</c:v>
                </c:pt>
                <c:pt idx="95">
                  <c:v>43100</c:v>
                </c:pt>
                <c:pt idx="96">
                  <c:v>43131</c:v>
                </c:pt>
                <c:pt idx="97">
                  <c:v>43159</c:v>
                </c:pt>
                <c:pt idx="98">
                  <c:v>43190</c:v>
                </c:pt>
                <c:pt idx="99">
                  <c:v>43220</c:v>
                </c:pt>
                <c:pt idx="100">
                  <c:v>43251</c:v>
                </c:pt>
                <c:pt idx="101">
                  <c:v>43281</c:v>
                </c:pt>
                <c:pt idx="102">
                  <c:v>43312</c:v>
                </c:pt>
                <c:pt idx="103">
                  <c:v>43343</c:v>
                </c:pt>
                <c:pt idx="104">
                  <c:v>43373</c:v>
                </c:pt>
                <c:pt idx="105">
                  <c:v>43404</c:v>
                </c:pt>
                <c:pt idx="106">
                  <c:v>43434</c:v>
                </c:pt>
                <c:pt idx="107">
                  <c:v>43465</c:v>
                </c:pt>
                <c:pt idx="108">
                  <c:v>43496</c:v>
                </c:pt>
                <c:pt idx="109">
                  <c:v>43524</c:v>
                </c:pt>
                <c:pt idx="110">
                  <c:v>43555</c:v>
                </c:pt>
                <c:pt idx="111">
                  <c:v>43585</c:v>
                </c:pt>
                <c:pt idx="112">
                  <c:v>43616</c:v>
                </c:pt>
                <c:pt idx="113">
                  <c:v>43646</c:v>
                </c:pt>
                <c:pt idx="114">
                  <c:v>43677</c:v>
                </c:pt>
                <c:pt idx="115">
                  <c:v>43708</c:v>
                </c:pt>
                <c:pt idx="116">
                  <c:v>43738</c:v>
                </c:pt>
                <c:pt idx="117">
                  <c:v>43769</c:v>
                </c:pt>
                <c:pt idx="118">
                  <c:v>43799</c:v>
                </c:pt>
                <c:pt idx="119">
                  <c:v>43830</c:v>
                </c:pt>
                <c:pt idx="120">
                  <c:v>43861</c:v>
                </c:pt>
                <c:pt idx="121">
                  <c:v>43890</c:v>
                </c:pt>
                <c:pt idx="122">
                  <c:v>43921</c:v>
                </c:pt>
                <c:pt idx="123">
                  <c:v>43951</c:v>
                </c:pt>
                <c:pt idx="124">
                  <c:v>43982</c:v>
                </c:pt>
                <c:pt idx="125">
                  <c:v>44012</c:v>
                </c:pt>
                <c:pt idx="126">
                  <c:v>44043</c:v>
                </c:pt>
                <c:pt idx="127">
                  <c:v>44074</c:v>
                </c:pt>
                <c:pt idx="128">
                  <c:v>44104</c:v>
                </c:pt>
                <c:pt idx="129">
                  <c:v>44135</c:v>
                </c:pt>
                <c:pt idx="130">
                  <c:v>44165</c:v>
                </c:pt>
                <c:pt idx="131">
                  <c:v>44196</c:v>
                </c:pt>
                <c:pt idx="132">
                  <c:v>44227</c:v>
                </c:pt>
                <c:pt idx="133">
                  <c:v>44255</c:v>
                </c:pt>
                <c:pt idx="134">
                  <c:v>44286</c:v>
                </c:pt>
                <c:pt idx="135">
                  <c:v>44316</c:v>
                </c:pt>
                <c:pt idx="136">
                  <c:v>44347</c:v>
                </c:pt>
                <c:pt idx="137">
                  <c:v>44377</c:v>
                </c:pt>
                <c:pt idx="138">
                  <c:v>44408</c:v>
                </c:pt>
                <c:pt idx="139">
                  <c:v>44439</c:v>
                </c:pt>
                <c:pt idx="140">
                  <c:v>44469</c:v>
                </c:pt>
                <c:pt idx="141">
                  <c:v>44500</c:v>
                </c:pt>
                <c:pt idx="142">
                  <c:v>44530</c:v>
                </c:pt>
                <c:pt idx="143">
                  <c:v>44561</c:v>
                </c:pt>
                <c:pt idx="144">
                  <c:v>44592</c:v>
                </c:pt>
                <c:pt idx="145">
                  <c:v>44620</c:v>
                </c:pt>
                <c:pt idx="146">
                  <c:v>44651</c:v>
                </c:pt>
                <c:pt idx="147">
                  <c:v>44681</c:v>
                </c:pt>
                <c:pt idx="148">
                  <c:v>44712</c:v>
                </c:pt>
                <c:pt idx="149">
                  <c:v>44742</c:v>
                </c:pt>
                <c:pt idx="150">
                  <c:v>44773</c:v>
                </c:pt>
                <c:pt idx="151">
                  <c:v>44804</c:v>
                </c:pt>
                <c:pt idx="152">
                  <c:v>44834</c:v>
                </c:pt>
                <c:pt idx="153">
                  <c:v>44865</c:v>
                </c:pt>
                <c:pt idx="154">
                  <c:v>44895</c:v>
                </c:pt>
                <c:pt idx="155">
                  <c:v>44926</c:v>
                </c:pt>
                <c:pt idx="156">
                  <c:v>44957</c:v>
                </c:pt>
                <c:pt idx="157">
                  <c:v>44985</c:v>
                </c:pt>
                <c:pt idx="158">
                  <c:v>45016</c:v>
                </c:pt>
                <c:pt idx="159">
                  <c:v>45046</c:v>
                </c:pt>
                <c:pt idx="160">
                  <c:v>45077</c:v>
                </c:pt>
                <c:pt idx="161">
                  <c:v>45107</c:v>
                </c:pt>
                <c:pt idx="162">
                  <c:v>45138</c:v>
                </c:pt>
                <c:pt idx="163">
                  <c:v>45169</c:v>
                </c:pt>
              </c:numCache>
            </c:numRef>
          </c:cat>
          <c:val>
            <c:numRef>
              <c:f>[asia_inflation.xlsx]data!$Q$2:$Q$179</c:f>
              <c:numCache>
                <c:formatCode>General</c:formatCode>
                <c:ptCount val="178"/>
                <c:pt idx="0">
                  <c:v>3.4716666666666698</c:v>
                </c:pt>
                <c:pt idx="1">
                  <c:v>3.6733333333333298</c:v>
                </c:pt>
                <c:pt idx="2">
                  <c:v>3.8516666666666701</c:v>
                </c:pt>
                <c:pt idx="3">
                  <c:v>4.1349999999999998</c:v>
                </c:pt>
                <c:pt idx="4">
                  <c:v>4.2050000000000001</c:v>
                </c:pt>
                <c:pt idx="5">
                  <c:v>4.1616666666666697</c:v>
                </c:pt>
                <c:pt idx="6">
                  <c:v>4.415</c:v>
                </c:pt>
                <c:pt idx="7">
                  <c:v>4.5483333333333302</c:v>
                </c:pt>
                <c:pt idx="8">
                  <c:v>4.4950000000000001</c:v>
                </c:pt>
                <c:pt idx="9">
                  <c:v>4.4633333333333303</c:v>
                </c:pt>
                <c:pt idx="10">
                  <c:v>4.9233333333333302</c:v>
                </c:pt>
                <c:pt idx="11">
                  <c:v>5.3333333333333304</c:v>
                </c:pt>
                <c:pt idx="12">
                  <c:v>5.6866666666666701</c:v>
                </c:pt>
                <c:pt idx="13">
                  <c:v>5.77</c:v>
                </c:pt>
                <c:pt idx="14">
                  <c:v>6.0966666666666702</c:v>
                </c:pt>
                <c:pt idx="15">
                  <c:v>6.68333333333333</c:v>
                </c:pt>
                <c:pt idx="16">
                  <c:v>7.10666666666667</c:v>
                </c:pt>
                <c:pt idx="17">
                  <c:v>7.3849999999999998</c:v>
                </c:pt>
                <c:pt idx="18">
                  <c:v>7.4249999999999998</c:v>
                </c:pt>
                <c:pt idx="19">
                  <c:v>7.6116666666666699</c:v>
                </c:pt>
                <c:pt idx="20">
                  <c:v>7.4366666666666701</c:v>
                </c:pt>
                <c:pt idx="21">
                  <c:v>7.3650000000000002</c:v>
                </c:pt>
                <c:pt idx="22">
                  <c:v>6.9749999999999996</c:v>
                </c:pt>
                <c:pt idx="23">
                  <c:v>6.3583333333333298</c:v>
                </c:pt>
                <c:pt idx="24">
                  <c:v>5.98</c:v>
                </c:pt>
                <c:pt idx="25">
                  <c:v>5.51</c:v>
                </c:pt>
                <c:pt idx="26">
                  <c:v>5.2783333333333298</c:v>
                </c:pt>
                <c:pt idx="27">
                  <c:v>4.6550000000000002</c:v>
                </c:pt>
                <c:pt idx="28">
                  <c:v>4.1349999999999998</c:v>
                </c:pt>
                <c:pt idx="29">
                  <c:v>3.8983333333333299</c:v>
                </c:pt>
                <c:pt idx="30">
                  <c:v>3.4649999999999999</c:v>
                </c:pt>
                <c:pt idx="31">
                  <c:v>3.47</c:v>
                </c:pt>
                <c:pt idx="32">
                  <c:v>3.8783333333333299</c:v>
                </c:pt>
                <c:pt idx="33">
                  <c:v>3.8216666666666699</c:v>
                </c:pt>
                <c:pt idx="34">
                  <c:v>3.5516666666666699</c:v>
                </c:pt>
                <c:pt idx="35">
                  <c:v>3.7466666666666701</c:v>
                </c:pt>
                <c:pt idx="36">
                  <c:v>3.665</c:v>
                </c:pt>
                <c:pt idx="37">
                  <c:v>4.0250000000000004</c:v>
                </c:pt>
                <c:pt idx="38">
                  <c:v>3.69166666666667</c:v>
                </c:pt>
                <c:pt idx="39">
                  <c:v>3.2149999999999999</c:v>
                </c:pt>
                <c:pt idx="40">
                  <c:v>3.2050000000000001</c:v>
                </c:pt>
                <c:pt idx="41">
                  <c:v>3.4083333333333301</c:v>
                </c:pt>
                <c:pt idx="42">
                  <c:v>3.93</c:v>
                </c:pt>
                <c:pt idx="43">
                  <c:v>3.82833333333333</c:v>
                </c:pt>
                <c:pt idx="44">
                  <c:v>3.6883333333333299</c:v>
                </c:pt>
                <c:pt idx="45">
                  <c:v>3.75166666666667</c:v>
                </c:pt>
                <c:pt idx="46">
                  <c:v>4.0283333333333298</c:v>
                </c:pt>
                <c:pt idx="47">
                  <c:v>4.0483333333333302</c:v>
                </c:pt>
                <c:pt idx="48">
                  <c:v>4.0166666666666702</c:v>
                </c:pt>
                <c:pt idx="49">
                  <c:v>3.64333333333333</c:v>
                </c:pt>
                <c:pt idx="50">
                  <c:v>3.6683333333333299</c:v>
                </c:pt>
                <c:pt idx="51">
                  <c:v>3.91</c:v>
                </c:pt>
                <c:pt idx="52">
                  <c:v>4.0250000000000004</c:v>
                </c:pt>
                <c:pt idx="53">
                  <c:v>3.8383333333333298</c:v>
                </c:pt>
                <c:pt idx="54">
                  <c:v>3.3883333333333301</c:v>
                </c:pt>
                <c:pt idx="55">
                  <c:v>3.1483333333333299</c:v>
                </c:pt>
                <c:pt idx="56">
                  <c:v>2.85</c:v>
                </c:pt>
                <c:pt idx="57">
                  <c:v>2.7066666666666701</c:v>
                </c:pt>
                <c:pt idx="58">
                  <c:v>2.6316666666666699</c:v>
                </c:pt>
                <c:pt idx="59">
                  <c:v>2.5499999999999998</c:v>
                </c:pt>
                <c:pt idx="60">
                  <c:v>1.6</c:v>
                </c:pt>
                <c:pt idx="61">
                  <c:v>1.2333333333333301</c:v>
                </c:pt>
                <c:pt idx="62">
                  <c:v>1.4750000000000001</c:v>
                </c:pt>
                <c:pt idx="63">
                  <c:v>1.5733333333333299</c:v>
                </c:pt>
                <c:pt idx="64">
                  <c:v>1.5716666666666701</c:v>
                </c:pt>
                <c:pt idx="65">
                  <c:v>1.6666666666666701</c:v>
                </c:pt>
                <c:pt idx="66">
                  <c:v>1.70166666666667</c:v>
                </c:pt>
                <c:pt idx="67">
                  <c:v>1.4833333333333301</c:v>
                </c:pt>
                <c:pt idx="68">
                  <c:v>1.2266666666666699</c:v>
                </c:pt>
                <c:pt idx="69">
                  <c:v>1.16333333333333</c:v>
                </c:pt>
                <c:pt idx="70">
                  <c:v>1.05833333333333</c:v>
                </c:pt>
                <c:pt idx="71">
                  <c:v>0.98166666666666702</c:v>
                </c:pt>
                <c:pt idx="72">
                  <c:v>1.3333333333333299</c:v>
                </c:pt>
                <c:pt idx="73">
                  <c:v>1.5149999999999999</c:v>
                </c:pt>
                <c:pt idx="74">
                  <c:v>1.3133333333333299</c:v>
                </c:pt>
                <c:pt idx="75">
                  <c:v>1.30833333333333</c:v>
                </c:pt>
                <c:pt idx="76">
                  <c:v>1.2283333333333299</c:v>
                </c:pt>
                <c:pt idx="77">
                  <c:v>1.4066666666666701</c:v>
                </c:pt>
                <c:pt idx="78">
                  <c:v>1.2350000000000001</c:v>
                </c:pt>
                <c:pt idx="79">
                  <c:v>1.3583333333333301</c:v>
                </c:pt>
                <c:pt idx="80">
                  <c:v>1.6316666666666699</c:v>
                </c:pt>
                <c:pt idx="81">
                  <c:v>1.80666666666667</c:v>
                </c:pt>
                <c:pt idx="82">
                  <c:v>2.085</c:v>
                </c:pt>
                <c:pt idx="83">
                  <c:v>2.16333333333333</c:v>
                </c:pt>
                <c:pt idx="84">
                  <c:v>2.7433333333333301</c:v>
                </c:pt>
                <c:pt idx="85">
                  <c:v>3.1</c:v>
                </c:pt>
                <c:pt idx="86">
                  <c:v>2.95333333333333</c:v>
                </c:pt>
                <c:pt idx="87">
                  <c:v>2.7916666666666701</c:v>
                </c:pt>
                <c:pt idx="88">
                  <c:v>2.5966666666666698</c:v>
                </c:pt>
                <c:pt idx="89">
                  <c:v>2.21</c:v>
                </c:pt>
                <c:pt idx="90">
                  <c:v>2.11</c:v>
                </c:pt>
                <c:pt idx="91">
                  <c:v>2.3483333333333301</c:v>
                </c:pt>
                <c:pt idx="92">
                  <c:v>2.5966666666666698</c:v>
                </c:pt>
                <c:pt idx="93">
                  <c:v>2.4366666666666701</c:v>
                </c:pt>
                <c:pt idx="94">
                  <c:v>2.31666666666667</c:v>
                </c:pt>
                <c:pt idx="95">
                  <c:v>2.2983333333333298</c:v>
                </c:pt>
                <c:pt idx="96">
                  <c:v>2.1133333333333302</c:v>
                </c:pt>
                <c:pt idx="97">
                  <c:v>2.0550000000000002</c:v>
                </c:pt>
                <c:pt idx="98">
                  <c:v>2.1116666666666699</c:v>
                </c:pt>
                <c:pt idx="99">
                  <c:v>2.1783333333333301</c:v>
                </c:pt>
                <c:pt idx="100">
                  <c:v>2.57833333333333</c:v>
                </c:pt>
                <c:pt idx="101">
                  <c:v>2.6183333333333301</c:v>
                </c:pt>
                <c:pt idx="102">
                  <c:v>2.7666666666666702</c:v>
                </c:pt>
                <c:pt idx="103">
                  <c:v>2.7450000000000001</c:v>
                </c:pt>
                <c:pt idx="104">
                  <c:v>2.7050000000000001</c:v>
                </c:pt>
                <c:pt idx="105">
                  <c:v>2.7749999999999999</c:v>
                </c:pt>
                <c:pt idx="106">
                  <c:v>2.4016666666666699</c:v>
                </c:pt>
                <c:pt idx="107">
                  <c:v>2.0649999999999999</c:v>
                </c:pt>
                <c:pt idx="108">
                  <c:v>1.62333333333333</c:v>
                </c:pt>
                <c:pt idx="109">
                  <c:v>1.655</c:v>
                </c:pt>
                <c:pt idx="110">
                  <c:v>1.7949999999999999</c:v>
                </c:pt>
                <c:pt idx="111">
                  <c:v>1.87333333333333</c:v>
                </c:pt>
                <c:pt idx="112">
                  <c:v>1.8983333333333301</c:v>
                </c:pt>
                <c:pt idx="113">
                  <c:v>1.76166666666667</c:v>
                </c:pt>
                <c:pt idx="114">
                  <c:v>1.67333333333333</c:v>
                </c:pt>
                <c:pt idx="115">
                  <c:v>1.5233333333333301</c:v>
                </c:pt>
                <c:pt idx="116">
                  <c:v>1.2366666666666699</c:v>
                </c:pt>
                <c:pt idx="117">
                  <c:v>1.2350000000000001</c:v>
                </c:pt>
                <c:pt idx="118">
                  <c:v>1.52</c:v>
                </c:pt>
                <c:pt idx="119">
                  <c:v>2.15</c:v>
                </c:pt>
                <c:pt idx="120">
                  <c:v>2.5950000000000002</c:v>
                </c:pt>
                <c:pt idx="121">
                  <c:v>2.2016666666666702</c:v>
                </c:pt>
                <c:pt idx="122">
                  <c:v>1.54833333333333</c:v>
                </c:pt>
                <c:pt idx="123">
                  <c:v>0.13500000000000001</c:v>
                </c:pt>
                <c:pt idx="124">
                  <c:v>-0.15833333333333299</c:v>
                </c:pt>
                <c:pt idx="125">
                  <c:v>0.57499999999999996</c:v>
                </c:pt>
                <c:pt idx="126">
                  <c:v>0.77500000000000002</c:v>
                </c:pt>
                <c:pt idx="127">
                  <c:v>0.73333333333333295</c:v>
                </c:pt>
                <c:pt idx="128">
                  <c:v>0.75</c:v>
                </c:pt>
                <c:pt idx="129">
                  <c:v>0.668333333333333</c:v>
                </c:pt>
                <c:pt idx="130">
                  <c:v>0.64333333333333298</c:v>
                </c:pt>
                <c:pt idx="131">
                  <c:v>0.58333333333333304</c:v>
                </c:pt>
                <c:pt idx="132">
                  <c:v>0.65666666666666695</c:v>
                </c:pt>
                <c:pt idx="133">
                  <c:v>0.98499999999999999</c:v>
                </c:pt>
                <c:pt idx="134">
                  <c:v>1.5916666666666699</c:v>
                </c:pt>
                <c:pt idx="135">
                  <c:v>3.0716666666666699</c:v>
                </c:pt>
                <c:pt idx="136">
                  <c:v>2.9866666666666699</c:v>
                </c:pt>
                <c:pt idx="137">
                  <c:v>2.415</c:v>
                </c:pt>
                <c:pt idx="138">
                  <c:v>2.1683333333333299</c:v>
                </c:pt>
                <c:pt idx="139">
                  <c:v>2.1983333333333301</c:v>
                </c:pt>
                <c:pt idx="140">
                  <c:v>2.37333333333333</c:v>
                </c:pt>
                <c:pt idx="141">
                  <c:v>2.6516666666666699</c:v>
                </c:pt>
                <c:pt idx="142">
                  <c:v>2.89333333333333</c:v>
                </c:pt>
                <c:pt idx="143">
                  <c:v>2.69166666666667</c:v>
                </c:pt>
                <c:pt idx="144">
                  <c:v>2.7749999999999999</c:v>
                </c:pt>
                <c:pt idx="145">
                  <c:v>3.0433333333333299</c:v>
                </c:pt>
                <c:pt idx="146">
                  <c:v>3.73</c:v>
                </c:pt>
                <c:pt idx="147">
                  <c:v>3.89333333333333</c:v>
                </c:pt>
                <c:pt idx="148">
                  <c:v>4.5516666666666703</c:v>
                </c:pt>
                <c:pt idx="149">
                  <c:v>5.2633333333333301</c:v>
                </c:pt>
                <c:pt idx="150">
                  <c:v>5.5816666666666697</c:v>
                </c:pt>
                <c:pt idx="151">
                  <c:v>5.6566666666666698</c:v>
                </c:pt>
                <c:pt idx="152">
                  <c:v>5.8666666666666698</c:v>
                </c:pt>
                <c:pt idx="153">
                  <c:v>5.73166666666667</c:v>
                </c:pt>
                <c:pt idx="154">
                  <c:v>5.6733333333333302</c:v>
                </c:pt>
                <c:pt idx="155">
                  <c:v>5.7249999999999996</c:v>
                </c:pt>
                <c:pt idx="156">
                  <c:v>5.6983333333333297</c:v>
                </c:pt>
                <c:pt idx="157">
                  <c:v>5.3616666666666699</c:v>
                </c:pt>
                <c:pt idx="158">
                  <c:v>4.6083333333333298</c:v>
                </c:pt>
                <c:pt idx="159">
                  <c:v>4.2350000000000003</c:v>
                </c:pt>
                <c:pt idx="160">
                  <c:v>3.4933333333333301</c:v>
                </c:pt>
                <c:pt idx="161">
                  <c:v>3.0083333333333302</c:v>
                </c:pt>
                <c:pt idx="162">
                  <c:v>2.72</c:v>
                </c:pt>
                <c:pt idx="163">
                  <c:v>3.0683333333333298</c:v>
                </c:pt>
              </c:numCache>
            </c:numRef>
          </c:val>
          <c:smooth val="0"/>
          <c:extLst>
            <c:ext xmlns:c16="http://schemas.microsoft.com/office/drawing/2014/chart" uri="{C3380CC4-5D6E-409C-BE32-E72D297353CC}">
              <c16:uniqueId val="{00000001-52AD-42FF-83A1-DD8CCE7608F5}"/>
            </c:ext>
          </c:extLst>
        </c:ser>
        <c:ser>
          <c:idx val="2"/>
          <c:order val="2"/>
          <c:tx>
            <c:strRef>
              <c:f>[asia_inflation.xlsx]data!$N$1</c:f>
              <c:strCache>
                <c:ptCount val="1"/>
                <c:pt idx="0">
                  <c:v>Australia</c:v>
                </c:pt>
              </c:strCache>
            </c:strRef>
          </c:tx>
          <c:spPr>
            <a:ln w="28575" cap="rnd">
              <a:solidFill>
                <a:schemeClr val="accent3"/>
              </a:solidFill>
              <a:round/>
            </a:ln>
            <a:effectLst/>
          </c:spPr>
          <c:marker>
            <c:symbol val="none"/>
          </c:marker>
          <c:cat>
            <c:numRef>
              <c:f>[asia_inflation.xlsx]data!$A$2:$A$179</c:f>
              <c:numCache>
                <c:formatCode>m/d/yyyy</c:formatCode>
                <c:ptCount val="178"/>
                <c:pt idx="0">
                  <c:v>40209</c:v>
                </c:pt>
                <c:pt idx="1">
                  <c:v>40237</c:v>
                </c:pt>
                <c:pt idx="2">
                  <c:v>40268</c:v>
                </c:pt>
                <c:pt idx="3">
                  <c:v>40298</c:v>
                </c:pt>
                <c:pt idx="4">
                  <c:v>40329</c:v>
                </c:pt>
                <c:pt idx="5">
                  <c:v>40359</c:v>
                </c:pt>
                <c:pt idx="6">
                  <c:v>40390</c:v>
                </c:pt>
                <c:pt idx="7">
                  <c:v>40421</c:v>
                </c:pt>
                <c:pt idx="8">
                  <c:v>40451</c:v>
                </c:pt>
                <c:pt idx="9">
                  <c:v>40482</c:v>
                </c:pt>
                <c:pt idx="10">
                  <c:v>40512</c:v>
                </c:pt>
                <c:pt idx="11">
                  <c:v>40543</c:v>
                </c:pt>
                <c:pt idx="12">
                  <c:v>40574</c:v>
                </c:pt>
                <c:pt idx="13">
                  <c:v>40602</c:v>
                </c:pt>
                <c:pt idx="14">
                  <c:v>40633</c:v>
                </c:pt>
                <c:pt idx="15">
                  <c:v>40663</c:v>
                </c:pt>
                <c:pt idx="16">
                  <c:v>40694</c:v>
                </c:pt>
                <c:pt idx="17">
                  <c:v>40724</c:v>
                </c:pt>
                <c:pt idx="18">
                  <c:v>40755</c:v>
                </c:pt>
                <c:pt idx="19">
                  <c:v>40786</c:v>
                </c:pt>
                <c:pt idx="20">
                  <c:v>40816</c:v>
                </c:pt>
                <c:pt idx="21">
                  <c:v>40847</c:v>
                </c:pt>
                <c:pt idx="22">
                  <c:v>40877</c:v>
                </c:pt>
                <c:pt idx="23">
                  <c:v>40908</c:v>
                </c:pt>
                <c:pt idx="24">
                  <c:v>40939</c:v>
                </c:pt>
                <c:pt idx="25">
                  <c:v>40968</c:v>
                </c:pt>
                <c:pt idx="26">
                  <c:v>40999</c:v>
                </c:pt>
                <c:pt idx="27">
                  <c:v>41029</c:v>
                </c:pt>
                <c:pt idx="28">
                  <c:v>41060</c:v>
                </c:pt>
                <c:pt idx="29">
                  <c:v>41090</c:v>
                </c:pt>
                <c:pt idx="30">
                  <c:v>41121</c:v>
                </c:pt>
                <c:pt idx="31">
                  <c:v>41152</c:v>
                </c:pt>
                <c:pt idx="32">
                  <c:v>41182</c:v>
                </c:pt>
                <c:pt idx="33">
                  <c:v>41213</c:v>
                </c:pt>
                <c:pt idx="34">
                  <c:v>41243</c:v>
                </c:pt>
                <c:pt idx="35">
                  <c:v>41274</c:v>
                </c:pt>
                <c:pt idx="36">
                  <c:v>41305</c:v>
                </c:pt>
                <c:pt idx="37">
                  <c:v>41333</c:v>
                </c:pt>
                <c:pt idx="38">
                  <c:v>41364</c:v>
                </c:pt>
                <c:pt idx="39">
                  <c:v>41394</c:v>
                </c:pt>
                <c:pt idx="40">
                  <c:v>41425</c:v>
                </c:pt>
                <c:pt idx="41">
                  <c:v>41455</c:v>
                </c:pt>
                <c:pt idx="42">
                  <c:v>41486</c:v>
                </c:pt>
                <c:pt idx="43">
                  <c:v>41517</c:v>
                </c:pt>
                <c:pt idx="44">
                  <c:v>41547</c:v>
                </c:pt>
                <c:pt idx="45">
                  <c:v>41578</c:v>
                </c:pt>
                <c:pt idx="46">
                  <c:v>41608</c:v>
                </c:pt>
                <c:pt idx="47">
                  <c:v>41639</c:v>
                </c:pt>
                <c:pt idx="48">
                  <c:v>41670</c:v>
                </c:pt>
                <c:pt idx="49">
                  <c:v>41698</c:v>
                </c:pt>
                <c:pt idx="50">
                  <c:v>41729</c:v>
                </c:pt>
                <c:pt idx="51">
                  <c:v>41759</c:v>
                </c:pt>
                <c:pt idx="52">
                  <c:v>41790</c:v>
                </c:pt>
                <c:pt idx="53">
                  <c:v>41820</c:v>
                </c:pt>
                <c:pt idx="54">
                  <c:v>41851</c:v>
                </c:pt>
                <c:pt idx="55">
                  <c:v>41882</c:v>
                </c:pt>
                <c:pt idx="56">
                  <c:v>41912</c:v>
                </c:pt>
                <c:pt idx="57">
                  <c:v>41943</c:v>
                </c:pt>
                <c:pt idx="58">
                  <c:v>41973</c:v>
                </c:pt>
                <c:pt idx="59">
                  <c:v>42004</c:v>
                </c:pt>
                <c:pt idx="60">
                  <c:v>42035</c:v>
                </c:pt>
                <c:pt idx="61">
                  <c:v>42063</c:v>
                </c:pt>
                <c:pt idx="62">
                  <c:v>42094</c:v>
                </c:pt>
                <c:pt idx="63">
                  <c:v>42124</c:v>
                </c:pt>
                <c:pt idx="64">
                  <c:v>42155</c:v>
                </c:pt>
                <c:pt idx="65">
                  <c:v>42185</c:v>
                </c:pt>
                <c:pt idx="66">
                  <c:v>42216</c:v>
                </c:pt>
                <c:pt idx="67">
                  <c:v>42247</c:v>
                </c:pt>
                <c:pt idx="68">
                  <c:v>42277</c:v>
                </c:pt>
                <c:pt idx="69">
                  <c:v>42308</c:v>
                </c:pt>
                <c:pt idx="70">
                  <c:v>42338</c:v>
                </c:pt>
                <c:pt idx="71">
                  <c:v>42369</c:v>
                </c:pt>
                <c:pt idx="72">
                  <c:v>42400</c:v>
                </c:pt>
                <c:pt idx="73">
                  <c:v>42429</c:v>
                </c:pt>
                <c:pt idx="74">
                  <c:v>42460</c:v>
                </c:pt>
                <c:pt idx="75">
                  <c:v>42490</c:v>
                </c:pt>
                <c:pt idx="76">
                  <c:v>42521</c:v>
                </c:pt>
                <c:pt idx="77">
                  <c:v>42551</c:v>
                </c:pt>
                <c:pt idx="78">
                  <c:v>42582</c:v>
                </c:pt>
                <c:pt idx="79">
                  <c:v>42613</c:v>
                </c:pt>
                <c:pt idx="80">
                  <c:v>42643</c:v>
                </c:pt>
                <c:pt idx="81">
                  <c:v>42674</c:v>
                </c:pt>
                <c:pt idx="82">
                  <c:v>42704</c:v>
                </c:pt>
                <c:pt idx="83">
                  <c:v>42735</c:v>
                </c:pt>
                <c:pt idx="84">
                  <c:v>42766</c:v>
                </c:pt>
                <c:pt idx="85">
                  <c:v>42794</c:v>
                </c:pt>
                <c:pt idx="86">
                  <c:v>42825</c:v>
                </c:pt>
                <c:pt idx="87">
                  <c:v>42855</c:v>
                </c:pt>
                <c:pt idx="88">
                  <c:v>42886</c:v>
                </c:pt>
                <c:pt idx="89">
                  <c:v>42916</c:v>
                </c:pt>
                <c:pt idx="90">
                  <c:v>42947</c:v>
                </c:pt>
                <c:pt idx="91">
                  <c:v>42978</c:v>
                </c:pt>
                <c:pt idx="92">
                  <c:v>43008</c:v>
                </c:pt>
                <c:pt idx="93">
                  <c:v>43039</c:v>
                </c:pt>
                <c:pt idx="94">
                  <c:v>43069</c:v>
                </c:pt>
                <c:pt idx="95">
                  <c:v>43100</c:v>
                </c:pt>
                <c:pt idx="96">
                  <c:v>43131</c:v>
                </c:pt>
                <c:pt idx="97">
                  <c:v>43159</c:v>
                </c:pt>
                <c:pt idx="98">
                  <c:v>43190</c:v>
                </c:pt>
                <c:pt idx="99">
                  <c:v>43220</c:v>
                </c:pt>
                <c:pt idx="100">
                  <c:v>43251</c:v>
                </c:pt>
                <c:pt idx="101">
                  <c:v>43281</c:v>
                </c:pt>
                <c:pt idx="102">
                  <c:v>43312</c:v>
                </c:pt>
                <c:pt idx="103">
                  <c:v>43343</c:v>
                </c:pt>
                <c:pt idx="104">
                  <c:v>43373</c:v>
                </c:pt>
                <c:pt idx="105">
                  <c:v>43404</c:v>
                </c:pt>
                <c:pt idx="106">
                  <c:v>43434</c:v>
                </c:pt>
                <c:pt idx="107">
                  <c:v>43465</c:v>
                </c:pt>
                <c:pt idx="108">
                  <c:v>43496</c:v>
                </c:pt>
                <c:pt idx="109">
                  <c:v>43524</c:v>
                </c:pt>
                <c:pt idx="110">
                  <c:v>43555</c:v>
                </c:pt>
                <c:pt idx="111">
                  <c:v>43585</c:v>
                </c:pt>
                <c:pt idx="112">
                  <c:v>43616</c:v>
                </c:pt>
                <c:pt idx="113">
                  <c:v>43646</c:v>
                </c:pt>
                <c:pt idx="114">
                  <c:v>43677</c:v>
                </c:pt>
                <c:pt idx="115">
                  <c:v>43708</c:v>
                </c:pt>
                <c:pt idx="116">
                  <c:v>43738</c:v>
                </c:pt>
                <c:pt idx="117">
                  <c:v>43769</c:v>
                </c:pt>
                <c:pt idx="118">
                  <c:v>43799</c:v>
                </c:pt>
                <c:pt idx="119">
                  <c:v>43830</c:v>
                </c:pt>
                <c:pt idx="120">
                  <c:v>43861</c:v>
                </c:pt>
                <c:pt idx="121">
                  <c:v>43890</c:v>
                </c:pt>
                <c:pt idx="122">
                  <c:v>43921</c:v>
                </c:pt>
                <c:pt idx="123">
                  <c:v>43951</c:v>
                </c:pt>
                <c:pt idx="124">
                  <c:v>43982</c:v>
                </c:pt>
                <c:pt idx="125">
                  <c:v>44012</c:v>
                </c:pt>
                <c:pt idx="126">
                  <c:v>44043</c:v>
                </c:pt>
                <c:pt idx="127">
                  <c:v>44074</c:v>
                </c:pt>
                <c:pt idx="128">
                  <c:v>44104</c:v>
                </c:pt>
                <c:pt idx="129">
                  <c:v>44135</c:v>
                </c:pt>
                <c:pt idx="130">
                  <c:v>44165</c:v>
                </c:pt>
                <c:pt idx="131">
                  <c:v>44196</c:v>
                </c:pt>
                <c:pt idx="132">
                  <c:v>44227</c:v>
                </c:pt>
                <c:pt idx="133">
                  <c:v>44255</c:v>
                </c:pt>
                <c:pt idx="134">
                  <c:v>44286</c:v>
                </c:pt>
                <c:pt idx="135">
                  <c:v>44316</c:v>
                </c:pt>
                <c:pt idx="136">
                  <c:v>44347</c:v>
                </c:pt>
                <c:pt idx="137">
                  <c:v>44377</c:v>
                </c:pt>
                <c:pt idx="138">
                  <c:v>44408</c:v>
                </c:pt>
                <c:pt idx="139">
                  <c:v>44439</c:v>
                </c:pt>
                <c:pt idx="140">
                  <c:v>44469</c:v>
                </c:pt>
                <c:pt idx="141">
                  <c:v>44500</c:v>
                </c:pt>
                <c:pt idx="142">
                  <c:v>44530</c:v>
                </c:pt>
                <c:pt idx="143">
                  <c:v>44561</c:v>
                </c:pt>
                <c:pt idx="144">
                  <c:v>44592</c:v>
                </c:pt>
                <c:pt idx="145">
                  <c:v>44620</c:v>
                </c:pt>
                <c:pt idx="146">
                  <c:v>44651</c:v>
                </c:pt>
                <c:pt idx="147">
                  <c:v>44681</c:v>
                </c:pt>
                <c:pt idx="148">
                  <c:v>44712</c:v>
                </c:pt>
                <c:pt idx="149">
                  <c:v>44742</c:v>
                </c:pt>
                <c:pt idx="150">
                  <c:v>44773</c:v>
                </c:pt>
                <c:pt idx="151">
                  <c:v>44804</c:v>
                </c:pt>
                <c:pt idx="152">
                  <c:v>44834</c:v>
                </c:pt>
                <c:pt idx="153">
                  <c:v>44865</c:v>
                </c:pt>
                <c:pt idx="154">
                  <c:v>44895</c:v>
                </c:pt>
                <c:pt idx="155">
                  <c:v>44926</c:v>
                </c:pt>
                <c:pt idx="156">
                  <c:v>44957</c:v>
                </c:pt>
                <c:pt idx="157">
                  <c:v>44985</c:v>
                </c:pt>
                <c:pt idx="158">
                  <c:v>45016</c:v>
                </c:pt>
                <c:pt idx="159">
                  <c:v>45046</c:v>
                </c:pt>
                <c:pt idx="160">
                  <c:v>45077</c:v>
                </c:pt>
                <c:pt idx="161">
                  <c:v>45107</c:v>
                </c:pt>
                <c:pt idx="162">
                  <c:v>45138</c:v>
                </c:pt>
                <c:pt idx="163">
                  <c:v>45169</c:v>
                </c:pt>
              </c:numCache>
            </c:numRef>
          </c:cat>
          <c:val>
            <c:numRef>
              <c:f>[asia_inflation.xlsx]data!$N$2:$N$179</c:f>
              <c:numCache>
                <c:formatCode>General</c:formatCode>
                <c:ptCount val="178"/>
                <c:pt idx="0">
                  <c:v>2.34403173458348</c:v>
                </c:pt>
                <c:pt idx="1">
                  <c:v>2.6315789473684199</c:v>
                </c:pt>
                <c:pt idx="2">
                  <c:v>2.9189189189189202</c:v>
                </c:pt>
                <c:pt idx="3">
                  <c:v>2.9866858582223799</c:v>
                </c:pt>
                <c:pt idx="4">
                  <c:v>3.0542579949694599</c:v>
                </c:pt>
                <c:pt idx="5">
                  <c:v>3.1216361679225</c:v>
                </c:pt>
                <c:pt idx="6">
                  <c:v>3.04005722460658</c:v>
                </c:pt>
                <c:pt idx="7">
                  <c:v>2.9590017825311898</c:v>
                </c:pt>
                <c:pt idx="8">
                  <c:v>2.8784648187633302</c:v>
                </c:pt>
                <c:pt idx="9">
                  <c:v>2.8378857750975501</c:v>
                </c:pt>
                <c:pt idx="10">
                  <c:v>2.7974504249291798</c:v>
                </c:pt>
                <c:pt idx="11">
                  <c:v>2.7571580063626699</c:v>
                </c:pt>
                <c:pt idx="12">
                  <c:v>2.9245947850599001</c:v>
                </c:pt>
                <c:pt idx="13">
                  <c:v>3.09097295398665</c:v>
                </c:pt>
                <c:pt idx="14">
                  <c:v>3.2563025210083998</c:v>
                </c:pt>
                <c:pt idx="15">
                  <c:v>3.3542976939203402</c:v>
                </c:pt>
                <c:pt idx="16">
                  <c:v>3.4518828451882899</c:v>
                </c:pt>
                <c:pt idx="17">
                  <c:v>3.5490605427974899</c:v>
                </c:pt>
                <c:pt idx="18">
                  <c:v>3.5057271780631698</c:v>
                </c:pt>
                <c:pt idx="19">
                  <c:v>3.4626038781163402</c:v>
                </c:pt>
                <c:pt idx="20">
                  <c:v>3.4196891191709802</c:v>
                </c:pt>
                <c:pt idx="21">
                  <c:v>3.27699206622973</c:v>
                </c:pt>
                <c:pt idx="22">
                  <c:v>3.1346882535308298</c:v>
                </c:pt>
                <c:pt idx="23">
                  <c:v>2.9927760577915401</c:v>
                </c:pt>
                <c:pt idx="24">
                  <c:v>2.5333789798014399</c:v>
                </c:pt>
                <c:pt idx="25">
                  <c:v>2.0783645655877301</c:v>
                </c:pt>
                <c:pt idx="26">
                  <c:v>1.62767039674466</c:v>
                </c:pt>
                <c:pt idx="27">
                  <c:v>1.4874915483434801</c:v>
                </c:pt>
                <c:pt idx="28">
                  <c:v>1.34816312773846</c:v>
                </c:pt>
                <c:pt idx="29">
                  <c:v>1.2096774193548401</c:v>
                </c:pt>
                <c:pt idx="30">
                  <c:v>1.4755197853789399</c:v>
                </c:pt>
                <c:pt idx="31">
                  <c:v>1.7402945113788499</c:v>
                </c:pt>
                <c:pt idx="32">
                  <c:v>2.0040080160320599</c:v>
                </c:pt>
                <c:pt idx="33">
                  <c:v>2.0708082832331298</c:v>
                </c:pt>
                <c:pt idx="34">
                  <c:v>2.1376085504342002</c:v>
                </c:pt>
                <c:pt idx="35">
                  <c:v>2.2044088176352701</c:v>
                </c:pt>
                <c:pt idx="36">
                  <c:v>2.3038397328881501</c:v>
                </c:pt>
                <c:pt idx="37">
                  <c:v>2.4032042723631499</c:v>
                </c:pt>
                <c:pt idx="38">
                  <c:v>2.5025025025024998</c:v>
                </c:pt>
                <c:pt idx="39">
                  <c:v>2.4650233177881402</c:v>
                </c:pt>
                <c:pt idx="40">
                  <c:v>2.4276687728633202</c:v>
                </c:pt>
                <c:pt idx="41">
                  <c:v>2.3904382470119501</c:v>
                </c:pt>
                <c:pt idx="42">
                  <c:v>2.3132848645076001</c:v>
                </c:pt>
                <c:pt idx="43">
                  <c:v>2.2368421052631602</c:v>
                </c:pt>
                <c:pt idx="44">
                  <c:v>2.16110019646365</c:v>
                </c:pt>
                <c:pt idx="45">
                  <c:v>2.3560209424083798</c:v>
                </c:pt>
                <c:pt idx="46">
                  <c:v>2.5506867233485901</c:v>
                </c:pt>
                <c:pt idx="47">
                  <c:v>2.7450980392156898</c:v>
                </c:pt>
                <c:pt idx="48">
                  <c:v>2.8067885117493501</c:v>
                </c:pt>
                <c:pt idx="49">
                  <c:v>2.8683181225554102</c:v>
                </c:pt>
                <c:pt idx="50">
                  <c:v>2.9296875</c:v>
                </c:pt>
                <c:pt idx="51">
                  <c:v>2.9583875162548798</c:v>
                </c:pt>
                <c:pt idx="52">
                  <c:v>2.98701298701299</c:v>
                </c:pt>
                <c:pt idx="53">
                  <c:v>3.0155642023346299</c:v>
                </c:pt>
                <c:pt idx="54">
                  <c:v>2.7777777777777799</c:v>
                </c:pt>
                <c:pt idx="55">
                  <c:v>2.5418275418275398</c:v>
                </c:pt>
                <c:pt idx="56">
                  <c:v>2.3076923076923102</c:v>
                </c:pt>
                <c:pt idx="57">
                  <c:v>2.1099744245524299</c:v>
                </c:pt>
                <c:pt idx="58">
                  <c:v>1.91326530612245</c:v>
                </c:pt>
                <c:pt idx="59">
                  <c:v>1.7175572519083999</c:v>
                </c:pt>
                <c:pt idx="60">
                  <c:v>1.5873015873015901</c:v>
                </c:pt>
                <c:pt idx="61">
                  <c:v>1.4575411913815</c:v>
                </c:pt>
                <c:pt idx="62">
                  <c:v>1.32827324478178</c:v>
                </c:pt>
                <c:pt idx="63">
                  <c:v>1.3893274392169199</c:v>
                </c:pt>
                <c:pt idx="64">
                  <c:v>1.4501891551071899</c:v>
                </c:pt>
                <c:pt idx="65">
                  <c:v>1.51085930122757</c:v>
                </c:pt>
                <c:pt idx="66">
                  <c:v>1.50848522941546</c:v>
                </c:pt>
                <c:pt idx="67">
                  <c:v>1.5061186068402901</c:v>
                </c:pt>
                <c:pt idx="68">
                  <c:v>1.5037593984962401</c:v>
                </c:pt>
                <c:pt idx="69">
                  <c:v>1.5654351909830899</c:v>
                </c:pt>
                <c:pt idx="70">
                  <c:v>1.6270337922403</c:v>
                </c:pt>
                <c:pt idx="71">
                  <c:v>1.6885553470919299</c:v>
                </c:pt>
                <c:pt idx="72">
                  <c:v>1.5625</c:v>
                </c:pt>
                <c:pt idx="73">
                  <c:v>1.4366021236727</c:v>
                </c:pt>
                <c:pt idx="74">
                  <c:v>1.3108614232209701</c:v>
                </c:pt>
                <c:pt idx="75">
                  <c:v>1.2145748987854299</c:v>
                </c:pt>
                <c:pt idx="76">
                  <c:v>1.1187072715972699</c:v>
                </c:pt>
                <c:pt idx="77">
                  <c:v>1.02325581395349</c:v>
                </c:pt>
                <c:pt idx="78">
                  <c:v>1.1145510835913299</c:v>
                </c:pt>
                <c:pt idx="79">
                  <c:v>1.2055641421947401</c:v>
                </c:pt>
                <c:pt idx="80">
                  <c:v>1.2962962962963001</c:v>
                </c:pt>
                <c:pt idx="81">
                  <c:v>1.35635018495684</c:v>
                </c:pt>
                <c:pt idx="82">
                  <c:v>1.41625615763547</c:v>
                </c:pt>
                <c:pt idx="83">
                  <c:v>1.4760147601475999</c:v>
                </c:pt>
                <c:pt idx="84">
                  <c:v>1.6923076923076901</c:v>
                </c:pt>
                <c:pt idx="85">
                  <c:v>1.9088669950738899</c:v>
                </c:pt>
                <c:pt idx="86">
                  <c:v>2.1256931608133098</c:v>
                </c:pt>
                <c:pt idx="87">
                  <c:v>2.06153846153846</c:v>
                </c:pt>
                <c:pt idx="88">
                  <c:v>1.9975414874001201</c:v>
                </c:pt>
                <c:pt idx="89">
                  <c:v>1.9337016574585599</c:v>
                </c:pt>
                <c:pt idx="90">
                  <c:v>1.8983466013472099</c:v>
                </c:pt>
                <c:pt idx="91">
                  <c:v>1.8631643249847301</c:v>
                </c:pt>
                <c:pt idx="92">
                  <c:v>1.82815356489945</c:v>
                </c:pt>
                <c:pt idx="93">
                  <c:v>1.8552311435523099</c:v>
                </c:pt>
                <c:pt idx="94">
                  <c:v>1.88221007893139</c:v>
                </c:pt>
                <c:pt idx="95">
                  <c:v>1.9090909090909101</c:v>
                </c:pt>
                <c:pt idx="96">
                  <c:v>1.90620272314675</c:v>
                </c:pt>
                <c:pt idx="97">
                  <c:v>1.90332326283988</c:v>
                </c:pt>
                <c:pt idx="98">
                  <c:v>1.9004524886877801</c:v>
                </c:pt>
                <c:pt idx="99">
                  <c:v>1.95960205004522</c:v>
                </c:pt>
                <c:pt idx="100">
                  <c:v>2.0186803253992198</c:v>
                </c:pt>
                <c:pt idx="101">
                  <c:v>2.0776874435410999</c:v>
                </c:pt>
                <c:pt idx="102">
                  <c:v>2.0132211538461502</c:v>
                </c:pt>
                <c:pt idx="103">
                  <c:v>1.9490254872563699</c:v>
                </c:pt>
                <c:pt idx="104">
                  <c:v>2</c:v>
                </c:pt>
                <c:pt idx="105">
                  <c:v>2.2999999999999998</c:v>
                </c:pt>
                <c:pt idx="106">
                  <c:v>1.6</c:v>
                </c:pt>
                <c:pt idx="107">
                  <c:v>1.5</c:v>
                </c:pt>
                <c:pt idx="108">
                  <c:v>1.2</c:v>
                </c:pt>
                <c:pt idx="109">
                  <c:v>1.5</c:v>
                </c:pt>
                <c:pt idx="110">
                  <c:v>1.6</c:v>
                </c:pt>
                <c:pt idx="111">
                  <c:v>1.8</c:v>
                </c:pt>
                <c:pt idx="112">
                  <c:v>1.5</c:v>
                </c:pt>
                <c:pt idx="113">
                  <c:v>1.4</c:v>
                </c:pt>
                <c:pt idx="114">
                  <c:v>1.6</c:v>
                </c:pt>
                <c:pt idx="115">
                  <c:v>1.6</c:v>
                </c:pt>
                <c:pt idx="116">
                  <c:v>1.7</c:v>
                </c:pt>
                <c:pt idx="117">
                  <c:v>1.8</c:v>
                </c:pt>
                <c:pt idx="118">
                  <c:v>1.8</c:v>
                </c:pt>
                <c:pt idx="119">
                  <c:v>2.2000000000000002</c:v>
                </c:pt>
                <c:pt idx="120">
                  <c:v>2.7</c:v>
                </c:pt>
                <c:pt idx="121">
                  <c:v>2</c:v>
                </c:pt>
                <c:pt idx="122">
                  <c:v>2.1</c:v>
                </c:pt>
                <c:pt idx="123">
                  <c:v>0.1</c:v>
                </c:pt>
                <c:pt idx="124">
                  <c:v>-0.2</c:v>
                </c:pt>
                <c:pt idx="125">
                  <c:v>-0.1</c:v>
                </c:pt>
                <c:pt idx="126">
                  <c:v>0.8</c:v>
                </c:pt>
                <c:pt idx="127">
                  <c:v>1.1000000000000001</c:v>
                </c:pt>
                <c:pt idx="128">
                  <c:v>0.4</c:v>
                </c:pt>
                <c:pt idx="129">
                  <c:v>0.5</c:v>
                </c:pt>
                <c:pt idx="130">
                  <c:v>1.1000000000000001</c:v>
                </c:pt>
                <c:pt idx="131">
                  <c:v>0.3</c:v>
                </c:pt>
                <c:pt idx="132">
                  <c:v>0.4</c:v>
                </c:pt>
                <c:pt idx="133">
                  <c:v>1.1000000000000001</c:v>
                </c:pt>
                <c:pt idx="134">
                  <c:v>0.8</c:v>
                </c:pt>
                <c:pt idx="135">
                  <c:v>2.5</c:v>
                </c:pt>
                <c:pt idx="136">
                  <c:v>3.3</c:v>
                </c:pt>
                <c:pt idx="137">
                  <c:v>3.5</c:v>
                </c:pt>
                <c:pt idx="138">
                  <c:v>2.1</c:v>
                </c:pt>
                <c:pt idx="139">
                  <c:v>2.5</c:v>
                </c:pt>
                <c:pt idx="140">
                  <c:v>3.1</c:v>
                </c:pt>
                <c:pt idx="141">
                  <c:v>3</c:v>
                </c:pt>
                <c:pt idx="142">
                  <c:v>3.2</c:v>
                </c:pt>
                <c:pt idx="143">
                  <c:v>3.5</c:v>
                </c:pt>
                <c:pt idx="144">
                  <c:v>4</c:v>
                </c:pt>
                <c:pt idx="145">
                  <c:v>4.9000000000000004</c:v>
                </c:pt>
                <c:pt idx="146">
                  <c:v>5.7</c:v>
                </c:pt>
                <c:pt idx="147">
                  <c:v>5.5</c:v>
                </c:pt>
                <c:pt idx="148">
                  <c:v>6.1</c:v>
                </c:pt>
                <c:pt idx="149">
                  <c:v>6.8</c:v>
                </c:pt>
                <c:pt idx="150">
                  <c:v>7.2</c:v>
                </c:pt>
                <c:pt idx="151">
                  <c:v>7.2</c:v>
                </c:pt>
                <c:pt idx="152">
                  <c:v>7.2</c:v>
                </c:pt>
                <c:pt idx="153">
                  <c:v>7</c:v>
                </c:pt>
                <c:pt idx="154">
                  <c:v>7.4</c:v>
                </c:pt>
                <c:pt idx="155">
                  <c:v>8.4</c:v>
                </c:pt>
                <c:pt idx="156">
                  <c:v>7.5</c:v>
                </c:pt>
                <c:pt idx="157">
                  <c:v>6.8</c:v>
                </c:pt>
                <c:pt idx="158">
                  <c:v>6.3</c:v>
                </c:pt>
                <c:pt idx="159">
                  <c:v>6.7</c:v>
                </c:pt>
                <c:pt idx="160">
                  <c:v>5.5</c:v>
                </c:pt>
                <c:pt idx="161">
                  <c:v>5.4</c:v>
                </c:pt>
                <c:pt idx="162">
                  <c:v>4.9000000000000004</c:v>
                </c:pt>
                <c:pt idx="163">
                  <c:v>5.2</c:v>
                </c:pt>
              </c:numCache>
            </c:numRef>
          </c:val>
          <c:smooth val="0"/>
          <c:extLst>
            <c:ext xmlns:c16="http://schemas.microsoft.com/office/drawing/2014/chart" uri="{C3380CC4-5D6E-409C-BE32-E72D297353CC}">
              <c16:uniqueId val="{00000002-52AD-42FF-83A1-DD8CCE7608F5}"/>
            </c:ext>
          </c:extLst>
        </c:ser>
        <c:dLbls>
          <c:showLegendKey val="0"/>
          <c:showVal val="0"/>
          <c:showCatName val="0"/>
          <c:showSerName val="0"/>
          <c:showPercent val="0"/>
          <c:showBubbleSize val="0"/>
        </c:dLbls>
        <c:smooth val="0"/>
        <c:axId val="1381271248"/>
        <c:axId val="1381254608"/>
      </c:lineChart>
      <c:dateAx>
        <c:axId val="1381271248"/>
        <c:scaling>
          <c:orientation val="minMax"/>
        </c:scaling>
        <c:delete val="0"/>
        <c:axPos val="b"/>
        <c:numFmt formatCode="yy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81254608"/>
        <c:crosses val="autoZero"/>
        <c:auto val="1"/>
        <c:lblOffset val="100"/>
        <c:baseTimeUnit val="months"/>
        <c:majorUnit val="12"/>
        <c:majorTimeUnit val="months"/>
        <c:minorUnit val="12"/>
        <c:minorTimeUnit val="months"/>
      </c:dateAx>
      <c:valAx>
        <c:axId val="13812546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81271248"/>
        <c:crosses val="autoZero"/>
        <c:crossBetween val="between"/>
      </c:valAx>
      <c:spPr>
        <a:noFill/>
        <a:ln>
          <a:noFill/>
        </a:ln>
        <a:effectLst/>
      </c:spPr>
    </c:plotArea>
    <c:legend>
      <c:legendPos val="b"/>
      <c:layout>
        <c:manualLayout>
          <c:xMode val="edge"/>
          <c:yMode val="edge"/>
          <c:x val="0.27479380462057629"/>
          <c:y val="4.6716933110633935E-2"/>
          <c:w val="0.46942706620865837"/>
          <c:h val="5.377169378378109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2!$J$2</c:f>
              <c:strCache>
                <c:ptCount val="1"/>
                <c:pt idx="0">
                  <c:v>China</c:v>
                </c:pt>
              </c:strCache>
            </c:strRef>
          </c:tx>
          <c:spPr>
            <a:solidFill>
              <a:srgbClr val="009DE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K$1</c:f>
              <c:strCache>
                <c:ptCount val="1"/>
                <c:pt idx="0">
                  <c:v>Share</c:v>
                </c:pt>
              </c:strCache>
            </c:strRef>
          </c:cat>
          <c:val>
            <c:numRef>
              <c:f>Sheet2!$K$2</c:f>
              <c:numCache>
                <c:formatCode>0%</c:formatCode>
                <c:ptCount val="1"/>
                <c:pt idx="0">
                  <c:v>0.55541540049309102</c:v>
                </c:pt>
              </c:numCache>
            </c:numRef>
          </c:val>
          <c:extLst>
            <c:ext xmlns:c16="http://schemas.microsoft.com/office/drawing/2014/chart" uri="{C3380CC4-5D6E-409C-BE32-E72D297353CC}">
              <c16:uniqueId val="{00000000-AAA9-4579-954C-D45B71050418}"/>
            </c:ext>
          </c:extLst>
        </c:ser>
        <c:ser>
          <c:idx val="1"/>
          <c:order val="1"/>
          <c:tx>
            <c:strRef>
              <c:f>Sheet2!$J$3</c:f>
              <c:strCache>
                <c:ptCount val="1"/>
                <c:pt idx="0">
                  <c:v>Japan</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K$1</c:f>
              <c:strCache>
                <c:ptCount val="1"/>
                <c:pt idx="0">
                  <c:v>Share</c:v>
                </c:pt>
              </c:strCache>
            </c:strRef>
          </c:cat>
          <c:val>
            <c:numRef>
              <c:f>Sheet2!$K$3</c:f>
              <c:numCache>
                <c:formatCode>0%</c:formatCode>
                <c:ptCount val="1"/>
                <c:pt idx="0">
                  <c:v>0.12642623702769337</c:v>
                </c:pt>
              </c:numCache>
            </c:numRef>
          </c:val>
          <c:extLst>
            <c:ext xmlns:c16="http://schemas.microsoft.com/office/drawing/2014/chart" uri="{C3380CC4-5D6E-409C-BE32-E72D297353CC}">
              <c16:uniqueId val="{00000001-AAA9-4579-954C-D45B71050418}"/>
            </c:ext>
          </c:extLst>
        </c:ser>
        <c:ser>
          <c:idx val="2"/>
          <c:order val="2"/>
          <c:tx>
            <c:strRef>
              <c:f>Sheet2!$J$4</c:f>
              <c:strCache>
                <c:ptCount val="1"/>
                <c:pt idx="0">
                  <c:v>India</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K$1</c:f>
              <c:strCache>
                <c:ptCount val="1"/>
                <c:pt idx="0">
                  <c:v>Share</c:v>
                </c:pt>
              </c:strCache>
            </c:strRef>
          </c:cat>
          <c:val>
            <c:numRef>
              <c:f>Sheet2!$K$4</c:f>
              <c:numCache>
                <c:formatCode>0%</c:formatCode>
                <c:ptCount val="1"/>
                <c:pt idx="0">
                  <c:v>0.10713261854251477</c:v>
                </c:pt>
              </c:numCache>
            </c:numRef>
          </c:val>
          <c:extLst>
            <c:ext xmlns:c16="http://schemas.microsoft.com/office/drawing/2014/chart" uri="{C3380CC4-5D6E-409C-BE32-E72D297353CC}">
              <c16:uniqueId val="{00000002-AAA9-4579-954C-D45B71050418}"/>
            </c:ext>
          </c:extLst>
        </c:ser>
        <c:ser>
          <c:idx val="3"/>
          <c:order val="3"/>
          <c:tx>
            <c:strRef>
              <c:f>Sheet2!$J$5</c:f>
              <c:strCache>
                <c:ptCount val="1"/>
                <c:pt idx="0">
                  <c:v>Koea</c:v>
                </c:pt>
              </c:strCache>
            </c:strRef>
          </c:tx>
          <c:spPr>
            <a:solidFill>
              <a:srgbClr val="FFBE00"/>
            </a:solidFill>
            <a:ln>
              <a:noFill/>
            </a:ln>
            <a:effectLst/>
          </c:spPr>
          <c:invertIfNegative val="0"/>
          <c:cat>
            <c:strRef>
              <c:f>Sheet2!$K$1</c:f>
              <c:strCache>
                <c:ptCount val="1"/>
                <c:pt idx="0">
                  <c:v>Share</c:v>
                </c:pt>
              </c:strCache>
            </c:strRef>
          </c:cat>
          <c:val>
            <c:numRef>
              <c:f>Sheet2!$K$5</c:f>
              <c:numCache>
                <c:formatCode>0%</c:formatCode>
                <c:ptCount val="1"/>
                <c:pt idx="0">
                  <c:v>4.9366435410813599E-2</c:v>
                </c:pt>
              </c:numCache>
            </c:numRef>
          </c:val>
          <c:extLst>
            <c:ext xmlns:c16="http://schemas.microsoft.com/office/drawing/2014/chart" uri="{C3380CC4-5D6E-409C-BE32-E72D297353CC}">
              <c16:uniqueId val="{00000003-AAA9-4579-954C-D45B71050418}"/>
            </c:ext>
          </c:extLst>
        </c:ser>
        <c:ser>
          <c:idx val="4"/>
          <c:order val="4"/>
          <c:tx>
            <c:strRef>
              <c:f>Sheet2!$J$6</c:f>
              <c:strCache>
                <c:ptCount val="1"/>
                <c:pt idx="0">
                  <c:v>Indonesia</c:v>
                </c:pt>
              </c:strCache>
            </c:strRef>
          </c:tx>
          <c:spPr>
            <a:solidFill>
              <a:srgbClr val="FFE580"/>
            </a:solidFill>
            <a:ln>
              <a:noFill/>
            </a:ln>
            <a:effectLst/>
          </c:spPr>
          <c:invertIfNegative val="0"/>
          <c:cat>
            <c:strRef>
              <c:f>Sheet2!$K$1</c:f>
              <c:strCache>
                <c:ptCount val="1"/>
                <c:pt idx="0">
                  <c:v>Share</c:v>
                </c:pt>
              </c:strCache>
            </c:strRef>
          </c:cat>
          <c:val>
            <c:numRef>
              <c:f>Sheet2!$K$6</c:f>
              <c:numCache>
                <c:formatCode>0%</c:formatCode>
                <c:ptCount val="1"/>
                <c:pt idx="0">
                  <c:v>3.990596869445559E-2</c:v>
                </c:pt>
              </c:numCache>
            </c:numRef>
          </c:val>
          <c:extLst>
            <c:ext xmlns:c16="http://schemas.microsoft.com/office/drawing/2014/chart" uri="{C3380CC4-5D6E-409C-BE32-E72D297353CC}">
              <c16:uniqueId val="{00000004-AAA9-4579-954C-D45B71050418}"/>
            </c:ext>
          </c:extLst>
        </c:ser>
        <c:ser>
          <c:idx val="5"/>
          <c:order val="5"/>
          <c:tx>
            <c:strRef>
              <c:f>Sheet2!$J$7</c:f>
              <c:strCache>
                <c:ptCount val="1"/>
                <c:pt idx="0">
                  <c:v>Rest of Asia</c:v>
                </c:pt>
              </c:strCache>
            </c:strRef>
          </c:tx>
          <c:spPr>
            <a:solidFill>
              <a:srgbClr val="DADADA"/>
            </a:solidFill>
            <a:ln>
              <a:noFill/>
            </a:ln>
            <a:effectLst/>
          </c:spPr>
          <c:invertIfNegative val="0"/>
          <c:cat>
            <c:strRef>
              <c:f>Sheet2!$K$1</c:f>
              <c:strCache>
                <c:ptCount val="1"/>
                <c:pt idx="0">
                  <c:v>Share</c:v>
                </c:pt>
              </c:strCache>
            </c:strRef>
          </c:cat>
          <c:val>
            <c:numRef>
              <c:f>Sheet2!$K$7</c:f>
              <c:numCache>
                <c:formatCode>0%</c:formatCode>
                <c:ptCount val="1"/>
                <c:pt idx="0">
                  <c:v>0.12175333983143155</c:v>
                </c:pt>
              </c:numCache>
            </c:numRef>
          </c:val>
          <c:extLst>
            <c:ext xmlns:c16="http://schemas.microsoft.com/office/drawing/2014/chart" uri="{C3380CC4-5D6E-409C-BE32-E72D297353CC}">
              <c16:uniqueId val="{00000005-AAA9-4579-954C-D45B71050418}"/>
            </c:ext>
          </c:extLst>
        </c:ser>
        <c:dLbls>
          <c:showLegendKey val="0"/>
          <c:showVal val="0"/>
          <c:showCatName val="0"/>
          <c:showSerName val="0"/>
          <c:showPercent val="0"/>
          <c:showBubbleSize val="0"/>
        </c:dLbls>
        <c:gapWidth val="35"/>
        <c:overlap val="100"/>
        <c:axId val="459329760"/>
        <c:axId val="151304928"/>
      </c:barChart>
      <c:catAx>
        <c:axId val="459329760"/>
        <c:scaling>
          <c:orientation val="minMax"/>
        </c:scaling>
        <c:delete val="1"/>
        <c:axPos val="b"/>
        <c:numFmt formatCode="General" sourceLinked="1"/>
        <c:majorTickMark val="none"/>
        <c:minorTickMark val="none"/>
        <c:tickLblPos val="nextTo"/>
        <c:crossAx val="151304928"/>
        <c:crosses val="autoZero"/>
        <c:auto val="1"/>
        <c:lblAlgn val="ctr"/>
        <c:lblOffset val="100"/>
        <c:noMultiLvlLbl val="0"/>
      </c:catAx>
      <c:valAx>
        <c:axId val="1513049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59329760"/>
        <c:crosses val="autoZero"/>
        <c:crossBetween val="between"/>
      </c:valAx>
      <c:spPr>
        <a:noFill/>
        <a:ln>
          <a:noFill/>
        </a:ln>
        <a:effectLst/>
      </c:spPr>
    </c:plotArea>
    <c:legend>
      <c:legendPos val="r"/>
      <c:layout>
        <c:manualLayout>
          <c:xMode val="edge"/>
          <c:yMode val="edge"/>
          <c:x val="0.65358260507515298"/>
          <c:y val="1.0320652339797095E-2"/>
          <c:w val="0.27960421677235903"/>
          <c:h val="0.7003697938311345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126509467749291E-2"/>
          <c:y val="5.0926010588738947E-2"/>
          <c:w val="0.88389129483814521"/>
          <c:h val="0.86482283464566934"/>
        </c:manualLayout>
      </c:layout>
      <c:barChart>
        <c:barDir val="col"/>
        <c:grouping val="clustered"/>
        <c:varyColors val="0"/>
        <c:ser>
          <c:idx val="0"/>
          <c:order val="0"/>
          <c:tx>
            <c:strRef>
              <c:f>'[asia growth.xlsx]Sheet1'!$AE$15</c:f>
              <c:strCache>
                <c:ptCount val="1"/>
                <c:pt idx="0">
                  <c:v>China</c:v>
                </c:pt>
              </c:strCache>
            </c:strRef>
          </c:tx>
          <c:spPr>
            <a:solidFill>
              <a:schemeClr val="accent1"/>
            </a:solidFill>
            <a:ln>
              <a:noFill/>
            </a:ln>
            <a:effectLst/>
          </c:spPr>
          <c:invertIfNegative val="0"/>
          <c:cat>
            <c:strRef>
              <c:f>'[asia growth.xlsx]Sheet1'!$AF$14:$AI$14</c:f>
              <c:strCache>
                <c:ptCount val="4"/>
                <c:pt idx="0">
                  <c:v>1990s</c:v>
                </c:pt>
                <c:pt idx="1">
                  <c:v>2000s</c:v>
                </c:pt>
                <c:pt idx="2">
                  <c:v>2010s</c:v>
                </c:pt>
                <c:pt idx="3">
                  <c:v>2020s</c:v>
                </c:pt>
              </c:strCache>
            </c:strRef>
          </c:cat>
          <c:val>
            <c:numRef>
              <c:f>'[asia growth.xlsx]Sheet1'!$AF$15:$AI$15</c:f>
              <c:numCache>
                <c:formatCode>0.0</c:formatCode>
                <c:ptCount val="4"/>
                <c:pt idx="0">
                  <c:v>10.006</c:v>
                </c:pt>
                <c:pt idx="1">
                  <c:v>10.556999999999999</c:v>
                </c:pt>
                <c:pt idx="2">
                  <c:v>6.831999999999999</c:v>
                </c:pt>
                <c:pt idx="3">
                  <c:v>5.2433333333333332</c:v>
                </c:pt>
              </c:numCache>
            </c:numRef>
          </c:val>
          <c:extLst>
            <c:ext xmlns:c16="http://schemas.microsoft.com/office/drawing/2014/chart" uri="{C3380CC4-5D6E-409C-BE32-E72D297353CC}">
              <c16:uniqueId val="{00000000-E3CE-4CA0-9D33-C955668B19FA}"/>
            </c:ext>
          </c:extLst>
        </c:ser>
        <c:ser>
          <c:idx val="1"/>
          <c:order val="1"/>
          <c:tx>
            <c:strRef>
              <c:f>'[asia growth.xlsx]Sheet1'!$AE$16</c:f>
              <c:strCache>
                <c:ptCount val="1"/>
                <c:pt idx="0">
                  <c:v>ASEAN + India</c:v>
                </c:pt>
              </c:strCache>
            </c:strRef>
          </c:tx>
          <c:spPr>
            <a:solidFill>
              <a:schemeClr val="accent2"/>
            </a:solidFill>
            <a:ln>
              <a:noFill/>
            </a:ln>
            <a:effectLst/>
          </c:spPr>
          <c:invertIfNegative val="0"/>
          <c:cat>
            <c:strRef>
              <c:f>'[asia growth.xlsx]Sheet1'!$AF$14:$AI$14</c:f>
              <c:strCache>
                <c:ptCount val="4"/>
                <c:pt idx="0">
                  <c:v>1990s</c:v>
                </c:pt>
                <c:pt idx="1">
                  <c:v>2000s</c:v>
                </c:pt>
                <c:pt idx="2">
                  <c:v>2010s</c:v>
                </c:pt>
                <c:pt idx="3">
                  <c:v>2020s</c:v>
                </c:pt>
              </c:strCache>
            </c:strRef>
          </c:cat>
          <c:val>
            <c:numRef>
              <c:f>'[asia growth.xlsx]Sheet1'!$AF$16:$AI$16</c:f>
              <c:numCache>
                <c:formatCode>0.0</c:formatCode>
                <c:ptCount val="4"/>
                <c:pt idx="0">
                  <c:v>5.8178333333333327</c:v>
                </c:pt>
                <c:pt idx="1">
                  <c:v>5.3710000000000004</c:v>
                </c:pt>
                <c:pt idx="2">
                  <c:v>4.1543333333333328</c:v>
                </c:pt>
                <c:pt idx="3">
                  <c:v>4.4866666666666672</c:v>
                </c:pt>
              </c:numCache>
            </c:numRef>
          </c:val>
          <c:extLst>
            <c:ext xmlns:c16="http://schemas.microsoft.com/office/drawing/2014/chart" uri="{C3380CC4-5D6E-409C-BE32-E72D297353CC}">
              <c16:uniqueId val="{00000001-E3CE-4CA0-9D33-C955668B19FA}"/>
            </c:ext>
          </c:extLst>
        </c:ser>
        <c:dLbls>
          <c:showLegendKey val="0"/>
          <c:showVal val="0"/>
          <c:showCatName val="0"/>
          <c:showSerName val="0"/>
          <c:showPercent val="0"/>
          <c:showBubbleSize val="0"/>
        </c:dLbls>
        <c:gapWidth val="108"/>
        <c:overlap val="-10"/>
        <c:axId val="454440976"/>
        <c:axId val="1450905376"/>
      </c:barChart>
      <c:catAx>
        <c:axId val="454440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50905376"/>
        <c:crosses val="autoZero"/>
        <c:auto val="1"/>
        <c:lblAlgn val="ctr"/>
        <c:lblOffset val="100"/>
        <c:noMultiLvlLbl val="0"/>
      </c:catAx>
      <c:valAx>
        <c:axId val="1450905376"/>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54440976"/>
        <c:crosses val="autoZero"/>
        <c:crossBetween val="between"/>
      </c:valAx>
      <c:spPr>
        <a:noFill/>
        <a:ln>
          <a:noFill/>
        </a:ln>
        <a:effectLst/>
      </c:spPr>
    </c:plotArea>
    <c:legend>
      <c:legendPos val="b"/>
      <c:layout>
        <c:manualLayout>
          <c:xMode val="edge"/>
          <c:yMode val="edge"/>
          <c:x val="0.59071940158608327"/>
          <c:y val="0.1592922491012326"/>
          <c:w val="0.30607764654418196"/>
          <c:h val="0.1146802766253852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28832357964576"/>
          <c:y val="3.8255148540507294E-2"/>
          <c:w val="0.88410003327048903"/>
          <c:h val="0.8753462441724148"/>
        </c:manualLayout>
      </c:layout>
      <c:lineChart>
        <c:grouping val="standard"/>
        <c:varyColors val="0"/>
        <c:ser>
          <c:idx val="0"/>
          <c:order val="0"/>
          <c:tx>
            <c:strRef>
              <c:f>'FRED Graph'!$I$11</c:f>
              <c:strCache>
                <c:ptCount val="1"/>
                <c:pt idx="0">
                  <c:v>Mexico</c:v>
                </c:pt>
              </c:strCache>
            </c:strRef>
          </c:tx>
          <c:spPr>
            <a:ln w="28575" cap="rnd">
              <a:solidFill>
                <a:schemeClr val="accent1"/>
              </a:solidFill>
              <a:round/>
            </a:ln>
            <a:effectLst/>
          </c:spPr>
          <c:marker>
            <c:symbol val="none"/>
          </c:marker>
          <c:cat>
            <c:numRef>
              <c:f>'FRED Graph'!$H$12:$H$426</c:f>
              <c:numCache>
                <c:formatCode>yyyy\-mm\-dd</c:formatCode>
                <c:ptCount val="415"/>
                <c:pt idx="0">
                  <c:v>32509</c:v>
                </c:pt>
                <c:pt idx="1">
                  <c:v>32540</c:v>
                </c:pt>
                <c:pt idx="2">
                  <c:v>32568</c:v>
                </c:pt>
                <c:pt idx="3">
                  <c:v>32599</c:v>
                </c:pt>
                <c:pt idx="4">
                  <c:v>32629</c:v>
                </c:pt>
                <c:pt idx="5">
                  <c:v>32660</c:v>
                </c:pt>
                <c:pt idx="6">
                  <c:v>32690</c:v>
                </c:pt>
                <c:pt idx="7">
                  <c:v>32721</c:v>
                </c:pt>
                <c:pt idx="8">
                  <c:v>32752</c:v>
                </c:pt>
                <c:pt idx="9">
                  <c:v>32782</c:v>
                </c:pt>
                <c:pt idx="10">
                  <c:v>32813</c:v>
                </c:pt>
                <c:pt idx="11">
                  <c:v>32843</c:v>
                </c:pt>
                <c:pt idx="12">
                  <c:v>32874</c:v>
                </c:pt>
                <c:pt idx="13">
                  <c:v>32905</c:v>
                </c:pt>
                <c:pt idx="14">
                  <c:v>32933</c:v>
                </c:pt>
                <c:pt idx="15">
                  <c:v>32964</c:v>
                </c:pt>
                <c:pt idx="16">
                  <c:v>32994</c:v>
                </c:pt>
                <c:pt idx="17">
                  <c:v>33025</c:v>
                </c:pt>
                <c:pt idx="18">
                  <c:v>33055</c:v>
                </c:pt>
                <c:pt idx="19">
                  <c:v>33086</c:v>
                </c:pt>
                <c:pt idx="20">
                  <c:v>33117</c:v>
                </c:pt>
                <c:pt idx="21">
                  <c:v>33147</c:v>
                </c:pt>
                <c:pt idx="22">
                  <c:v>33178</c:v>
                </c:pt>
                <c:pt idx="23">
                  <c:v>33208</c:v>
                </c:pt>
                <c:pt idx="24">
                  <c:v>33239</c:v>
                </c:pt>
                <c:pt idx="25">
                  <c:v>33270</c:v>
                </c:pt>
                <c:pt idx="26">
                  <c:v>33298</c:v>
                </c:pt>
                <c:pt idx="27">
                  <c:v>33329</c:v>
                </c:pt>
                <c:pt idx="28">
                  <c:v>33359</c:v>
                </c:pt>
                <c:pt idx="29">
                  <c:v>33390</c:v>
                </c:pt>
                <c:pt idx="30">
                  <c:v>33420</c:v>
                </c:pt>
                <c:pt idx="31">
                  <c:v>33451</c:v>
                </c:pt>
                <c:pt idx="32">
                  <c:v>33482</c:v>
                </c:pt>
                <c:pt idx="33">
                  <c:v>33512</c:v>
                </c:pt>
                <c:pt idx="34">
                  <c:v>33543</c:v>
                </c:pt>
                <c:pt idx="35">
                  <c:v>33573</c:v>
                </c:pt>
                <c:pt idx="36">
                  <c:v>33604</c:v>
                </c:pt>
                <c:pt idx="37">
                  <c:v>33635</c:v>
                </c:pt>
                <c:pt idx="38">
                  <c:v>33664</c:v>
                </c:pt>
                <c:pt idx="39">
                  <c:v>33695</c:v>
                </c:pt>
                <c:pt idx="40">
                  <c:v>33725</c:v>
                </c:pt>
                <c:pt idx="41">
                  <c:v>33756</c:v>
                </c:pt>
                <c:pt idx="42">
                  <c:v>33786</c:v>
                </c:pt>
                <c:pt idx="43">
                  <c:v>33817</c:v>
                </c:pt>
                <c:pt idx="44">
                  <c:v>33848</c:v>
                </c:pt>
                <c:pt idx="45">
                  <c:v>33878</c:v>
                </c:pt>
                <c:pt idx="46">
                  <c:v>33909</c:v>
                </c:pt>
                <c:pt idx="47">
                  <c:v>33939</c:v>
                </c:pt>
                <c:pt idx="48">
                  <c:v>33970</c:v>
                </c:pt>
                <c:pt idx="49">
                  <c:v>34001</c:v>
                </c:pt>
                <c:pt idx="50">
                  <c:v>34029</c:v>
                </c:pt>
                <c:pt idx="51">
                  <c:v>34060</c:v>
                </c:pt>
                <c:pt idx="52">
                  <c:v>34090</c:v>
                </c:pt>
                <c:pt idx="53">
                  <c:v>34121</c:v>
                </c:pt>
                <c:pt idx="54">
                  <c:v>34151</c:v>
                </c:pt>
                <c:pt idx="55">
                  <c:v>34182</c:v>
                </c:pt>
                <c:pt idx="56">
                  <c:v>34213</c:v>
                </c:pt>
                <c:pt idx="57">
                  <c:v>34243</c:v>
                </c:pt>
                <c:pt idx="58">
                  <c:v>34274</c:v>
                </c:pt>
                <c:pt idx="59">
                  <c:v>34304</c:v>
                </c:pt>
                <c:pt idx="60">
                  <c:v>34335</c:v>
                </c:pt>
                <c:pt idx="61">
                  <c:v>34366</c:v>
                </c:pt>
                <c:pt idx="62">
                  <c:v>34394</c:v>
                </c:pt>
                <c:pt idx="63">
                  <c:v>34425</c:v>
                </c:pt>
                <c:pt idx="64">
                  <c:v>34455</c:v>
                </c:pt>
                <c:pt idx="65">
                  <c:v>34486</c:v>
                </c:pt>
                <c:pt idx="66">
                  <c:v>34516</c:v>
                </c:pt>
                <c:pt idx="67">
                  <c:v>34547</c:v>
                </c:pt>
                <c:pt idx="68">
                  <c:v>34578</c:v>
                </c:pt>
                <c:pt idx="69">
                  <c:v>34608</c:v>
                </c:pt>
                <c:pt idx="70">
                  <c:v>34639</c:v>
                </c:pt>
                <c:pt idx="71">
                  <c:v>34669</c:v>
                </c:pt>
                <c:pt idx="72">
                  <c:v>34700</c:v>
                </c:pt>
                <c:pt idx="73">
                  <c:v>34731</c:v>
                </c:pt>
                <c:pt idx="74">
                  <c:v>34759</c:v>
                </c:pt>
                <c:pt idx="75">
                  <c:v>34790</c:v>
                </c:pt>
                <c:pt idx="76">
                  <c:v>34820</c:v>
                </c:pt>
                <c:pt idx="77">
                  <c:v>34851</c:v>
                </c:pt>
                <c:pt idx="78">
                  <c:v>34881</c:v>
                </c:pt>
                <c:pt idx="79">
                  <c:v>34912</c:v>
                </c:pt>
                <c:pt idx="80">
                  <c:v>34943</c:v>
                </c:pt>
                <c:pt idx="81">
                  <c:v>34973</c:v>
                </c:pt>
                <c:pt idx="82">
                  <c:v>35004</c:v>
                </c:pt>
                <c:pt idx="83">
                  <c:v>35034</c:v>
                </c:pt>
                <c:pt idx="84">
                  <c:v>35065</c:v>
                </c:pt>
                <c:pt idx="85">
                  <c:v>35096</c:v>
                </c:pt>
                <c:pt idx="86">
                  <c:v>35125</c:v>
                </c:pt>
                <c:pt idx="87">
                  <c:v>35156</c:v>
                </c:pt>
                <c:pt idx="88">
                  <c:v>35186</c:v>
                </c:pt>
                <c:pt idx="89">
                  <c:v>35217</c:v>
                </c:pt>
                <c:pt idx="90">
                  <c:v>35247</c:v>
                </c:pt>
                <c:pt idx="91">
                  <c:v>35278</c:v>
                </c:pt>
                <c:pt idx="92">
                  <c:v>35309</c:v>
                </c:pt>
                <c:pt idx="93">
                  <c:v>35339</c:v>
                </c:pt>
                <c:pt idx="94">
                  <c:v>35370</c:v>
                </c:pt>
                <c:pt idx="95">
                  <c:v>35400</c:v>
                </c:pt>
                <c:pt idx="96">
                  <c:v>35431</c:v>
                </c:pt>
                <c:pt idx="97">
                  <c:v>35462</c:v>
                </c:pt>
                <c:pt idx="98">
                  <c:v>35490</c:v>
                </c:pt>
                <c:pt idx="99">
                  <c:v>35521</c:v>
                </c:pt>
                <c:pt idx="100">
                  <c:v>35551</c:v>
                </c:pt>
                <c:pt idx="101">
                  <c:v>35582</c:v>
                </c:pt>
                <c:pt idx="102">
                  <c:v>35612</c:v>
                </c:pt>
                <c:pt idx="103">
                  <c:v>35643</c:v>
                </c:pt>
                <c:pt idx="104">
                  <c:v>35674</c:v>
                </c:pt>
                <c:pt idx="105">
                  <c:v>35704</c:v>
                </c:pt>
                <c:pt idx="106">
                  <c:v>35735</c:v>
                </c:pt>
                <c:pt idx="107">
                  <c:v>35765</c:v>
                </c:pt>
                <c:pt idx="108">
                  <c:v>35796</c:v>
                </c:pt>
                <c:pt idx="109">
                  <c:v>35827</c:v>
                </c:pt>
                <c:pt idx="110">
                  <c:v>35855</c:v>
                </c:pt>
                <c:pt idx="111">
                  <c:v>35886</c:v>
                </c:pt>
                <c:pt idx="112">
                  <c:v>35916</c:v>
                </c:pt>
                <c:pt idx="113">
                  <c:v>35947</c:v>
                </c:pt>
                <c:pt idx="114">
                  <c:v>35977</c:v>
                </c:pt>
                <c:pt idx="115">
                  <c:v>36008</c:v>
                </c:pt>
                <c:pt idx="116">
                  <c:v>36039</c:v>
                </c:pt>
                <c:pt idx="117">
                  <c:v>36069</c:v>
                </c:pt>
                <c:pt idx="118">
                  <c:v>36100</c:v>
                </c:pt>
                <c:pt idx="119">
                  <c:v>36130</c:v>
                </c:pt>
                <c:pt idx="120">
                  <c:v>36161</c:v>
                </c:pt>
                <c:pt idx="121">
                  <c:v>36192</c:v>
                </c:pt>
                <c:pt idx="122">
                  <c:v>36220</c:v>
                </c:pt>
                <c:pt idx="123">
                  <c:v>36251</c:v>
                </c:pt>
                <c:pt idx="124">
                  <c:v>36281</c:v>
                </c:pt>
                <c:pt idx="125">
                  <c:v>36312</c:v>
                </c:pt>
                <c:pt idx="126">
                  <c:v>36342</c:v>
                </c:pt>
                <c:pt idx="127">
                  <c:v>36373</c:v>
                </c:pt>
                <c:pt idx="128">
                  <c:v>36404</c:v>
                </c:pt>
                <c:pt idx="129">
                  <c:v>36434</c:v>
                </c:pt>
                <c:pt idx="130">
                  <c:v>36465</c:v>
                </c:pt>
                <c:pt idx="131">
                  <c:v>36495</c:v>
                </c:pt>
                <c:pt idx="132">
                  <c:v>36526</c:v>
                </c:pt>
                <c:pt idx="133">
                  <c:v>36557</c:v>
                </c:pt>
                <c:pt idx="134">
                  <c:v>36586</c:v>
                </c:pt>
                <c:pt idx="135">
                  <c:v>36617</c:v>
                </c:pt>
                <c:pt idx="136">
                  <c:v>36647</c:v>
                </c:pt>
                <c:pt idx="137">
                  <c:v>36678</c:v>
                </c:pt>
                <c:pt idx="138">
                  <c:v>36708</c:v>
                </c:pt>
                <c:pt idx="139">
                  <c:v>36739</c:v>
                </c:pt>
                <c:pt idx="140">
                  <c:v>36770</c:v>
                </c:pt>
                <c:pt idx="141">
                  <c:v>36800</c:v>
                </c:pt>
                <c:pt idx="142">
                  <c:v>36831</c:v>
                </c:pt>
                <c:pt idx="143">
                  <c:v>36861</c:v>
                </c:pt>
                <c:pt idx="144">
                  <c:v>36892</c:v>
                </c:pt>
                <c:pt idx="145">
                  <c:v>36923</c:v>
                </c:pt>
                <c:pt idx="146">
                  <c:v>36951</c:v>
                </c:pt>
                <c:pt idx="147">
                  <c:v>36982</c:v>
                </c:pt>
                <c:pt idx="148">
                  <c:v>37012</c:v>
                </c:pt>
                <c:pt idx="149">
                  <c:v>37043</c:v>
                </c:pt>
                <c:pt idx="150">
                  <c:v>37073</c:v>
                </c:pt>
                <c:pt idx="151">
                  <c:v>37104</c:v>
                </c:pt>
                <c:pt idx="152">
                  <c:v>37135</c:v>
                </c:pt>
                <c:pt idx="153">
                  <c:v>37165</c:v>
                </c:pt>
                <c:pt idx="154">
                  <c:v>37196</c:v>
                </c:pt>
                <c:pt idx="155">
                  <c:v>37226</c:v>
                </c:pt>
                <c:pt idx="156">
                  <c:v>37257</c:v>
                </c:pt>
                <c:pt idx="157">
                  <c:v>37288</c:v>
                </c:pt>
                <c:pt idx="158">
                  <c:v>37316</c:v>
                </c:pt>
                <c:pt idx="159">
                  <c:v>37347</c:v>
                </c:pt>
                <c:pt idx="160">
                  <c:v>37377</c:v>
                </c:pt>
                <c:pt idx="161">
                  <c:v>37408</c:v>
                </c:pt>
                <c:pt idx="162">
                  <c:v>37438</c:v>
                </c:pt>
                <c:pt idx="163">
                  <c:v>37469</c:v>
                </c:pt>
                <c:pt idx="164">
                  <c:v>37500</c:v>
                </c:pt>
                <c:pt idx="165">
                  <c:v>37530</c:v>
                </c:pt>
                <c:pt idx="166">
                  <c:v>37561</c:v>
                </c:pt>
                <c:pt idx="167">
                  <c:v>37591</c:v>
                </c:pt>
                <c:pt idx="168">
                  <c:v>37622</c:v>
                </c:pt>
                <c:pt idx="169">
                  <c:v>37653</c:v>
                </c:pt>
                <c:pt idx="170">
                  <c:v>37681</c:v>
                </c:pt>
                <c:pt idx="171">
                  <c:v>37712</c:v>
                </c:pt>
                <c:pt idx="172">
                  <c:v>37742</c:v>
                </c:pt>
                <c:pt idx="173">
                  <c:v>37773</c:v>
                </c:pt>
                <c:pt idx="174">
                  <c:v>37803</c:v>
                </c:pt>
                <c:pt idx="175">
                  <c:v>37834</c:v>
                </c:pt>
                <c:pt idx="176">
                  <c:v>37865</c:v>
                </c:pt>
                <c:pt idx="177">
                  <c:v>37895</c:v>
                </c:pt>
                <c:pt idx="178">
                  <c:v>37926</c:v>
                </c:pt>
                <c:pt idx="179">
                  <c:v>37956</c:v>
                </c:pt>
                <c:pt idx="180">
                  <c:v>37987</c:v>
                </c:pt>
                <c:pt idx="181">
                  <c:v>38018</c:v>
                </c:pt>
                <c:pt idx="182">
                  <c:v>38047</c:v>
                </c:pt>
                <c:pt idx="183">
                  <c:v>38078</c:v>
                </c:pt>
                <c:pt idx="184">
                  <c:v>38108</c:v>
                </c:pt>
                <c:pt idx="185">
                  <c:v>38139</c:v>
                </c:pt>
                <c:pt idx="186">
                  <c:v>38169</c:v>
                </c:pt>
                <c:pt idx="187">
                  <c:v>38200</c:v>
                </c:pt>
                <c:pt idx="188">
                  <c:v>38231</c:v>
                </c:pt>
                <c:pt idx="189">
                  <c:v>38261</c:v>
                </c:pt>
                <c:pt idx="190">
                  <c:v>38292</c:v>
                </c:pt>
                <c:pt idx="191">
                  <c:v>38322</c:v>
                </c:pt>
                <c:pt idx="192">
                  <c:v>38353</c:v>
                </c:pt>
                <c:pt idx="193">
                  <c:v>38384</c:v>
                </c:pt>
                <c:pt idx="194">
                  <c:v>38412</c:v>
                </c:pt>
                <c:pt idx="195">
                  <c:v>38443</c:v>
                </c:pt>
                <c:pt idx="196">
                  <c:v>38473</c:v>
                </c:pt>
                <c:pt idx="197">
                  <c:v>38504</c:v>
                </c:pt>
                <c:pt idx="198">
                  <c:v>38534</c:v>
                </c:pt>
                <c:pt idx="199">
                  <c:v>38565</c:v>
                </c:pt>
                <c:pt idx="200">
                  <c:v>38596</c:v>
                </c:pt>
                <c:pt idx="201">
                  <c:v>38626</c:v>
                </c:pt>
                <c:pt idx="202">
                  <c:v>38657</c:v>
                </c:pt>
                <c:pt idx="203">
                  <c:v>38687</c:v>
                </c:pt>
                <c:pt idx="204">
                  <c:v>38718</c:v>
                </c:pt>
                <c:pt idx="205">
                  <c:v>38749</c:v>
                </c:pt>
                <c:pt idx="206">
                  <c:v>38777</c:v>
                </c:pt>
                <c:pt idx="207">
                  <c:v>38808</c:v>
                </c:pt>
                <c:pt idx="208">
                  <c:v>38838</c:v>
                </c:pt>
                <c:pt idx="209">
                  <c:v>38869</c:v>
                </c:pt>
                <c:pt idx="210">
                  <c:v>38899</c:v>
                </c:pt>
                <c:pt idx="211">
                  <c:v>38930</c:v>
                </c:pt>
                <c:pt idx="212">
                  <c:v>38961</c:v>
                </c:pt>
                <c:pt idx="213">
                  <c:v>38991</c:v>
                </c:pt>
                <c:pt idx="214">
                  <c:v>39022</c:v>
                </c:pt>
                <c:pt idx="215">
                  <c:v>39052</c:v>
                </c:pt>
                <c:pt idx="216">
                  <c:v>39083</c:v>
                </c:pt>
                <c:pt idx="217">
                  <c:v>39114</c:v>
                </c:pt>
                <c:pt idx="218">
                  <c:v>39142</c:v>
                </c:pt>
                <c:pt idx="219">
                  <c:v>39173</c:v>
                </c:pt>
                <c:pt idx="220">
                  <c:v>39203</c:v>
                </c:pt>
                <c:pt idx="221">
                  <c:v>39234</c:v>
                </c:pt>
                <c:pt idx="222">
                  <c:v>39264</c:v>
                </c:pt>
                <c:pt idx="223">
                  <c:v>39295</c:v>
                </c:pt>
                <c:pt idx="224">
                  <c:v>39326</c:v>
                </c:pt>
                <c:pt idx="225">
                  <c:v>39356</c:v>
                </c:pt>
                <c:pt idx="226">
                  <c:v>39387</c:v>
                </c:pt>
                <c:pt idx="227">
                  <c:v>39417</c:v>
                </c:pt>
                <c:pt idx="228">
                  <c:v>39448</c:v>
                </c:pt>
                <c:pt idx="229">
                  <c:v>39479</c:v>
                </c:pt>
                <c:pt idx="230">
                  <c:v>39508</c:v>
                </c:pt>
                <c:pt idx="231">
                  <c:v>39539</c:v>
                </c:pt>
                <c:pt idx="232">
                  <c:v>39569</c:v>
                </c:pt>
                <c:pt idx="233">
                  <c:v>39600</c:v>
                </c:pt>
                <c:pt idx="234">
                  <c:v>39630</c:v>
                </c:pt>
                <c:pt idx="235">
                  <c:v>39661</c:v>
                </c:pt>
                <c:pt idx="236">
                  <c:v>39692</c:v>
                </c:pt>
                <c:pt idx="237">
                  <c:v>39722</c:v>
                </c:pt>
                <c:pt idx="238">
                  <c:v>39753</c:v>
                </c:pt>
                <c:pt idx="239">
                  <c:v>39783</c:v>
                </c:pt>
                <c:pt idx="240">
                  <c:v>39814</c:v>
                </c:pt>
                <c:pt idx="241">
                  <c:v>39845</c:v>
                </c:pt>
                <c:pt idx="242">
                  <c:v>39873</c:v>
                </c:pt>
                <c:pt idx="243">
                  <c:v>39904</c:v>
                </c:pt>
                <c:pt idx="244">
                  <c:v>39934</c:v>
                </c:pt>
                <c:pt idx="245">
                  <c:v>39965</c:v>
                </c:pt>
                <c:pt idx="246">
                  <c:v>39995</c:v>
                </c:pt>
                <c:pt idx="247">
                  <c:v>40026</c:v>
                </c:pt>
                <c:pt idx="248">
                  <c:v>40057</c:v>
                </c:pt>
                <c:pt idx="249">
                  <c:v>40087</c:v>
                </c:pt>
                <c:pt idx="250">
                  <c:v>40118</c:v>
                </c:pt>
                <c:pt idx="251">
                  <c:v>40148</c:v>
                </c:pt>
                <c:pt idx="252">
                  <c:v>40179</c:v>
                </c:pt>
                <c:pt idx="253">
                  <c:v>40210</c:v>
                </c:pt>
                <c:pt idx="254">
                  <c:v>40238</c:v>
                </c:pt>
                <c:pt idx="255">
                  <c:v>40269</c:v>
                </c:pt>
                <c:pt idx="256">
                  <c:v>40299</c:v>
                </c:pt>
                <c:pt idx="257">
                  <c:v>40330</c:v>
                </c:pt>
                <c:pt idx="258">
                  <c:v>40360</c:v>
                </c:pt>
                <c:pt idx="259">
                  <c:v>40391</c:v>
                </c:pt>
                <c:pt idx="260">
                  <c:v>40422</c:v>
                </c:pt>
                <c:pt idx="261">
                  <c:v>40452</c:v>
                </c:pt>
                <c:pt idx="262">
                  <c:v>40483</c:v>
                </c:pt>
                <c:pt idx="263">
                  <c:v>40513</c:v>
                </c:pt>
                <c:pt idx="264">
                  <c:v>40544</c:v>
                </c:pt>
                <c:pt idx="265">
                  <c:v>40575</c:v>
                </c:pt>
                <c:pt idx="266">
                  <c:v>40603</c:v>
                </c:pt>
                <c:pt idx="267">
                  <c:v>40634</c:v>
                </c:pt>
                <c:pt idx="268">
                  <c:v>40664</c:v>
                </c:pt>
                <c:pt idx="269">
                  <c:v>40695</c:v>
                </c:pt>
                <c:pt idx="270">
                  <c:v>40725</c:v>
                </c:pt>
                <c:pt idx="271">
                  <c:v>40756</c:v>
                </c:pt>
                <c:pt idx="272">
                  <c:v>40787</c:v>
                </c:pt>
                <c:pt idx="273">
                  <c:v>40817</c:v>
                </c:pt>
                <c:pt idx="274">
                  <c:v>40848</c:v>
                </c:pt>
                <c:pt idx="275">
                  <c:v>40878</c:v>
                </c:pt>
                <c:pt idx="276">
                  <c:v>40909</c:v>
                </c:pt>
                <c:pt idx="277">
                  <c:v>40940</c:v>
                </c:pt>
                <c:pt idx="278">
                  <c:v>40969</c:v>
                </c:pt>
                <c:pt idx="279">
                  <c:v>41000</c:v>
                </c:pt>
                <c:pt idx="280">
                  <c:v>41030</c:v>
                </c:pt>
                <c:pt idx="281">
                  <c:v>41061</c:v>
                </c:pt>
                <c:pt idx="282">
                  <c:v>41091</c:v>
                </c:pt>
                <c:pt idx="283">
                  <c:v>41122</c:v>
                </c:pt>
                <c:pt idx="284">
                  <c:v>41153</c:v>
                </c:pt>
                <c:pt idx="285">
                  <c:v>41183</c:v>
                </c:pt>
                <c:pt idx="286">
                  <c:v>41214</c:v>
                </c:pt>
                <c:pt idx="287">
                  <c:v>41244</c:v>
                </c:pt>
                <c:pt idx="288">
                  <c:v>41275</c:v>
                </c:pt>
                <c:pt idx="289">
                  <c:v>41306</c:v>
                </c:pt>
                <c:pt idx="290">
                  <c:v>41334</c:v>
                </c:pt>
                <c:pt idx="291">
                  <c:v>41365</c:v>
                </c:pt>
                <c:pt idx="292">
                  <c:v>41395</c:v>
                </c:pt>
                <c:pt idx="293">
                  <c:v>41426</c:v>
                </c:pt>
                <c:pt idx="294">
                  <c:v>41456</c:v>
                </c:pt>
                <c:pt idx="295">
                  <c:v>41487</c:v>
                </c:pt>
                <c:pt idx="296">
                  <c:v>41518</c:v>
                </c:pt>
                <c:pt idx="297">
                  <c:v>41548</c:v>
                </c:pt>
                <c:pt idx="298">
                  <c:v>41579</c:v>
                </c:pt>
                <c:pt idx="299">
                  <c:v>41609</c:v>
                </c:pt>
                <c:pt idx="300">
                  <c:v>41640</c:v>
                </c:pt>
                <c:pt idx="301">
                  <c:v>41671</c:v>
                </c:pt>
                <c:pt idx="302">
                  <c:v>41699</c:v>
                </c:pt>
                <c:pt idx="303">
                  <c:v>41730</c:v>
                </c:pt>
                <c:pt idx="304">
                  <c:v>41760</c:v>
                </c:pt>
                <c:pt idx="305">
                  <c:v>41791</c:v>
                </c:pt>
                <c:pt idx="306">
                  <c:v>41821</c:v>
                </c:pt>
                <c:pt idx="307">
                  <c:v>41852</c:v>
                </c:pt>
                <c:pt idx="308">
                  <c:v>41883</c:v>
                </c:pt>
                <c:pt idx="309">
                  <c:v>41913</c:v>
                </c:pt>
                <c:pt idx="310">
                  <c:v>41944</c:v>
                </c:pt>
                <c:pt idx="311">
                  <c:v>41974</c:v>
                </c:pt>
                <c:pt idx="312">
                  <c:v>42005</c:v>
                </c:pt>
                <c:pt idx="313">
                  <c:v>42036</c:v>
                </c:pt>
                <c:pt idx="314">
                  <c:v>42064</c:v>
                </c:pt>
                <c:pt idx="315">
                  <c:v>42095</c:v>
                </c:pt>
                <c:pt idx="316">
                  <c:v>42125</c:v>
                </c:pt>
                <c:pt idx="317">
                  <c:v>42156</c:v>
                </c:pt>
                <c:pt idx="318">
                  <c:v>42186</c:v>
                </c:pt>
                <c:pt idx="319">
                  <c:v>42217</c:v>
                </c:pt>
                <c:pt idx="320">
                  <c:v>42248</c:v>
                </c:pt>
                <c:pt idx="321">
                  <c:v>42278</c:v>
                </c:pt>
                <c:pt idx="322">
                  <c:v>42309</c:v>
                </c:pt>
                <c:pt idx="323">
                  <c:v>42339</c:v>
                </c:pt>
                <c:pt idx="324">
                  <c:v>42370</c:v>
                </c:pt>
                <c:pt idx="325">
                  <c:v>42401</c:v>
                </c:pt>
                <c:pt idx="326">
                  <c:v>42430</c:v>
                </c:pt>
                <c:pt idx="327">
                  <c:v>42461</c:v>
                </c:pt>
                <c:pt idx="328">
                  <c:v>42491</c:v>
                </c:pt>
                <c:pt idx="329">
                  <c:v>42522</c:v>
                </c:pt>
                <c:pt idx="330">
                  <c:v>42552</c:v>
                </c:pt>
                <c:pt idx="331">
                  <c:v>42583</c:v>
                </c:pt>
                <c:pt idx="332">
                  <c:v>42614</c:v>
                </c:pt>
                <c:pt idx="333">
                  <c:v>42644</c:v>
                </c:pt>
                <c:pt idx="334">
                  <c:v>42675</c:v>
                </c:pt>
                <c:pt idx="335">
                  <c:v>42705</c:v>
                </c:pt>
                <c:pt idx="336">
                  <c:v>42736</c:v>
                </c:pt>
                <c:pt idx="337">
                  <c:v>42767</c:v>
                </c:pt>
                <c:pt idx="338">
                  <c:v>42795</c:v>
                </c:pt>
                <c:pt idx="339">
                  <c:v>42826</c:v>
                </c:pt>
                <c:pt idx="340">
                  <c:v>42856</c:v>
                </c:pt>
                <c:pt idx="341">
                  <c:v>42887</c:v>
                </c:pt>
                <c:pt idx="342">
                  <c:v>42917</c:v>
                </c:pt>
                <c:pt idx="343">
                  <c:v>42948</c:v>
                </c:pt>
                <c:pt idx="344">
                  <c:v>42979</c:v>
                </c:pt>
                <c:pt idx="345">
                  <c:v>43009</c:v>
                </c:pt>
                <c:pt idx="346">
                  <c:v>43040</c:v>
                </c:pt>
                <c:pt idx="347">
                  <c:v>43070</c:v>
                </c:pt>
                <c:pt idx="348">
                  <c:v>43101</c:v>
                </c:pt>
                <c:pt idx="349">
                  <c:v>43132</c:v>
                </c:pt>
                <c:pt idx="350">
                  <c:v>43160</c:v>
                </c:pt>
                <c:pt idx="351">
                  <c:v>43191</c:v>
                </c:pt>
                <c:pt idx="352">
                  <c:v>43221</c:v>
                </c:pt>
                <c:pt idx="353">
                  <c:v>43252</c:v>
                </c:pt>
                <c:pt idx="354">
                  <c:v>43282</c:v>
                </c:pt>
                <c:pt idx="355">
                  <c:v>43313</c:v>
                </c:pt>
                <c:pt idx="356">
                  <c:v>43344</c:v>
                </c:pt>
                <c:pt idx="357">
                  <c:v>43374</c:v>
                </c:pt>
                <c:pt idx="358">
                  <c:v>43405</c:v>
                </c:pt>
                <c:pt idx="359">
                  <c:v>43435</c:v>
                </c:pt>
                <c:pt idx="360">
                  <c:v>43466</c:v>
                </c:pt>
                <c:pt idx="361">
                  <c:v>43497</c:v>
                </c:pt>
                <c:pt idx="362">
                  <c:v>43525</c:v>
                </c:pt>
                <c:pt idx="363">
                  <c:v>43556</c:v>
                </c:pt>
                <c:pt idx="364">
                  <c:v>43586</c:v>
                </c:pt>
                <c:pt idx="365">
                  <c:v>43617</c:v>
                </c:pt>
                <c:pt idx="366">
                  <c:v>43647</c:v>
                </c:pt>
                <c:pt idx="367">
                  <c:v>43678</c:v>
                </c:pt>
                <c:pt idx="368">
                  <c:v>43709</c:v>
                </c:pt>
                <c:pt idx="369">
                  <c:v>43739</c:v>
                </c:pt>
                <c:pt idx="370">
                  <c:v>43770</c:v>
                </c:pt>
                <c:pt idx="371">
                  <c:v>43800</c:v>
                </c:pt>
                <c:pt idx="372">
                  <c:v>43831</c:v>
                </c:pt>
                <c:pt idx="373">
                  <c:v>43862</c:v>
                </c:pt>
                <c:pt idx="374">
                  <c:v>43891</c:v>
                </c:pt>
                <c:pt idx="375">
                  <c:v>43922</c:v>
                </c:pt>
                <c:pt idx="376">
                  <c:v>43952</c:v>
                </c:pt>
                <c:pt idx="377">
                  <c:v>43983</c:v>
                </c:pt>
                <c:pt idx="378">
                  <c:v>44013</c:v>
                </c:pt>
                <c:pt idx="379">
                  <c:v>44044</c:v>
                </c:pt>
                <c:pt idx="380">
                  <c:v>44075</c:v>
                </c:pt>
                <c:pt idx="381">
                  <c:v>44105</c:v>
                </c:pt>
                <c:pt idx="382">
                  <c:v>44136</c:v>
                </c:pt>
                <c:pt idx="383">
                  <c:v>44166</c:v>
                </c:pt>
                <c:pt idx="384">
                  <c:v>44197</c:v>
                </c:pt>
                <c:pt idx="385">
                  <c:v>44228</c:v>
                </c:pt>
                <c:pt idx="386">
                  <c:v>44256</c:v>
                </c:pt>
                <c:pt idx="387">
                  <c:v>44287</c:v>
                </c:pt>
                <c:pt idx="388">
                  <c:v>44317</c:v>
                </c:pt>
                <c:pt idx="389">
                  <c:v>44348</c:v>
                </c:pt>
                <c:pt idx="390">
                  <c:v>44378</c:v>
                </c:pt>
                <c:pt idx="391">
                  <c:v>44409</c:v>
                </c:pt>
                <c:pt idx="392">
                  <c:v>44440</c:v>
                </c:pt>
                <c:pt idx="393">
                  <c:v>44470</c:v>
                </c:pt>
                <c:pt idx="394">
                  <c:v>44501</c:v>
                </c:pt>
                <c:pt idx="395">
                  <c:v>44531</c:v>
                </c:pt>
                <c:pt idx="396">
                  <c:v>44562</c:v>
                </c:pt>
                <c:pt idx="397">
                  <c:v>44593</c:v>
                </c:pt>
                <c:pt idx="398">
                  <c:v>44621</c:v>
                </c:pt>
                <c:pt idx="399">
                  <c:v>44652</c:v>
                </c:pt>
                <c:pt idx="400">
                  <c:v>44682</c:v>
                </c:pt>
                <c:pt idx="401">
                  <c:v>44713</c:v>
                </c:pt>
                <c:pt idx="402">
                  <c:v>44743</c:v>
                </c:pt>
                <c:pt idx="403">
                  <c:v>44774</c:v>
                </c:pt>
                <c:pt idx="404">
                  <c:v>44805</c:v>
                </c:pt>
                <c:pt idx="405">
                  <c:v>44835</c:v>
                </c:pt>
                <c:pt idx="406">
                  <c:v>44866</c:v>
                </c:pt>
                <c:pt idx="407">
                  <c:v>44896</c:v>
                </c:pt>
                <c:pt idx="408">
                  <c:v>44927</c:v>
                </c:pt>
                <c:pt idx="409">
                  <c:v>44958</c:v>
                </c:pt>
                <c:pt idx="410">
                  <c:v>44986</c:v>
                </c:pt>
                <c:pt idx="411">
                  <c:v>45017</c:v>
                </c:pt>
                <c:pt idx="412">
                  <c:v>45047</c:v>
                </c:pt>
                <c:pt idx="413">
                  <c:v>45078</c:v>
                </c:pt>
                <c:pt idx="414">
                  <c:v>45108</c:v>
                </c:pt>
              </c:numCache>
            </c:numRef>
          </c:cat>
          <c:val>
            <c:numRef>
              <c:f>'FRED Graph'!$I$12:$I$426</c:f>
              <c:numCache>
                <c:formatCode>0%</c:formatCode>
                <c:ptCount val="415"/>
                <c:pt idx="0">
                  <c:v>5.3770406150368405E-2</c:v>
                </c:pt>
                <c:pt idx="1">
                  <c:v>5.4044106531852161E-2</c:v>
                </c:pt>
                <c:pt idx="2">
                  <c:v>5.5276529452606055E-2</c:v>
                </c:pt>
                <c:pt idx="3">
                  <c:v>5.6727023655304173E-2</c:v>
                </c:pt>
                <c:pt idx="4">
                  <c:v>5.7797894191598767E-2</c:v>
                </c:pt>
                <c:pt idx="5">
                  <c:v>5.7563783516219942E-2</c:v>
                </c:pt>
                <c:pt idx="6">
                  <c:v>5.7311748990628075E-2</c:v>
                </c:pt>
                <c:pt idx="7">
                  <c:v>5.750717483166435E-2</c:v>
                </c:pt>
                <c:pt idx="8">
                  <c:v>5.7378804678258656E-2</c:v>
                </c:pt>
                <c:pt idx="9">
                  <c:v>5.7666051835935268E-2</c:v>
                </c:pt>
                <c:pt idx="10">
                  <c:v>5.7730486505008088E-2</c:v>
                </c:pt>
                <c:pt idx="11">
                  <c:v>5.7399613913892436E-2</c:v>
                </c:pt>
                <c:pt idx="12">
                  <c:v>5.7695633227040383E-2</c:v>
                </c:pt>
                <c:pt idx="13">
                  <c:v>5.8206700547060335E-2</c:v>
                </c:pt>
                <c:pt idx="14">
                  <c:v>5.8674112213015106E-2</c:v>
                </c:pt>
                <c:pt idx="15">
                  <c:v>5.8159615185876833E-2</c:v>
                </c:pt>
                <c:pt idx="16">
                  <c:v>5.8129482212222389E-2</c:v>
                </c:pt>
                <c:pt idx="17">
                  <c:v>5.8527661281847963E-2</c:v>
                </c:pt>
                <c:pt idx="18">
                  <c:v>5.8524378113771085E-2</c:v>
                </c:pt>
                <c:pt idx="19">
                  <c:v>5.8754790889638087E-2</c:v>
                </c:pt>
                <c:pt idx="20">
                  <c:v>5.935043089774826E-2</c:v>
                </c:pt>
                <c:pt idx="21">
                  <c:v>6.0229254139265553E-2</c:v>
                </c:pt>
                <c:pt idx="22">
                  <c:v>6.0778201028507388E-2</c:v>
                </c:pt>
                <c:pt idx="23">
                  <c:v>6.0942317512853117E-2</c:v>
                </c:pt>
                <c:pt idx="24">
                  <c:v>6.11482515687422E-2</c:v>
                </c:pt>
                <c:pt idx="25">
                  <c:v>6.0756054150479501E-2</c:v>
                </c:pt>
                <c:pt idx="26">
                  <c:v>6.065650430833619E-2</c:v>
                </c:pt>
                <c:pt idx="27">
                  <c:v>6.1673246886065125E-2</c:v>
                </c:pt>
                <c:pt idx="28">
                  <c:v>6.2010460325931327E-2</c:v>
                </c:pt>
                <c:pt idx="29">
                  <c:v>6.2289481688714149E-2</c:v>
                </c:pt>
                <c:pt idx="30">
                  <c:v>6.2750987519484533E-2</c:v>
                </c:pt>
                <c:pt idx="31">
                  <c:v>6.3012477353868557E-2</c:v>
                </c:pt>
                <c:pt idx="32">
                  <c:v>6.3137379637866961E-2</c:v>
                </c:pt>
                <c:pt idx="33">
                  <c:v>6.3490924537616372E-2</c:v>
                </c:pt>
                <c:pt idx="34">
                  <c:v>6.3652763630845863E-2</c:v>
                </c:pt>
                <c:pt idx="35">
                  <c:v>6.376759699999611E-2</c:v>
                </c:pt>
                <c:pt idx="36">
                  <c:v>6.3734397380806218E-2</c:v>
                </c:pt>
                <c:pt idx="37">
                  <c:v>6.4332294525705963E-2</c:v>
                </c:pt>
                <c:pt idx="38">
                  <c:v>6.4922320703368966E-2</c:v>
                </c:pt>
                <c:pt idx="39">
                  <c:v>6.4975065883969535E-2</c:v>
                </c:pt>
                <c:pt idx="40">
                  <c:v>6.5135130449027814E-2</c:v>
                </c:pt>
                <c:pt idx="41">
                  <c:v>6.5611115484251664E-2</c:v>
                </c:pt>
                <c:pt idx="42">
                  <c:v>6.5769023894625966E-2</c:v>
                </c:pt>
                <c:pt idx="43">
                  <c:v>6.5872295928066732E-2</c:v>
                </c:pt>
                <c:pt idx="44">
                  <c:v>6.5942798748340553E-2</c:v>
                </c:pt>
                <c:pt idx="45">
                  <c:v>6.5949803685033281E-2</c:v>
                </c:pt>
                <c:pt idx="46">
                  <c:v>6.585920130369724E-2</c:v>
                </c:pt>
                <c:pt idx="47">
                  <c:v>6.6103723094691522E-2</c:v>
                </c:pt>
                <c:pt idx="48">
                  <c:v>6.6213492348931202E-2</c:v>
                </c:pt>
                <c:pt idx="49">
                  <c:v>6.6457957348273311E-2</c:v>
                </c:pt>
                <c:pt idx="50">
                  <c:v>6.6627669829790889E-2</c:v>
                </c:pt>
                <c:pt idx="51">
                  <c:v>6.6753417184108654E-2</c:v>
                </c:pt>
                <c:pt idx="52">
                  <c:v>6.6816049215597598E-2</c:v>
                </c:pt>
                <c:pt idx="53">
                  <c:v>6.6989051319828061E-2</c:v>
                </c:pt>
                <c:pt idx="54">
                  <c:v>6.7013603222093474E-2</c:v>
                </c:pt>
                <c:pt idx="55">
                  <c:v>6.7010870949573628E-2</c:v>
                </c:pt>
                <c:pt idx="56">
                  <c:v>6.7426446011000188E-2</c:v>
                </c:pt>
                <c:pt idx="57">
                  <c:v>6.7488460850253854E-2</c:v>
                </c:pt>
                <c:pt idx="58">
                  <c:v>6.8340816774732596E-2</c:v>
                </c:pt>
                <c:pt idx="59">
                  <c:v>6.8745167129072318E-2</c:v>
                </c:pt>
                <c:pt idx="60">
                  <c:v>6.9409133086462363E-2</c:v>
                </c:pt>
                <c:pt idx="61">
                  <c:v>6.9839861267290776E-2</c:v>
                </c:pt>
                <c:pt idx="62">
                  <c:v>7.0718406968166975E-2</c:v>
                </c:pt>
                <c:pt idx="63">
                  <c:v>7.0993514993755738E-2</c:v>
                </c:pt>
                <c:pt idx="64">
                  <c:v>7.1574754526626677E-2</c:v>
                </c:pt>
                <c:pt idx="65">
                  <c:v>7.1899295586648065E-2</c:v>
                </c:pt>
                <c:pt idx="66">
                  <c:v>7.1828900209032862E-2</c:v>
                </c:pt>
                <c:pt idx="67">
                  <c:v>7.2650137407691648E-2</c:v>
                </c:pt>
                <c:pt idx="68">
                  <c:v>7.3093313855312869E-2</c:v>
                </c:pt>
                <c:pt idx="69">
                  <c:v>7.3577891867121312E-2</c:v>
                </c:pt>
                <c:pt idx="70">
                  <c:v>7.4237588435457413E-2</c:v>
                </c:pt>
                <c:pt idx="71">
                  <c:v>7.462254279657568E-2</c:v>
                </c:pt>
                <c:pt idx="72">
                  <c:v>7.5283018587868247E-2</c:v>
                </c:pt>
                <c:pt idx="73">
                  <c:v>7.5960981093630156E-2</c:v>
                </c:pt>
                <c:pt idx="74">
                  <c:v>7.6799960709482737E-2</c:v>
                </c:pt>
                <c:pt idx="75">
                  <c:v>7.7029206439663767E-2</c:v>
                </c:pt>
                <c:pt idx="76">
                  <c:v>7.7900591372798547E-2</c:v>
                </c:pt>
                <c:pt idx="77">
                  <c:v>7.8634637581759495E-2</c:v>
                </c:pt>
                <c:pt idx="78">
                  <c:v>7.9542675386296849E-2</c:v>
                </c:pt>
                <c:pt idx="79">
                  <c:v>8.0405202251032079E-2</c:v>
                </c:pt>
                <c:pt idx="80">
                  <c:v>8.1214370036342215E-2</c:v>
                </c:pt>
                <c:pt idx="81">
                  <c:v>8.2305127023289862E-2</c:v>
                </c:pt>
                <c:pt idx="82">
                  <c:v>8.3053025593902846E-2</c:v>
                </c:pt>
                <c:pt idx="83">
                  <c:v>8.3519581248159142E-2</c:v>
                </c:pt>
                <c:pt idx="84">
                  <c:v>8.433180340511677E-2</c:v>
                </c:pt>
                <c:pt idx="85">
                  <c:v>8.4977463463898242E-2</c:v>
                </c:pt>
                <c:pt idx="86">
                  <c:v>8.4997111457883745E-2</c:v>
                </c:pt>
                <c:pt idx="87">
                  <c:v>8.6459780864962116E-2</c:v>
                </c:pt>
                <c:pt idx="88">
                  <c:v>8.7455041302715308E-2</c:v>
                </c:pt>
                <c:pt idx="89">
                  <c:v>8.8250948625362188E-2</c:v>
                </c:pt>
                <c:pt idx="90">
                  <c:v>8.9470016040344935E-2</c:v>
                </c:pt>
                <c:pt idx="91">
                  <c:v>9.0306812879141399E-2</c:v>
                </c:pt>
                <c:pt idx="92">
                  <c:v>9.1125444983037526E-2</c:v>
                </c:pt>
                <c:pt idx="93">
                  <c:v>9.2285484139059709E-2</c:v>
                </c:pt>
                <c:pt idx="94">
                  <c:v>9.2730764547096639E-2</c:v>
                </c:pt>
                <c:pt idx="95">
                  <c:v>9.3421519194256175E-2</c:v>
                </c:pt>
                <c:pt idx="96">
                  <c:v>9.3443494473431671E-2</c:v>
                </c:pt>
                <c:pt idx="97">
                  <c:v>9.38562214468458E-2</c:v>
                </c:pt>
                <c:pt idx="98">
                  <c:v>9.4682978357530645E-2</c:v>
                </c:pt>
                <c:pt idx="99">
                  <c:v>9.52423006225767E-2</c:v>
                </c:pt>
                <c:pt idx="100">
                  <c:v>9.5426292256622164E-2</c:v>
                </c:pt>
                <c:pt idx="101">
                  <c:v>9.591966709405457E-2</c:v>
                </c:pt>
                <c:pt idx="102">
                  <c:v>9.6281384641781348E-2</c:v>
                </c:pt>
                <c:pt idx="103">
                  <c:v>9.6519694686822186E-2</c:v>
                </c:pt>
                <c:pt idx="104">
                  <c:v>9.7222515688718911E-2</c:v>
                </c:pt>
                <c:pt idx="105">
                  <c:v>9.7968232018475057E-2</c:v>
                </c:pt>
                <c:pt idx="106">
                  <c:v>9.8434969132088768E-2</c:v>
                </c:pt>
                <c:pt idx="107">
                  <c:v>9.8812583146200478E-2</c:v>
                </c:pt>
                <c:pt idx="108">
                  <c:v>9.9220018756147235E-2</c:v>
                </c:pt>
                <c:pt idx="109">
                  <c:v>9.9247296037375643E-2</c:v>
                </c:pt>
                <c:pt idx="110">
                  <c:v>0.10008171532100109</c:v>
                </c:pt>
                <c:pt idx="111">
                  <c:v>0.10031386712845852</c:v>
                </c:pt>
                <c:pt idx="112">
                  <c:v>0.10075428696677113</c:v>
                </c:pt>
                <c:pt idx="113">
                  <c:v>0.10136349201927632</c:v>
                </c:pt>
                <c:pt idx="114">
                  <c:v>0.10158021405547106</c:v>
                </c:pt>
                <c:pt idx="115">
                  <c:v>0.10210185574746648</c:v>
                </c:pt>
                <c:pt idx="116">
                  <c:v>0.10260591985569324</c:v>
                </c:pt>
                <c:pt idx="117">
                  <c:v>0.10281431856748083</c:v>
                </c:pt>
                <c:pt idx="118">
                  <c:v>0.10307498750116746</c:v>
                </c:pt>
                <c:pt idx="119">
                  <c:v>0.10377170203619712</c:v>
                </c:pt>
                <c:pt idx="120">
                  <c:v>0.10388000270992644</c:v>
                </c:pt>
                <c:pt idx="121">
                  <c:v>0.10429566513034148</c:v>
                </c:pt>
                <c:pt idx="122">
                  <c:v>0.10499354986731774</c:v>
                </c:pt>
                <c:pt idx="123">
                  <c:v>0.10515594051674648</c:v>
                </c:pt>
                <c:pt idx="124">
                  <c:v>0.10546830472715685</c:v>
                </c:pt>
                <c:pt idx="125">
                  <c:v>0.10590332386315594</c:v>
                </c:pt>
                <c:pt idx="126">
                  <c:v>0.10640583277703605</c:v>
                </c:pt>
                <c:pt idx="127">
                  <c:v>0.10683874954936397</c:v>
                </c:pt>
                <c:pt idx="128">
                  <c:v>0.10702493249462244</c:v>
                </c:pt>
                <c:pt idx="129">
                  <c:v>0.10677415206300023</c:v>
                </c:pt>
                <c:pt idx="130">
                  <c:v>0.10717623491377172</c:v>
                </c:pt>
                <c:pt idx="131">
                  <c:v>0.10708429873377198</c:v>
                </c:pt>
                <c:pt idx="132">
                  <c:v>0.10748229379756846</c:v>
                </c:pt>
                <c:pt idx="133">
                  <c:v>0.10815332382030211</c:v>
                </c:pt>
                <c:pt idx="134">
                  <c:v>0.10836489679051431</c:v>
                </c:pt>
                <c:pt idx="135">
                  <c:v>0.10847974688631438</c:v>
                </c:pt>
                <c:pt idx="136">
                  <c:v>0.10905745099186084</c:v>
                </c:pt>
                <c:pt idx="137">
                  <c:v>0.10952158986783594</c:v>
                </c:pt>
                <c:pt idx="138">
                  <c:v>0.10953487173349152</c:v>
                </c:pt>
                <c:pt idx="139">
                  <c:v>0.11031068468171902</c:v>
                </c:pt>
                <c:pt idx="140">
                  <c:v>0.11075852844852972</c:v>
                </c:pt>
                <c:pt idx="141">
                  <c:v>0.11160270717834257</c:v>
                </c:pt>
                <c:pt idx="142">
                  <c:v>0.11200558526431037</c:v>
                </c:pt>
                <c:pt idx="143">
                  <c:v>0.11159602338547528</c:v>
                </c:pt>
                <c:pt idx="144">
                  <c:v>0.11145917626267594</c:v>
                </c:pt>
                <c:pt idx="145">
                  <c:v>0.11100191241774982</c:v>
                </c:pt>
                <c:pt idx="146">
                  <c:v>0.11107917171026192</c:v>
                </c:pt>
                <c:pt idx="147">
                  <c:v>0.11111611077345405</c:v>
                </c:pt>
                <c:pt idx="148">
                  <c:v>0.11157441326642506</c:v>
                </c:pt>
                <c:pt idx="149">
                  <c:v>0.11189366011035919</c:v>
                </c:pt>
                <c:pt idx="150">
                  <c:v>0.11248174592971318</c:v>
                </c:pt>
                <c:pt idx="151">
                  <c:v>0.11290334117365255</c:v>
                </c:pt>
                <c:pt idx="152">
                  <c:v>0.11297623290389278</c:v>
                </c:pt>
                <c:pt idx="153">
                  <c:v>0.11362383430916796</c:v>
                </c:pt>
                <c:pt idx="154">
                  <c:v>0.11407777091814929</c:v>
                </c:pt>
                <c:pt idx="155">
                  <c:v>0.11510781341613795</c:v>
                </c:pt>
                <c:pt idx="156">
                  <c:v>0.11610404525623746</c:v>
                </c:pt>
                <c:pt idx="157">
                  <c:v>0.11677464093441714</c:v>
                </c:pt>
                <c:pt idx="158">
                  <c:v>0.1169779019764776</c:v>
                </c:pt>
                <c:pt idx="159">
                  <c:v>0.11810780172948894</c:v>
                </c:pt>
                <c:pt idx="160">
                  <c:v>0.11842519243162614</c:v>
                </c:pt>
                <c:pt idx="161">
                  <c:v>0.11800442005709241</c:v>
                </c:pt>
                <c:pt idx="162">
                  <c:v>0.11827393031826097</c:v>
                </c:pt>
                <c:pt idx="163">
                  <c:v>0.11777623581947286</c:v>
                </c:pt>
                <c:pt idx="164">
                  <c:v>0.11753807840930673</c:v>
                </c:pt>
                <c:pt idx="165">
                  <c:v>0.11762504724929609</c:v>
                </c:pt>
                <c:pt idx="166">
                  <c:v>0.11691081959363281</c:v>
                </c:pt>
                <c:pt idx="167">
                  <c:v>0.11591177974901969</c:v>
                </c:pt>
                <c:pt idx="168">
                  <c:v>0.11536685769289402</c:v>
                </c:pt>
                <c:pt idx="169">
                  <c:v>0.11516490658965353</c:v>
                </c:pt>
                <c:pt idx="170">
                  <c:v>0.11443726992439164</c:v>
                </c:pt>
                <c:pt idx="171">
                  <c:v>0.11349090709284164</c:v>
                </c:pt>
                <c:pt idx="172">
                  <c:v>0.11255050075967588</c:v>
                </c:pt>
                <c:pt idx="173">
                  <c:v>0.11212644275831363</c:v>
                </c:pt>
                <c:pt idx="174">
                  <c:v>0.11126763464627598</c:v>
                </c:pt>
                <c:pt idx="175">
                  <c:v>0.11069447823090178</c:v>
                </c:pt>
                <c:pt idx="176">
                  <c:v>0.11045459483271489</c:v>
                </c:pt>
                <c:pt idx="177">
                  <c:v>0.10979812849071742</c:v>
                </c:pt>
                <c:pt idx="178">
                  <c:v>0.10947110962623763</c:v>
                </c:pt>
                <c:pt idx="179">
                  <c:v>0.10982235653369882</c:v>
                </c:pt>
                <c:pt idx="180">
                  <c:v>0.10936814666906844</c:v>
                </c:pt>
                <c:pt idx="181">
                  <c:v>0.10890711068909258</c:v>
                </c:pt>
                <c:pt idx="182">
                  <c:v>0.10918462734265555</c:v>
                </c:pt>
                <c:pt idx="183">
                  <c:v>0.10898818629208153</c:v>
                </c:pt>
                <c:pt idx="184">
                  <c:v>0.10867633733359099</c:v>
                </c:pt>
                <c:pt idx="185">
                  <c:v>0.10878977760653338</c:v>
                </c:pt>
                <c:pt idx="186">
                  <c:v>0.10816011020444381</c:v>
                </c:pt>
                <c:pt idx="187">
                  <c:v>0.10777834597383816</c:v>
                </c:pt>
                <c:pt idx="188">
                  <c:v>0.10755815729629091</c:v>
                </c:pt>
                <c:pt idx="189">
                  <c:v>0.10697469950395609</c:v>
                </c:pt>
                <c:pt idx="190">
                  <c:v>0.10672348985597178</c:v>
                </c:pt>
                <c:pt idx="191">
                  <c:v>0.10607688824136577</c:v>
                </c:pt>
                <c:pt idx="192">
                  <c:v>0.10515595577572412</c:v>
                </c:pt>
                <c:pt idx="193">
                  <c:v>0.10429310013546567</c:v>
                </c:pt>
                <c:pt idx="194">
                  <c:v>0.10379814648311141</c:v>
                </c:pt>
                <c:pt idx="195">
                  <c:v>0.10365324153897913</c:v>
                </c:pt>
                <c:pt idx="196">
                  <c:v>0.10353100260717106</c:v>
                </c:pt>
                <c:pt idx="197">
                  <c:v>0.10329289434879425</c:v>
                </c:pt>
                <c:pt idx="198">
                  <c:v>0.10266537899869427</c:v>
                </c:pt>
                <c:pt idx="199">
                  <c:v>0.10271565367760319</c:v>
                </c:pt>
                <c:pt idx="200">
                  <c:v>0.10209079758595378</c:v>
                </c:pt>
                <c:pt idx="201">
                  <c:v>0.10161332589242425</c:v>
                </c:pt>
                <c:pt idx="202">
                  <c:v>0.10166658283036226</c:v>
                </c:pt>
                <c:pt idx="203">
                  <c:v>0.10165108260031934</c:v>
                </c:pt>
                <c:pt idx="204">
                  <c:v>0.10226147238639921</c:v>
                </c:pt>
                <c:pt idx="205">
                  <c:v>0.10273841108499196</c:v>
                </c:pt>
                <c:pt idx="206">
                  <c:v>0.10343809715818923</c:v>
                </c:pt>
                <c:pt idx="207">
                  <c:v>0.10339221647069359</c:v>
                </c:pt>
                <c:pt idx="208">
                  <c:v>0.10381373847201135</c:v>
                </c:pt>
                <c:pt idx="209">
                  <c:v>0.10443477124565835</c:v>
                </c:pt>
                <c:pt idx="210">
                  <c:v>0.10487418776880134</c:v>
                </c:pt>
                <c:pt idx="211">
                  <c:v>0.10541179202175484</c:v>
                </c:pt>
                <c:pt idx="212">
                  <c:v>0.10590778398493778</c:v>
                </c:pt>
                <c:pt idx="213">
                  <c:v>0.10661184116409515</c:v>
                </c:pt>
                <c:pt idx="214">
                  <c:v>0.10711081173576106</c:v>
                </c:pt>
                <c:pt idx="215">
                  <c:v>0.10693618238572035</c:v>
                </c:pt>
                <c:pt idx="216">
                  <c:v>0.10683712350163165</c:v>
                </c:pt>
                <c:pt idx="217">
                  <c:v>0.10663757481026509</c:v>
                </c:pt>
                <c:pt idx="218">
                  <c:v>0.10645042377977219</c:v>
                </c:pt>
                <c:pt idx="219">
                  <c:v>0.1062899553061826</c:v>
                </c:pt>
                <c:pt idx="220">
                  <c:v>0.10640685203962522</c:v>
                </c:pt>
                <c:pt idx="221">
                  <c:v>0.10606628280044306</c:v>
                </c:pt>
                <c:pt idx="222">
                  <c:v>0.10640370673484906</c:v>
                </c:pt>
                <c:pt idx="223">
                  <c:v>0.10676685987441756</c:v>
                </c:pt>
                <c:pt idx="224">
                  <c:v>0.10685481426042363</c:v>
                </c:pt>
                <c:pt idx="225">
                  <c:v>0.10732289978359594</c:v>
                </c:pt>
                <c:pt idx="226">
                  <c:v>0.10745861225844024</c:v>
                </c:pt>
                <c:pt idx="227">
                  <c:v>0.10767402064424347</c:v>
                </c:pt>
                <c:pt idx="228">
                  <c:v>0.10746702896820137</c:v>
                </c:pt>
                <c:pt idx="229">
                  <c:v>0.10742187622583868</c:v>
                </c:pt>
                <c:pt idx="230">
                  <c:v>0.10647141150929972</c:v>
                </c:pt>
                <c:pt idx="231">
                  <c:v>0.10678961944891406</c:v>
                </c:pt>
                <c:pt idx="232">
                  <c:v>0.10600919815760819</c:v>
                </c:pt>
                <c:pt idx="233">
                  <c:v>0.10537411469475567</c:v>
                </c:pt>
                <c:pt idx="234">
                  <c:v>0.10495360355597678</c:v>
                </c:pt>
                <c:pt idx="235">
                  <c:v>0.10402380016413777</c:v>
                </c:pt>
                <c:pt idx="236">
                  <c:v>0.10354762021693725</c:v>
                </c:pt>
                <c:pt idx="237">
                  <c:v>0.10312749112127895</c:v>
                </c:pt>
                <c:pt idx="238">
                  <c:v>0.10233323176461989</c:v>
                </c:pt>
                <c:pt idx="239">
                  <c:v>0.10265136443623224</c:v>
                </c:pt>
                <c:pt idx="240">
                  <c:v>0.10273046540517027</c:v>
                </c:pt>
                <c:pt idx="241">
                  <c:v>0.10304635480552655</c:v>
                </c:pt>
                <c:pt idx="242">
                  <c:v>0.1039242542253322</c:v>
                </c:pt>
                <c:pt idx="243">
                  <c:v>0.10435698308045116</c:v>
                </c:pt>
                <c:pt idx="244">
                  <c:v>0.10505332937642234</c:v>
                </c:pt>
                <c:pt idx="245">
                  <c:v>0.10598801141889438</c:v>
                </c:pt>
                <c:pt idx="246">
                  <c:v>0.10697716061471604</c:v>
                </c:pt>
                <c:pt idx="247">
                  <c:v>0.10801110298935349</c:v>
                </c:pt>
                <c:pt idx="248">
                  <c:v>0.10956638979618227</c:v>
                </c:pt>
                <c:pt idx="249">
                  <c:v>0.1104665045772641</c:v>
                </c:pt>
                <c:pt idx="250">
                  <c:v>0.11206269617641124</c:v>
                </c:pt>
                <c:pt idx="251">
                  <c:v>0.11326721011845797</c:v>
                </c:pt>
                <c:pt idx="252">
                  <c:v>0.11429464944142491</c:v>
                </c:pt>
                <c:pt idx="253">
                  <c:v>0.11479137758385584</c:v>
                </c:pt>
                <c:pt idx="254">
                  <c:v>0.11630249686745898</c:v>
                </c:pt>
                <c:pt idx="255">
                  <c:v>0.11691578117182176</c:v>
                </c:pt>
                <c:pt idx="256">
                  <c:v>0.11779035546484296</c:v>
                </c:pt>
                <c:pt idx="257">
                  <c:v>0.11854466359265643</c:v>
                </c:pt>
                <c:pt idx="258">
                  <c:v>0.11888456888619793</c:v>
                </c:pt>
                <c:pt idx="259">
                  <c:v>0.11940249104260578</c:v>
                </c:pt>
                <c:pt idx="260">
                  <c:v>0.11966621582761906</c:v>
                </c:pt>
                <c:pt idx="261">
                  <c:v>0.1199997643410687</c:v>
                </c:pt>
                <c:pt idx="262">
                  <c:v>0.12040918054735963</c:v>
                </c:pt>
                <c:pt idx="263">
                  <c:v>0.12016859297084739</c:v>
                </c:pt>
                <c:pt idx="264">
                  <c:v>0.12000661837144377</c:v>
                </c:pt>
                <c:pt idx="265">
                  <c:v>0.1198792499532866</c:v>
                </c:pt>
                <c:pt idx="266">
                  <c:v>0.11983441187491549</c:v>
                </c:pt>
                <c:pt idx="267">
                  <c:v>0.11958121284590956</c:v>
                </c:pt>
                <c:pt idx="268">
                  <c:v>0.11972710207933886</c:v>
                </c:pt>
                <c:pt idx="269">
                  <c:v>0.11967376705860687</c:v>
                </c:pt>
                <c:pt idx="270">
                  <c:v>0.11955333880313657</c:v>
                </c:pt>
                <c:pt idx="271">
                  <c:v>0.1197257955046203</c:v>
                </c:pt>
                <c:pt idx="272">
                  <c:v>0.1196211035753037</c:v>
                </c:pt>
                <c:pt idx="273">
                  <c:v>0.11928475945607778</c:v>
                </c:pt>
                <c:pt idx="274">
                  <c:v>0.11926473585609523</c:v>
                </c:pt>
                <c:pt idx="275">
                  <c:v>0.11905755099879799</c:v>
                </c:pt>
                <c:pt idx="276">
                  <c:v>0.11922290698132942</c:v>
                </c:pt>
                <c:pt idx="277">
                  <c:v>0.12015137396752525</c:v>
                </c:pt>
                <c:pt idx="278">
                  <c:v>0.12015136955454438</c:v>
                </c:pt>
                <c:pt idx="279">
                  <c:v>0.12017068742014868</c:v>
                </c:pt>
                <c:pt idx="280">
                  <c:v>0.12068231228742195</c:v>
                </c:pt>
                <c:pt idx="281">
                  <c:v>0.12085161213790883</c:v>
                </c:pt>
                <c:pt idx="282">
                  <c:v>0.12138653196840787</c:v>
                </c:pt>
                <c:pt idx="283">
                  <c:v>0.12157635906898924</c:v>
                </c:pt>
                <c:pt idx="284">
                  <c:v>0.12134748645321924</c:v>
                </c:pt>
                <c:pt idx="285">
                  <c:v>0.12225696636450728</c:v>
                </c:pt>
                <c:pt idx="286">
                  <c:v>0.1222477513492983</c:v>
                </c:pt>
                <c:pt idx="287">
                  <c:v>0.12195125685822311</c:v>
                </c:pt>
                <c:pt idx="288">
                  <c:v>0.1220674164312596</c:v>
                </c:pt>
                <c:pt idx="289">
                  <c:v>0.12151019268515276</c:v>
                </c:pt>
                <c:pt idx="290">
                  <c:v>0.12132245908819396</c:v>
                </c:pt>
                <c:pt idx="291">
                  <c:v>0.12225538983057894</c:v>
                </c:pt>
                <c:pt idx="292">
                  <c:v>0.12211364139594418</c:v>
                </c:pt>
                <c:pt idx="293">
                  <c:v>0.1219610959069284</c:v>
                </c:pt>
                <c:pt idx="294">
                  <c:v>0.12240260559522539</c:v>
                </c:pt>
                <c:pt idx="295">
                  <c:v>0.12244930444817106</c:v>
                </c:pt>
                <c:pt idx="296">
                  <c:v>0.12282025017765823</c:v>
                </c:pt>
                <c:pt idx="297">
                  <c:v>0.12275448434370914</c:v>
                </c:pt>
                <c:pt idx="298">
                  <c:v>0.12290940711393929</c:v>
                </c:pt>
                <c:pt idx="299">
                  <c:v>0.12370268136178594</c:v>
                </c:pt>
                <c:pt idx="300">
                  <c:v>0.12382628729540392</c:v>
                </c:pt>
                <c:pt idx="301">
                  <c:v>0.12401096729250938</c:v>
                </c:pt>
                <c:pt idx="302">
                  <c:v>0.12400577495750748</c:v>
                </c:pt>
                <c:pt idx="303">
                  <c:v>0.12345221631357629</c:v>
                </c:pt>
                <c:pt idx="304">
                  <c:v>0.1234937897444924</c:v>
                </c:pt>
                <c:pt idx="305">
                  <c:v>0.12396509633662954</c:v>
                </c:pt>
                <c:pt idx="306">
                  <c:v>0.12423828776070099</c:v>
                </c:pt>
                <c:pt idx="307">
                  <c:v>0.12418988138671293</c:v>
                </c:pt>
                <c:pt idx="308">
                  <c:v>0.12459356524501654</c:v>
                </c:pt>
                <c:pt idx="309">
                  <c:v>0.12520150019085288</c:v>
                </c:pt>
                <c:pt idx="310">
                  <c:v>0.12519293936784467</c:v>
                </c:pt>
                <c:pt idx="311">
                  <c:v>0.1255030877187473</c:v>
                </c:pt>
                <c:pt idx="312">
                  <c:v>0.12566984449957963</c:v>
                </c:pt>
                <c:pt idx="313">
                  <c:v>0.12625465298519895</c:v>
                </c:pt>
                <c:pt idx="314">
                  <c:v>0.12658284426937796</c:v>
                </c:pt>
                <c:pt idx="315">
                  <c:v>0.12720234888265403</c:v>
                </c:pt>
                <c:pt idx="316">
                  <c:v>0.12737114428841206</c:v>
                </c:pt>
                <c:pt idx="317">
                  <c:v>0.12844198762602174</c:v>
                </c:pt>
                <c:pt idx="318">
                  <c:v>0.12874419519892899</c:v>
                </c:pt>
                <c:pt idx="319">
                  <c:v>0.12908955463441901</c:v>
                </c:pt>
                <c:pt idx="320">
                  <c:v>0.12983116895806462</c:v>
                </c:pt>
                <c:pt idx="321">
                  <c:v>0.13066808400678234</c:v>
                </c:pt>
                <c:pt idx="322">
                  <c:v>0.13127749447010967</c:v>
                </c:pt>
                <c:pt idx="323">
                  <c:v>0.13181778220763804</c:v>
                </c:pt>
                <c:pt idx="324">
                  <c:v>0.13259969678066477</c:v>
                </c:pt>
                <c:pt idx="325">
                  <c:v>0.1328631720113343</c:v>
                </c:pt>
                <c:pt idx="326">
                  <c:v>0.13381515475721836</c:v>
                </c:pt>
                <c:pt idx="327">
                  <c:v>0.13465724778680116</c:v>
                </c:pt>
                <c:pt idx="328">
                  <c:v>0.13523486586013422</c:v>
                </c:pt>
                <c:pt idx="329">
                  <c:v>0.13467537225584897</c:v>
                </c:pt>
                <c:pt idx="330">
                  <c:v>0.13407373647200749</c:v>
                </c:pt>
                <c:pt idx="331">
                  <c:v>0.13472590635991105</c:v>
                </c:pt>
                <c:pt idx="332">
                  <c:v>0.13485034906308818</c:v>
                </c:pt>
                <c:pt idx="333">
                  <c:v>0.13426585459172063</c:v>
                </c:pt>
                <c:pt idx="334">
                  <c:v>0.1345110891952426</c:v>
                </c:pt>
                <c:pt idx="335">
                  <c:v>0.13421557522115801</c:v>
                </c:pt>
                <c:pt idx="336">
                  <c:v>0.13375815366597227</c:v>
                </c:pt>
                <c:pt idx="337">
                  <c:v>0.13356889188023996</c:v>
                </c:pt>
                <c:pt idx="338">
                  <c:v>0.13404646239889875</c:v>
                </c:pt>
                <c:pt idx="339">
                  <c:v>0.13311202862467716</c:v>
                </c:pt>
                <c:pt idx="340">
                  <c:v>0.13340197438424573</c:v>
                </c:pt>
                <c:pt idx="341">
                  <c:v>0.13389960584863581</c:v>
                </c:pt>
                <c:pt idx="342">
                  <c:v>0.13411301856526586</c:v>
                </c:pt>
                <c:pt idx="343">
                  <c:v>0.13428630564962377</c:v>
                </c:pt>
                <c:pt idx="344">
                  <c:v>0.1339219515380938</c:v>
                </c:pt>
                <c:pt idx="345">
                  <c:v>0.13410066455484451</c:v>
                </c:pt>
                <c:pt idx="346">
                  <c:v>0.13407164147709205</c:v>
                </c:pt>
                <c:pt idx="347">
                  <c:v>0.13364160504629433</c:v>
                </c:pt>
                <c:pt idx="348">
                  <c:v>0.13387679605556096</c:v>
                </c:pt>
                <c:pt idx="349">
                  <c:v>0.13356946372052175</c:v>
                </c:pt>
                <c:pt idx="350">
                  <c:v>0.13336553775158347</c:v>
                </c:pt>
                <c:pt idx="351">
                  <c:v>0.13366597183973589</c:v>
                </c:pt>
                <c:pt idx="352">
                  <c:v>0.13365294204599149</c:v>
                </c:pt>
                <c:pt idx="353">
                  <c:v>0.13364446106931618</c:v>
                </c:pt>
                <c:pt idx="354">
                  <c:v>0.13393028852350833</c:v>
                </c:pt>
                <c:pt idx="355">
                  <c:v>0.13441877616092496</c:v>
                </c:pt>
                <c:pt idx="356">
                  <c:v>0.1345672038914256</c:v>
                </c:pt>
                <c:pt idx="357">
                  <c:v>0.13471372770806747</c:v>
                </c:pt>
                <c:pt idx="358">
                  <c:v>0.13510721170172152</c:v>
                </c:pt>
                <c:pt idx="359">
                  <c:v>0.13551295506490577</c:v>
                </c:pt>
                <c:pt idx="360">
                  <c:v>0.1360744410418773</c:v>
                </c:pt>
                <c:pt idx="361">
                  <c:v>0.13684517250133577</c:v>
                </c:pt>
                <c:pt idx="362">
                  <c:v>0.1372323153946364</c:v>
                </c:pt>
                <c:pt idx="363">
                  <c:v>0.13821423260623952</c:v>
                </c:pt>
                <c:pt idx="364">
                  <c:v>0.13900328797897296</c:v>
                </c:pt>
                <c:pt idx="365">
                  <c:v>0.13935284158650665</c:v>
                </c:pt>
                <c:pt idx="366">
                  <c:v>0.14027669359003647</c:v>
                </c:pt>
                <c:pt idx="367">
                  <c:v>0.14044465814955773</c:v>
                </c:pt>
                <c:pt idx="368">
                  <c:v>0.14114766895597775</c:v>
                </c:pt>
                <c:pt idx="369">
                  <c:v>0.14169528992768959</c:v>
                </c:pt>
                <c:pt idx="370">
                  <c:v>0.14214873345606663</c:v>
                </c:pt>
                <c:pt idx="371">
                  <c:v>0.14291192592290797</c:v>
                </c:pt>
                <c:pt idx="372">
                  <c:v>0.14356886314712841</c:v>
                </c:pt>
                <c:pt idx="373">
                  <c:v>0.14476828295927216</c:v>
                </c:pt>
                <c:pt idx="374">
                  <c:v>0.14544170292391509</c:v>
                </c:pt>
                <c:pt idx="375">
                  <c:v>0.14189442137419561</c:v>
                </c:pt>
                <c:pt idx="376">
                  <c:v>0.13755461819071904</c:v>
                </c:pt>
                <c:pt idx="377">
                  <c:v>0.13771482871941537</c:v>
                </c:pt>
                <c:pt idx="378">
                  <c:v>0.13809968870032796</c:v>
                </c:pt>
                <c:pt idx="379">
                  <c:v>0.1380244223196484</c:v>
                </c:pt>
                <c:pt idx="380">
                  <c:v>0.13847171578645232</c:v>
                </c:pt>
                <c:pt idx="381">
                  <c:v>0.13900296731044229</c:v>
                </c:pt>
                <c:pt idx="382">
                  <c:v>0.13857161972776535</c:v>
                </c:pt>
                <c:pt idx="383">
                  <c:v>0.13874333433405206</c:v>
                </c:pt>
                <c:pt idx="384">
                  <c:v>0.13802799397343521</c:v>
                </c:pt>
                <c:pt idx="385">
                  <c:v>0.13612887099275292</c:v>
                </c:pt>
                <c:pt idx="386">
                  <c:v>0.13533407771883577</c:v>
                </c:pt>
                <c:pt idx="387">
                  <c:v>0.1385866128201603</c:v>
                </c:pt>
                <c:pt idx="388">
                  <c:v>0.14145571840580462</c:v>
                </c:pt>
                <c:pt idx="389">
                  <c:v>0.14083432978262508</c:v>
                </c:pt>
                <c:pt idx="390">
                  <c:v>0.139888709095421</c:v>
                </c:pt>
                <c:pt idx="391">
                  <c:v>0.13893070431463719</c:v>
                </c:pt>
                <c:pt idx="392">
                  <c:v>0.13777156232741838</c:v>
                </c:pt>
                <c:pt idx="393">
                  <c:v>0.13648590753381873</c:v>
                </c:pt>
                <c:pt idx="394">
                  <c:v>0.13610251789478717</c:v>
                </c:pt>
                <c:pt idx="395">
                  <c:v>0.13524413681602418</c:v>
                </c:pt>
                <c:pt idx="396">
                  <c:v>0.13473006883139493</c:v>
                </c:pt>
                <c:pt idx="397">
                  <c:v>0.13448974733597338</c:v>
                </c:pt>
                <c:pt idx="398">
                  <c:v>0.13415496971533991</c:v>
                </c:pt>
                <c:pt idx="399">
                  <c:v>0.13418365814244901</c:v>
                </c:pt>
                <c:pt idx="400">
                  <c:v>0.13480737816679239</c:v>
                </c:pt>
                <c:pt idx="401">
                  <c:v>0.1350819266717741</c:v>
                </c:pt>
                <c:pt idx="402">
                  <c:v>0.13543631484110774</c:v>
                </c:pt>
                <c:pt idx="403">
                  <c:v>0.13672805731528864</c:v>
                </c:pt>
                <c:pt idx="404">
                  <c:v>0.13784976646876559</c:v>
                </c:pt>
                <c:pt idx="405">
                  <c:v>0.13853315519871076</c:v>
                </c:pt>
                <c:pt idx="406">
                  <c:v>0.13928932723604978</c:v>
                </c:pt>
                <c:pt idx="407">
                  <c:v>0.14025304675066164</c:v>
                </c:pt>
                <c:pt idx="408">
                  <c:v>0.14123777905279503</c:v>
                </c:pt>
                <c:pt idx="409">
                  <c:v>0.14232357320407188</c:v>
                </c:pt>
                <c:pt idx="410">
                  <c:v>0.14464122361066617</c:v>
                </c:pt>
                <c:pt idx="411">
                  <c:v>0.14522833330669657</c:v>
                </c:pt>
                <c:pt idx="412">
                  <c:v>0.14695555134464963</c:v>
                </c:pt>
                <c:pt idx="413">
                  <c:v>0.14876180463348765</c:v>
                </c:pt>
                <c:pt idx="414">
                  <c:v>0.14976847403113888</c:v>
                </c:pt>
              </c:numCache>
            </c:numRef>
          </c:val>
          <c:smooth val="0"/>
          <c:extLst>
            <c:ext xmlns:c16="http://schemas.microsoft.com/office/drawing/2014/chart" uri="{C3380CC4-5D6E-409C-BE32-E72D297353CC}">
              <c16:uniqueId val="{00000000-E951-466F-8A38-7713413BC4FA}"/>
            </c:ext>
          </c:extLst>
        </c:ser>
        <c:ser>
          <c:idx val="1"/>
          <c:order val="1"/>
          <c:tx>
            <c:strRef>
              <c:f>'FRED Graph'!$J$11</c:f>
              <c:strCache>
                <c:ptCount val="1"/>
                <c:pt idx="0">
                  <c:v>China</c:v>
                </c:pt>
              </c:strCache>
            </c:strRef>
          </c:tx>
          <c:spPr>
            <a:ln w="28575" cap="rnd">
              <a:solidFill>
                <a:schemeClr val="accent2"/>
              </a:solidFill>
              <a:round/>
            </a:ln>
            <a:effectLst/>
          </c:spPr>
          <c:marker>
            <c:symbol val="none"/>
          </c:marker>
          <c:cat>
            <c:numRef>
              <c:f>'FRED Graph'!$H$12:$H$426</c:f>
              <c:numCache>
                <c:formatCode>yyyy\-mm\-dd</c:formatCode>
                <c:ptCount val="415"/>
                <c:pt idx="0">
                  <c:v>32509</c:v>
                </c:pt>
                <c:pt idx="1">
                  <c:v>32540</c:v>
                </c:pt>
                <c:pt idx="2">
                  <c:v>32568</c:v>
                </c:pt>
                <c:pt idx="3">
                  <c:v>32599</c:v>
                </c:pt>
                <c:pt idx="4">
                  <c:v>32629</c:v>
                </c:pt>
                <c:pt idx="5">
                  <c:v>32660</c:v>
                </c:pt>
                <c:pt idx="6">
                  <c:v>32690</c:v>
                </c:pt>
                <c:pt idx="7">
                  <c:v>32721</c:v>
                </c:pt>
                <c:pt idx="8">
                  <c:v>32752</c:v>
                </c:pt>
                <c:pt idx="9">
                  <c:v>32782</c:v>
                </c:pt>
                <c:pt idx="10">
                  <c:v>32813</c:v>
                </c:pt>
                <c:pt idx="11">
                  <c:v>32843</c:v>
                </c:pt>
                <c:pt idx="12">
                  <c:v>32874</c:v>
                </c:pt>
                <c:pt idx="13">
                  <c:v>32905</c:v>
                </c:pt>
                <c:pt idx="14">
                  <c:v>32933</c:v>
                </c:pt>
                <c:pt idx="15">
                  <c:v>32964</c:v>
                </c:pt>
                <c:pt idx="16">
                  <c:v>32994</c:v>
                </c:pt>
                <c:pt idx="17">
                  <c:v>33025</c:v>
                </c:pt>
                <c:pt idx="18">
                  <c:v>33055</c:v>
                </c:pt>
                <c:pt idx="19">
                  <c:v>33086</c:v>
                </c:pt>
                <c:pt idx="20">
                  <c:v>33117</c:v>
                </c:pt>
                <c:pt idx="21">
                  <c:v>33147</c:v>
                </c:pt>
                <c:pt idx="22">
                  <c:v>33178</c:v>
                </c:pt>
                <c:pt idx="23">
                  <c:v>33208</c:v>
                </c:pt>
                <c:pt idx="24">
                  <c:v>33239</c:v>
                </c:pt>
                <c:pt idx="25">
                  <c:v>33270</c:v>
                </c:pt>
                <c:pt idx="26">
                  <c:v>33298</c:v>
                </c:pt>
                <c:pt idx="27">
                  <c:v>33329</c:v>
                </c:pt>
                <c:pt idx="28">
                  <c:v>33359</c:v>
                </c:pt>
                <c:pt idx="29">
                  <c:v>33390</c:v>
                </c:pt>
                <c:pt idx="30">
                  <c:v>33420</c:v>
                </c:pt>
                <c:pt idx="31">
                  <c:v>33451</c:v>
                </c:pt>
                <c:pt idx="32">
                  <c:v>33482</c:v>
                </c:pt>
                <c:pt idx="33">
                  <c:v>33512</c:v>
                </c:pt>
                <c:pt idx="34">
                  <c:v>33543</c:v>
                </c:pt>
                <c:pt idx="35">
                  <c:v>33573</c:v>
                </c:pt>
                <c:pt idx="36">
                  <c:v>33604</c:v>
                </c:pt>
                <c:pt idx="37">
                  <c:v>33635</c:v>
                </c:pt>
                <c:pt idx="38">
                  <c:v>33664</c:v>
                </c:pt>
                <c:pt idx="39">
                  <c:v>33695</c:v>
                </c:pt>
                <c:pt idx="40">
                  <c:v>33725</c:v>
                </c:pt>
                <c:pt idx="41">
                  <c:v>33756</c:v>
                </c:pt>
                <c:pt idx="42">
                  <c:v>33786</c:v>
                </c:pt>
                <c:pt idx="43">
                  <c:v>33817</c:v>
                </c:pt>
                <c:pt idx="44">
                  <c:v>33848</c:v>
                </c:pt>
                <c:pt idx="45">
                  <c:v>33878</c:v>
                </c:pt>
                <c:pt idx="46">
                  <c:v>33909</c:v>
                </c:pt>
                <c:pt idx="47">
                  <c:v>33939</c:v>
                </c:pt>
                <c:pt idx="48">
                  <c:v>33970</c:v>
                </c:pt>
                <c:pt idx="49">
                  <c:v>34001</c:v>
                </c:pt>
                <c:pt idx="50">
                  <c:v>34029</c:v>
                </c:pt>
                <c:pt idx="51">
                  <c:v>34060</c:v>
                </c:pt>
                <c:pt idx="52">
                  <c:v>34090</c:v>
                </c:pt>
                <c:pt idx="53">
                  <c:v>34121</c:v>
                </c:pt>
                <c:pt idx="54">
                  <c:v>34151</c:v>
                </c:pt>
                <c:pt idx="55">
                  <c:v>34182</c:v>
                </c:pt>
                <c:pt idx="56">
                  <c:v>34213</c:v>
                </c:pt>
                <c:pt idx="57">
                  <c:v>34243</c:v>
                </c:pt>
                <c:pt idx="58">
                  <c:v>34274</c:v>
                </c:pt>
                <c:pt idx="59">
                  <c:v>34304</c:v>
                </c:pt>
                <c:pt idx="60">
                  <c:v>34335</c:v>
                </c:pt>
                <c:pt idx="61">
                  <c:v>34366</c:v>
                </c:pt>
                <c:pt idx="62">
                  <c:v>34394</c:v>
                </c:pt>
                <c:pt idx="63">
                  <c:v>34425</c:v>
                </c:pt>
                <c:pt idx="64">
                  <c:v>34455</c:v>
                </c:pt>
                <c:pt idx="65">
                  <c:v>34486</c:v>
                </c:pt>
                <c:pt idx="66">
                  <c:v>34516</c:v>
                </c:pt>
                <c:pt idx="67">
                  <c:v>34547</c:v>
                </c:pt>
                <c:pt idx="68">
                  <c:v>34578</c:v>
                </c:pt>
                <c:pt idx="69">
                  <c:v>34608</c:v>
                </c:pt>
                <c:pt idx="70">
                  <c:v>34639</c:v>
                </c:pt>
                <c:pt idx="71">
                  <c:v>34669</c:v>
                </c:pt>
                <c:pt idx="72">
                  <c:v>34700</c:v>
                </c:pt>
                <c:pt idx="73">
                  <c:v>34731</c:v>
                </c:pt>
                <c:pt idx="74">
                  <c:v>34759</c:v>
                </c:pt>
                <c:pt idx="75">
                  <c:v>34790</c:v>
                </c:pt>
                <c:pt idx="76">
                  <c:v>34820</c:v>
                </c:pt>
                <c:pt idx="77">
                  <c:v>34851</c:v>
                </c:pt>
                <c:pt idx="78">
                  <c:v>34881</c:v>
                </c:pt>
                <c:pt idx="79">
                  <c:v>34912</c:v>
                </c:pt>
                <c:pt idx="80">
                  <c:v>34943</c:v>
                </c:pt>
                <c:pt idx="81">
                  <c:v>34973</c:v>
                </c:pt>
                <c:pt idx="82">
                  <c:v>35004</c:v>
                </c:pt>
                <c:pt idx="83">
                  <c:v>35034</c:v>
                </c:pt>
                <c:pt idx="84">
                  <c:v>35065</c:v>
                </c:pt>
                <c:pt idx="85">
                  <c:v>35096</c:v>
                </c:pt>
                <c:pt idx="86">
                  <c:v>35125</c:v>
                </c:pt>
                <c:pt idx="87">
                  <c:v>35156</c:v>
                </c:pt>
                <c:pt idx="88">
                  <c:v>35186</c:v>
                </c:pt>
                <c:pt idx="89">
                  <c:v>35217</c:v>
                </c:pt>
                <c:pt idx="90">
                  <c:v>35247</c:v>
                </c:pt>
                <c:pt idx="91">
                  <c:v>35278</c:v>
                </c:pt>
                <c:pt idx="92">
                  <c:v>35309</c:v>
                </c:pt>
                <c:pt idx="93">
                  <c:v>35339</c:v>
                </c:pt>
                <c:pt idx="94">
                  <c:v>35370</c:v>
                </c:pt>
                <c:pt idx="95">
                  <c:v>35400</c:v>
                </c:pt>
                <c:pt idx="96">
                  <c:v>35431</c:v>
                </c:pt>
                <c:pt idx="97">
                  <c:v>35462</c:v>
                </c:pt>
                <c:pt idx="98">
                  <c:v>35490</c:v>
                </c:pt>
                <c:pt idx="99">
                  <c:v>35521</c:v>
                </c:pt>
                <c:pt idx="100">
                  <c:v>35551</c:v>
                </c:pt>
                <c:pt idx="101">
                  <c:v>35582</c:v>
                </c:pt>
                <c:pt idx="102">
                  <c:v>35612</c:v>
                </c:pt>
                <c:pt idx="103">
                  <c:v>35643</c:v>
                </c:pt>
                <c:pt idx="104">
                  <c:v>35674</c:v>
                </c:pt>
                <c:pt idx="105">
                  <c:v>35704</c:v>
                </c:pt>
                <c:pt idx="106">
                  <c:v>35735</c:v>
                </c:pt>
                <c:pt idx="107">
                  <c:v>35765</c:v>
                </c:pt>
                <c:pt idx="108">
                  <c:v>35796</c:v>
                </c:pt>
                <c:pt idx="109">
                  <c:v>35827</c:v>
                </c:pt>
                <c:pt idx="110">
                  <c:v>35855</c:v>
                </c:pt>
                <c:pt idx="111">
                  <c:v>35886</c:v>
                </c:pt>
                <c:pt idx="112">
                  <c:v>35916</c:v>
                </c:pt>
                <c:pt idx="113">
                  <c:v>35947</c:v>
                </c:pt>
                <c:pt idx="114">
                  <c:v>35977</c:v>
                </c:pt>
                <c:pt idx="115">
                  <c:v>36008</c:v>
                </c:pt>
                <c:pt idx="116">
                  <c:v>36039</c:v>
                </c:pt>
                <c:pt idx="117">
                  <c:v>36069</c:v>
                </c:pt>
                <c:pt idx="118">
                  <c:v>36100</c:v>
                </c:pt>
                <c:pt idx="119">
                  <c:v>36130</c:v>
                </c:pt>
                <c:pt idx="120">
                  <c:v>36161</c:v>
                </c:pt>
                <c:pt idx="121">
                  <c:v>36192</c:v>
                </c:pt>
                <c:pt idx="122">
                  <c:v>36220</c:v>
                </c:pt>
                <c:pt idx="123">
                  <c:v>36251</c:v>
                </c:pt>
                <c:pt idx="124">
                  <c:v>36281</c:v>
                </c:pt>
                <c:pt idx="125">
                  <c:v>36312</c:v>
                </c:pt>
                <c:pt idx="126">
                  <c:v>36342</c:v>
                </c:pt>
                <c:pt idx="127">
                  <c:v>36373</c:v>
                </c:pt>
                <c:pt idx="128">
                  <c:v>36404</c:v>
                </c:pt>
                <c:pt idx="129">
                  <c:v>36434</c:v>
                </c:pt>
                <c:pt idx="130">
                  <c:v>36465</c:v>
                </c:pt>
                <c:pt idx="131">
                  <c:v>36495</c:v>
                </c:pt>
                <c:pt idx="132">
                  <c:v>36526</c:v>
                </c:pt>
                <c:pt idx="133">
                  <c:v>36557</c:v>
                </c:pt>
                <c:pt idx="134">
                  <c:v>36586</c:v>
                </c:pt>
                <c:pt idx="135">
                  <c:v>36617</c:v>
                </c:pt>
                <c:pt idx="136">
                  <c:v>36647</c:v>
                </c:pt>
                <c:pt idx="137">
                  <c:v>36678</c:v>
                </c:pt>
                <c:pt idx="138">
                  <c:v>36708</c:v>
                </c:pt>
                <c:pt idx="139">
                  <c:v>36739</c:v>
                </c:pt>
                <c:pt idx="140">
                  <c:v>36770</c:v>
                </c:pt>
                <c:pt idx="141">
                  <c:v>36800</c:v>
                </c:pt>
                <c:pt idx="142">
                  <c:v>36831</c:v>
                </c:pt>
                <c:pt idx="143">
                  <c:v>36861</c:v>
                </c:pt>
                <c:pt idx="144">
                  <c:v>36892</c:v>
                </c:pt>
                <c:pt idx="145">
                  <c:v>36923</c:v>
                </c:pt>
                <c:pt idx="146">
                  <c:v>36951</c:v>
                </c:pt>
                <c:pt idx="147">
                  <c:v>36982</c:v>
                </c:pt>
                <c:pt idx="148">
                  <c:v>37012</c:v>
                </c:pt>
                <c:pt idx="149">
                  <c:v>37043</c:v>
                </c:pt>
                <c:pt idx="150">
                  <c:v>37073</c:v>
                </c:pt>
                <c:pt idx="151">
                  <c:v>37104</c:v>
                </c:pt>
                <c:pt idx="152">
                  <c:v>37135</c:v>
                </c:pt>
                <c:pt idx="153">
                  <c:v>37165</c:v>
                </c:pt>
                <c:pt idx="154">
                  <c:v>37196</c:v>
                </c:pt>
                <c:pt idx="155">
                  <c:v>37226</c:v>
                </c:pt>
                <c:pt idx="156">
                  <c:v>37257</c:v>
                </c:pt>
                <c:pt idx="157">
                  <c:v>37288</c:v>
                </c:pt>
                <c:pt idx="158">
                  <c:v>37316</c:v>
                </c:pt>
                <c:pt idx="159">
                  <c:v>37347</c:v>
                </c:pt>
                <c:pt idx="160">
                  <c:v>37377</c:v>
                </c:pt>
                <c:pt idx="161">
                  <c:v>37408</c:v>
                </c:pt>
                <c:pt idx="162">
                  <c:v>37438</c:v>
                </c:pt>
                <c:pt idx="163">
                  <c:v>37469</c:v>
                </c:pt>
                <c:pt idx="164">
                  <c:v>37500</c:v>
                </c:pt>
                <c:pt idx="165">
                  <c:v>37530</c:v>
                </c:pt>
                <c:pt idx="166">
                  <c:v>37561</c:v>
                </c:pt>
                <c:pt idx="167">
                  <c:v>37591</c:v>
                </c:pt>
                <c:pt idx="168">
                  <c:v>37622</c:v>
                </c:pt>
                <c:pt idx="169">
                  <c:v>37653</c:v>
                </c:pt>
                <c:pt idx="170">
                  <c:v>37681</c:v>
                </c:pt>
                <c:pt idx="171">
                  <c:v>37712</c:v>
                </c:pt>
                <c:pt idx="172">
                  <c:v>37742</c:v>
                </c:pt>
                <c:pt idx="173">
                  <c:v>37773</c:v>
                </c:pt>
                <c:pt idx="174">
                  <c:v>37803</c:v>
                </c:pt>
                <c:pt idx="175">
                  <c:v>37834</c:v>
                </c:pt>
                <c:pt idx="176">
                  <c:v>37865</c:v>
                </c:pt>
                <c:pt idx="177">
                  <c:v>37895</c:v>
                </c:pt>
                <c:pt idx="178">
                  <c:v>37926</c:v>
                </c:pt>
                <c:pt idx="179">
                  <c:v>37956</c:v>
                </c:pt>
                <c:pt idx="180">
                  <c:v>37987</c:v>
                </c:pt>
                <c:pt idx="181">
                  <c:v>38018</c:v>
                </c:pt>
                <c:pt idx="182">
                  <c:v>38047</c:v>
                </c:pt>
                <c:pt idx="183">
                  <c:v>38078</c:v>
                </c:pt>
                <c:pt idx="184">
                  <c:v>38108</c:v>
                </c:pt>
                <c:pt idx="185">
                  <c:v>38139</c:v>
                </c:pt>
                <c:pt idx="186">
                  <c:v>38169</c:v>
                </c:pt>
                <c:pt idx="187">
                  <c:v>38200</c:v>
                </c:pt>
                <c:pt idx="188">
                  <c:v>38231</c:v>
                </c:pt>
                <c:pt idx="189">
                  <c:v>38261</c:v>
                </c:pt>
                <c:pt idx="190">
                  <c:v>38292</c:v>
                </c:pt>
                <c:pt idx="191">
                  <c:v>38322</c:v>
                </c:pt>
                <c:pt idx="192">
                  <c:v>38353</c:v>
                </c:pt>
                <c:pt idx="193">
                  <c:v>38384</c:v>
                </c:pt>
                <c:pt idx="194">
                  <c:v>38412</c:v>
                </c:pt>
                <c:pt idx="195">
                  <c:v>38443</c:v>
                </c:pt>
                <c:pt idx="196">
                  <c:v>38473</c:v>
                </c:pt>
                <c:pt idx="197">
                  <c:v>38504</c:v>
                </c:pt>
                <c:pt idx="198">
                  <c:v>38534</c:v>
                </c:pt>
                <c:pt idx="199">
                  <c:v>38565</c:v>
                </c:pt>
                <c:pt idx="200">
                  <c:v>38596</c:v>
                </c:pt>
                <c:pt idx="201">
                  <c:v>38626</c:v>
                </c:pt>
                <c:pt idx="202">
                  <c:v>38657</c:v>
                </c:pt>
                <c:pt idx="203">
                  <c:v>38687</c:v>
                </c:pt>
                <c:pt idx="204">
                  <c:v>38718</c:v>
                </c:pt>
                <c:pt idx="205">
                  <c:v>38749</c:v>
                </c:pt>
                <c:pt idx="206">
                  <c:v>38777</c:v>
                </c:pt>
                <c:pt idx="207">
                  <c:v>38808</c:v>
                </c:pt>
                <c:pt idx="208">
                  <c:v>38838</c:v>
                </c:pt>
                <c:pt idx="209">
                  <c:v>38869</c:v>
                </c:pt>
                <c:pt idx="210">
                  <c:v>38899</c:v>
                </c:pt>
                <c:pt idx="211">
                  <c:v>38930</c:v>
                </c:pt>
                <c:pt idx="212">
                  <c:v>38961</c:v>
                </c:pt>
                <c:pt idx="213">
                  <c:v>38991</c:v>
                </c:pt>
                <c:pt idx="214">
                  <c:v>39022</c:v>
                </c:pt>
                <c:pt idx="215">
                  <c:v>39052</c:v>
                </c:pt>
                <c:pt idx="216">
                  <c:v>39083</c:v>
                </c:pt>
                <c:pt idx="217">
                  <c:v>39114</c:v>
                </c:pt>
                <c:pt idx="218">
                  <c:v>39142</c:v>
                </c:pt>
                <c:pt idx="219">
                  <c:v>39173</c:v>
                </c:pt>
                <c:pt idx="220">
                  <c:v>39203</c:v>
                </c:pt>
                <c:pt idx="221">
                  <c:v>39234</c:v>
                </c:pt>
                <c:pt idx="222">
                  <c:v>39264</c:v>
                </c:pt>
                <c:pt idx="223">
                  <c:v>39295</c:v>
                </c:pt>
                <c:pt idx="224">
                  <c:v>39326</c:v>
                </c:pt>
                <c:pt idx="225">
                  <c:v>39356</c:v>
                </c:pt>
                <c:pt idx="226">
                  <c:v>39387</c:v>
                </c:pt>
                <c:pt idx="227">
                  <c:v>39417</c:v>
                </c:pt>
                <c:pt idx="228">
                  <c:v>39448</c:v>
                </c:pt>
                <c:pt idx="229">
                  <c:v>39479</c:v>
                </c:pt>
                <c:pt idx="230">
                  <c:v>39508</c:v>
                </c:pt>
                <c:pt idx="231">
                  <c:v>39539</c:v>
                </c:pt>
                <c:pt idx="232">
                  <c:v>39569</c:v>
                </c:pt>
                <c:pt idx="233">
                  <c:v>39600</c:v>
                </c:pt>
                <c:pt idx="234">
                  <c:v>39630</c:v>
                </c:pt>
                <c:pt idx="235">
                  <c:v>39661</c:v>
                </c:pt>
                <c:pt idx="236">
                  <c:v>39692</c:v>
                </c:pt>
                <c:pt idx="237">
                  <c:v>39722</c:v>
                </c:pt>
                <c:pt idx="238">
                  <c:v>39753</c:v>
                </c:pt>
                <c:pt idx="239">
                  <c:v>39783</c:v>
                </c:pt>
                <c:pt idx="240">
                  <c:v>39814</c:v>
                </c:pt>
                <c:pt idx="241">
                  <c:v>39845</c:v>
                </c:pt>
                <c:pt idx="242">
                  <c:v>39873</c:v>
                </c:pt>
                <c:pt idx="243">
                  <c:v>39904</c:v>
                </c:pt>
                <c:pt idx="244">
                  <c:v>39934</c:v>
                </c:pt>
                <c:pt idx="245">
                  <c:v>39965</c:v>
                </c:pt>
                <c:pt idx="246">
                  <c:v>39995</c:v>
                </c:pt>
                <c:pt idx="247">
                  <c:v>40026</c:v>
                </c:pt>
                <c:pt idx="248">
                  <c:v>40057</c:v>
                </c:pt>
                <c:pt idx="249">
                  <c:v>40087</c:v>
                </c:pt>
                <c:pt idx="250">
                  <c:v>40118</c:v>
                </c:pt>
                <c:pt idx="251">
                  <c:v>40148</c:v>
                </c:pt>
                <c:pt idx="252">
                  <c:v>40179</c:v>
                </c:pt>
                <c:pt idx="253">
                  <c:v>40210</c:v>
                </c:pt>
                <c:pt idx="254">
                  <c:v>40238</c:v>
                </c:pt>
                <c:pt idx="255">
                  <c:v>40269</c:v>
                </c:pt>
                <c:pt idx="256">
                  <c:v>40299</c:v>
                </c:pt>
                <c:pt idx="257">
                  <c:v>40330</c:v>
                </c:pt>
                <c:pt idx="258">
                  <c:v>40360</c:v>
                </c:pt>
                <c:pt idx="259">
                  <c:v>40391</c:v>
                </c:pt>
                <c:pt idx="260">
                  <c:v>40422</c:v>
                </c:pt>
                <c:pt idx="261">
                  <c:v>40452</c:v>
                </c:pt>
                <c:pt idx="262">
                  <c:v>40483</c:v>
                </c:pt>
                <c:pt idx="263">
                  <c:v>40513</c:v>
                </c:pt>
                <c:pt idx="264">
                  <c:v>40544</c:v>
                </c:pt>
                <c:pt idx="265">
                  <c:v>40575</c:v>
                </c:pt>
                <c:pt idx="266">
                  <c:v>40603</c:v>
                </c:pt>
                <c:pt idx="267">
                  <c:v>40634</c:v>
                </c:pt>
                <c:pt idx="268">
                  <c:v>40664</c:v>
                </c:pt>
                <c:pt idx="269">
                  <c:v>40695</c:v>
                </c:pt>
                <c:pt idx="270">
                  <c:v>40725</c:v>
                </c:pt>
                <c:pt idx="271">
                  <c:v>40756</c:v>
                </c:pt>
                <c:pt idx="272">
                  <c:v>40787</c:v>
                </c:pt>
                <c:pt idx="273">
                  <c:v>40817</c:v>
                </c:pt>
                <c:pt idx="274">
                  <c:v>40848</c:v>
                </c:pt>
                <c:pt idx="275">
                  <c:v>40878</c:v>
                </c:pt>
                <c:pt idx="276">
                  <c:v>40909</c:v>
                </c:pt>
                <c:pt idx="277">
                  <c:v>40940</c:v>
                </c:pt>
                <c:pt idx="278">
                  <c:v>40969</c:v>
                </c:pt>
                <c:pt idx="279">
                  <c:v>41000</c:v>
                </c:pt>
                <c:pt idx="280">
                  <c:v>41030</c:v>
                </c:pt>
                <c:pt idx="281">
                  <c:v>41061</c:v>
                </c:pt>
                <c:pt idx="282">
                  <c:v>41091</c:v>
                </c:pt>
                <c:pt idx="283">
                  <c:v>41122</c:v>
                </c:pt>
                <c:pt idx="284">
                  <c:v>41153</c:v>
                </c:pt>
                <c:pt idx="285">
                  <c:v>41183</c:v>
                </c:pt>
                <c:pt idx="286">
                  <c:v>41214</c:v>
                </c:pt>
                <c:pt idx="287">
                  <c:v>41244</c:v>
                </c:pt>
                <c:pt idx="288">
                  <c:v>41275</c:v>
                </c:pt>
                <c:pt idx="289">
                  <c:v>41306</c:v>
                </c:pt>
                <c:pt idx="290">
                  <c:v>41334</c:v>
                </c:pt>
                <c:pt idx="291">
                  <c:v>41365</c:v>
                </c:pt>
                <c:pt idx="292">
                  <c:v>41395</c:v>
                </c:pt>
                <c:pt idx="293">
                  <c:v>41426</c:v>
                </c:pt>
                <c:pt idx="294">
                  <c:v>41456</c:v>
                </c:pt>
                <c:pt idx="295">
                  <c:v>41487</c:v>
                </c:pt>
                <c:pt idx="296">
                  <c:v>41518</c:v>
                </c:pt>
                <c:pt idx="297">
                  <c:v>41548</c:v>
                </c:pt>
                <c:pt idx="298">
                  <c:v>41579</c:v>
                </c:pt>
                <c:pt idx="299">
                  <c:v>41609</c:v>
                </c:pt>
                <c:pt idx="300">
                  <c:v>41640</c:v>
                </c:pt>
                <c:pt idx="301">
                  <c:v>41671</c:v>
                </c:pt>
                <c:pt idx="302">
                  <c:v>41699</c:v>
                </c:pt>
                <c:pt idx="303">
                  <c:v>41730</c:v>
                </c:pt>
                <c:pt idx="304">
                  <c:v>41760</c:v>
                </c:pt>
                <c:pt idx="305">
                  <c:v>41791</c:v>
                </c:pt>
                <c:pt idx="306">
                  <c:v>41821</c:v>
                </c:pt>
                <c:pt idx="307">
                  <c:v>41852</c:v>
                </c:pt>
                <c:pt idx="308">
                  <c:v>41883</c:v>
                </c:pt>
                <c:pt idx="309">
                  <c:v>41913</c:v>
                </c:pt>
                <c:pt idx="310">
                  <c:v>41944</c:v>
                </c:pt>
                <c:pt idx="311">
                  <c:v>41974</c:v>
                </c:pt>
                <c:pt idx="312">
                  <c:v>42005</c:v>
                </c:pt>
                <c:pt idx="313">
                  <c:v>42036</c:v>
                </c:pt>
                <c:pt idx="314">
                  <c:v>42064</c:v>
                </c:pt>
                <c:pt idx="315">
                  <c:v>42095</c:v>
                </c:pt>
                <c:pt idx="316">
                  <c:v>42125</c:v>
                </c:pt>
                <c:pt idx="317">
                  <c:v>42156</c:v>
                </c:pt>
                <c:pt idx="318">
                  <c:v>42186</c:v>
                </c:pt>
                <c:pt idx="319">
                  <c:v>42217</c:v>
                </c:pt>
                <c:pt idx="320">
                  <c:v>42248</c:v>
                </c:pt>
                <c:pt idx="321">
                  <c:v>42278</c:v>
                </c:pt>
                <c:pt idx="322">
                  <c:v>42309</c:v>
                </c:pt>
                <c:pt idx="323">
                  <c:v>42339</c:v>
                </c:pt>
                <c:pt idx="324">
                  <c:v>42370</c:v>
                </c:pt>
                <c:pt idx="325">
                  <c:v>42401</c:v>
                </c:pt>
                <c:pt idx="326">
                  <c:v>42430</c:v>
                </c:pt>
                <c:pt idx="327">
                  <c:v>42461</c:v>
                </c:pt>
                <c:pt idx="328">
                  <c:v>42491</c:v>
                </c:pt>
                <c:pt idx="329">
                  <c:v>42522</c:v>
                </c:pt>
                <c:pt idx="330">
                  <c:v>42552</c:v>
                </c:pt>
                <c:pt idx="331">
                  <c:v>42583</c:v>
                </c:pt>
                <c:pt idx="332">
                  <c:v>42614</c:v>
                </c:pt>
                <c:pt idx="333">
                  <c:v>42644</c:v>
                </c:pt>
                <c:pt idx="334">
                  <c:v>42675</c:v>
                </c:pt>
                <c:pt idx="335">
                  <c:v>42705</c:v>
                </c:pt>
                <c:pt idx="336">
                  <c:v>42736</c:v>
                </c:pt>
                <c:pt idx="337">
                  <c:v>42767</c:v>
                </c:pt>
                <c:pt idx="338">
                  <c:v>42795</c:v>
                </c:pt>
                <c:pt idx="339">
                  <c:v>42826</c:v>
                </c:pt>
                <c:pt idx="340">
                  <c:v>42856</c:v>
                </c:pt>
                <c:pt idx="341">
                  <c:v>42887</c:v>
                </c:pt>
                <c:pt idx="342">
                  <c:v>42917</c:v>
                </c:pt>
                <c:pt idx="343">
                  <c:v>42948</c:v>
                </c:pt>
                <c:pt idx="344">
                  <c:v>42979</c:v>
                </c:pt>
                <c:pt idx="345">
                  <c:v>43009</c:v>
                </c:pt>
                <c:pt idx="346">
                  <c:v>43040</c:v>
                </c:pt>
                <c:pt idx="347">
                  <c:v>43070</c:v>
                </c:pt>
                <c:pt idx="348">
                  <c:v>43101</c:v>
                </c:pt>
                <c:pt idx="349">
                  <c:v>43132</c:v>
                </c:pt>
                <c:pt idx="350">
                  <c:v>43160</c:v>
                </c:pt>
                <c:pt idx="351">
                  <c:v>43191</c:v>
                </c:pt>
                <c:pt idx="352">
                  <c:v>43221</c:v>
                </c:pt>
                <c:pt idx="353">
                  <c:v>43252</c:v>
                </c:pt>
                <c:pt idx="354">
                  <c:v>43282</c:v>
                </c:pt>
                <c:pt idx="355">
                  <c:v>43313</c:v>
                </c:pt>
                <c:pt idx="356">
                  <c:v>43344</c:v>
                </c:pt>
                <c:pt idx="357">
                  <c:v>43374</c:v>
                </c:pt>
                <c:pt idx="358">
                  <c:v>43405</c:v>
                </c:pt>
                <c:pt idx="359">
                  <c:v>43435</c:v>
                </c:pt>
                <c:pt idx="360">
                  <c:v>43466</c:v>
                </c:pt>
                <c:pt idx="361">
                  <c:v>43497</c:v>
                </c:pt>
                <c:pt idx="362">
                  <c:v>43525</c:v>
                </c:pt>
                <c:pt idx="363">
                  <c:v>43556</c:v>
                </c:pt>
                <c:pt idx="364">
                  <c:v>43586</c:v>
                </c:pt>
                <c:pt idx="365">
                  <c:v>43617</c:v>
                </c:pt>
                <c:pt idx="366">
                  <c:v>43647</c:v>
                </c:pt>
                <c:pt idx="367">
                  <c:v>43678</c:v>
                </c:pt>
                <c:pt idx="368">
                  <c:v>43709</c:v>
                </c:pt>
                <c:pt idx="369">
                  <c:v>43739</c:v>
                </c:pt>
                <c:pt idx="370">
                  <c:v>43770</c:v>
                </c:pt>
                <c:pt idx="371">
                  <c:v>43800</c:v>
                </c:pt>
                <c:pt idx="372">
                  <c:v>43831</c:v>
                </c:pt>
                <c:pt idx="373">
                  <c:v>43862</c:v>
                </c:pt>
                <c:pt idx="374">
                  <c:v>43891</c:v>
                </c:pt>
                <c:pt idx="375">
                  <c:v>43922</c:v>
                </c:pt>
                <c:pt idx="376">
                  <c:v>43952</c:v>
                </c:pt>
                <c:pt idx="377">
                  <c:v>43983</c:v>
                </c:pt>
                <c:pt idx="378">
                  <c:v>44013</c:v>
                </c:pt>
                <c:pt idx="379">
                  <c:v>44044</c:v>
                </c:pt>
                <c:pt idx="380">
                  <c:v>44075</c:v>
                </c:pt>
                <c:pt idx="381">
                  <c:v>44105</c:v>
                </c:pt>
                <c:pt idx="382">
                  <c:v>44136</c:v>
                </c:pt>
                <c:pt idx="383">
                  <c:v>44166</c:v>
                </c:pt>
                <c:pt idx="384">
                  <c:v>44197</c:v>
                </c:pt>
                <c:pt idx="385">
                  <c:v>44228</c:v>
                </c:pt>
                <c:pt idx="386">
                  <c:v>44256</c:v>
                </c:pt>
                <c:pt idx="387">
                  <c:v>44287</c:v>
                </c:pt>
                <c:pt idx="388">
                  <c:v>44317</c:v>
                </c:pt>
                <c:pt idx="389">
                  <c:v>44348</c:v>
                </c:pt>
                <c:pt idx="390">
                  <c:v>44378</c:v>
                </c:pt>
                <c:pt idx="391">
                  <c:v>44409</c:v>
                </c:pt>
                <c:pt idx="392">
                  <c:v>44440</c:v>
                </c:pt>
                <c:pt idx="393">
                  <c:v>44470</c:v>
                </c:pt>
                <c:pt idx="394">
                  <c:v>44501</c:v>
                </c:pt>
                <c:pt idx="395">
                  <c:v>44531</c:v>
                </c:pt>
                <c:pt idx="396">
                  <c:v>44562</c:v>
                </c:pt>
                <c:pt idx="397">
                  <c:v>44593</c:v>
                </c:pt>
                <c:pt idx="398">
                  <c:v>44621</c:v>
                </c:pt>
                <c:pt idx="399">
                  <c:v>44652</c:v>
                </c:pt>
                <c:pt idx="400">
                  <c:v>44682</c:v>
                </c:pt>
                <c:pt idx="401">
                  <c:v>44713</c:v>
                </c:pt>
                <c:pt idx="402">
                  <c:v>44743</c:v>
                </c:pt>
                <c:pt idx="403">
                  <c:v>44774</c:v>
                </c:pt>
                <c:pt idx="404">
                  <c:v>44805</c:v>
                </c:pt>
                <c:pt idx="405">
                  <c:v>44835</c:v>
                </c:pt>
                <c:pt idx="406">
                  <c:v>44866</c:v>
                </c:pt>
                <c:pt idx="407">
                  <c:v>44896</c:v>
                </c:pt>
                <c:pt idx="408">
                  <c:v>44927</c:v>
                </c:pt>
                <c:pt idx="409">
                  <c:v>44958</c:v>
                </c:pt>
                <c:pt idx="410">
                  <c:v>44986</c:v>
                </c:pt>
                <c:pt idx="411">
                  <c:v>45017</c:v>
                </c:pt>
                <c:pt idx="412">
                  <c:v>45047</c:v>
                </c:pt>
                <c:pt idx="413">
                  <c:v>45078</c:v>
                </c:pt>
                <c:pt idx="414">
                  <c:v>45108</c:v>
                </c:pt>
              </c:numCache>
            </c:numRef>
          </c:cat>
          <c:val>
            <c:numRef>
              <c:f>'FRED Graph'!$J$12:$J$426</c:f>
              <c:numCache>
                <c:formatCode>0%</c:formatCode>
                <c:ptCount val="415"/>
                <c:pt idx="0">
                  <c:v>2.1029930797692546E-2</c:v>
                </c:pt>
                <c:pt idx="1">
                  <c:v>2.0861019863318914E-2</c:v>
                </c:pt>
                <c:pt idx="2">
                  <c:v>1.9467252045775638E-2</c:v>
                </c:pt>
                <c:pt idx="3">
                  <c:v>1.9310610930810553E-2</c:v>
                </c:pt>
                <c:pt idx="4">
                  <c:v>2.0067675365030849E-2</c:v>
                </c:pt>
                <c:pt idx="5">
                  <c:v>2.101764454733648E-2</c:v>
                </c:pt>
                <c:pt idx="6">
                  <c:v>2.2272762262496169E-2</c:v>
                </c:pt>
                <c:pt idx="7">
                  <c:v>2.3501432420373534E-2</c:v>
                </c:pt>
                <c:pt idx="8">
                  <c:v>2.4229303594249133E-2</c:v>
                </c:pt>
                <c:pt idx="9">
                  <c:v>2.5111461839294656E-2</c:v>
                </c:pt>
                <c:pt idx="10">
                  <c:v>2.5384129802125576E-2</c:v>
                </c:pt>
                <c:pt idx="11">
                  <c:v>2.5336927223719673E-2</c:v>
                </c:pt>
                <c:pt idx="12">
                  <c:v>2.5964114440897152E-2</c:v>
                </c:pt>
                <c:pt idx="13">
                  <c:v>2.6341043090735979E-2</c:v>
                </c:pt>
                <c:pt idx="14">
                  <c:v>2.677507895712606E-2</c:v>
                </c:pt>
                <c:pt idx="15">
                  <c:v>2.726910352058012E-2</c:v>
                </c:pt>
                <c:pt idx="16">
                  <c:v>2.7776893481404073E-2</c:v>
                </c:pt>
                <c:pt idx="17">
                  <c:v>2.833831276419262E-2</c:v>
                </c:pt>
                <c:pt idx="18">
                  <c:v>2.8881411808372639E-2</c:v>
                </c:pt>
                <c:pt idx="19">
                  <c:v>2.9376777597686782E-2</c:v>
                </c:pt>
                <c:pt idx="20">
                  <c:v>2.9768004004364454E-2</c:v>
                </c:pt>
                <c:pt idx="21">
                  <c:v>3.0226534921161022E-2</c:v>
                </c:pt>
                <c:pt idx="22">
                  <c:v>3.0539540602198295E-2</c:v>
                </c:pt>
                <c:pt idx="23">
                  <c:v>3.0792473633487239E-2</c:v>
                </c:pt>
                <c:pt idx="24">
                  <c:v>3.1072464822680852E-2</c:v>
                </c:pt>
                <c:pt idx="25">
                  <c:v>3.1581988359384312E-2</c:v>
                </c:pt>
                <c:pt idx="26">
                  <c:v>3.185825564766083E-2</c:v>
                </c:pt>
                <c:pt idx="27">
                  <c:v>3.2079128476260196E-2</c:v>
                </c:pt>
                <c:pt idx="28">
                  <c:v>3.2523169239580346E-2</c:v>
                </c:pt>
                <c:pt idx="29">
                  <c:v>3.3003485234864731E-2</c:v>
                </c:pt>
                <c:pt idx="30">
                  <c:v>3.3718843359703231E-2</c:v>
                </c:pt>
                <c:pt idx="31">
                  <c:v>3.440167182637216E-2</c:v>
                </c:pt>
                <c:pt idx="32">
                  <c:v>3.542219961798105E-2</c:v>
                </c:pt>
                <c:pt idx="33">
                  <c:v>3.6722738760843067E-2</c:v>
                </c:pt>
                <c:pt idx="34">
                  <c:v>3.8041893742914244E-2</c:v>
                </c:pt>
                <c:pt idx="35">
                  <c:v>3.8857560039715446E-2</c:v>
                </c:pt>
                <c:pt idx="36">
                  <c:v>4.0024964190710034E-2</c:v>
                </c:pt>
                <c:pt idx="37">
                  <c:v>4.0761939001591127E-2</c:v>
                </c:pt>
                <c:pt idx="38">
                  <c:v>4.1395452500914164E-2</c:v>
                </c:pt>
                <c:pt idx="39">
                  <c:v>4.22450462041076E-2</c:v>
                </c:pt>
                <c:pt idx="40">
                  <c:v>4.2876556961177689E-2</c:v>
                </c:pt>
                <c:pt idx="41">
                  <c:v>4.3733838697401245E-2</c:v>
                </c:pt>
                <c:pt idx="42">
                  <c:v>4.4692810613420737E-2</c:v>
                </c:pt>
                <c:pt idx="43">
                  <c:v>4.5732678039163782E-2</c:v>
                </c:pt>
                <c:pt idx="44">
                  <c:v>4.6949339626232253E-2</c:v>
                </c:pt>
                <c:pt idx="45">
                  <c:v>4.7595260954795063E-2</c:v>
                </c:pt>
                <c:pt idx="46">
                  <c:v>4.7884710333254581E-2</c:v>
                </c:pt>
                <c:pt idx="47">
                  <c:v>4.8299642326387872E-2</c:v>
                </c:pt>
                <c:pt idx="48">
                  <c:v>4.8480478881416787E-2</c:v>
                </c:pt>
                <c:pt idx="49">
                  <c:v>4.8457889580698313E-2</c:v>
                </c:pt>
                <c:pt idx="50">
                  <c:v>4.907415152137997E-2</c:v>
                </c:pt>
                <c:pt idx="51">
                  <c:v>4.9608616404188018E-2</c:v>
                </c:pt>
                <c:pt idx="52">
                  <c:v>5.0192860455002354E-2</c:v>
                </c:pt>
                <c:pt idx="53">
                  <c:v>5.0840342064301505E-2</c:v>
                </c:pt>
                <c:pt idx="54">
                  <c:v>5.1406254913271492E-2</c:v>
                </c:pt>
                <c:pt idx="55">
                  <c:v>5.2264439173909716E-2</c:v>
                </c:pt>
                <c:pt idx="56">
                  <c:v>5.2967522852898338E-2</c:v>
                </c:pt>
                <c:pt idx="57">
                  <c:v>5.3459931167964603E-2</c:v>
                </c:pt>
                <c:pt idx="58">
                  <c:v>5.4103341464546775E-2</c:v>
                </c:pt>
                <c:pt idx="59">
                  <c:v>5.4317422101439902E-2</c:v>
                </c:pt>
                <c:pt idx="60">
                  <c:v>5.4880201506858448E-2</c:v>
                </c:pt>
                <c:pt idx="61">
                  <c:v>5.5466326157347819E-2</c:v>
                </c:pt>
                <c:pt idx="62">
                  <c:v>5.5326329687799984E-2</c:v>
                </c:pt>
                <c:pt idx="63">
                  <c:v>5.536630505108258E-2</c:v>
                </c:pt>
                <c:pt idx="64">
                  <c:v>5.5824394863228578E-2</c:v>
                </c:pt>
                <c:pt idx="65">
                  <c:v>5.6387625516108479E-2</c:v>
                </c:pt>
                <c:pt idx="66">
                  <c:v>5.6733752261289482E-2</c:v>
                </c:pt>
                <c:pt idx="67">
                  <c:v>5.7376707246782947E-2</c:v>
                </c:pt>
                <c:pt idx="68">
                  <c:v>5.7855375698027844E-2</c:v>
                </c:pt>
                <c:pt idx="69">
                  <c:v>5.8493968885195223E-2</c:v>
                </c:pt>
                <c:pt idx="70">
                  <c:v>5.8584512472765554E-2</c:v>
                </c:pt>
                <c:pt idx="71">
                  <c:v>5.8479556851522951E-2</c:v>
                </c:pt>
                <c:pt idx="72">
                  <c:v>5.8591638353675639E-2</c:v>
                </c:pt>
                <c:pt idx="73">
                  <c:v>5.8517527475422888E-2</c:v>
                </c:pt>
                <c:pt idx="74">
                  <c:v>5.8797103479955336E-2</c:v>
                </c:pt>
                <c:pt idx="75">
                  <c:v>5.8926770195184511E-2</c:v>
                </c:pt>
                <c:pt idx="76">
                  <c:v>5.9174724549220771E-2</c:v>
                </c:pt>
                <c:pt idx="77">
                  <c:v>5.9293397346894393E-2</c:v>
                </c:pt>
                <c:pt idx="78">
                  <c:v>5.9691238871901302E-2</c:v>
                </c:pt>
                <c:pt idx="79">
                  <c:v>6.0187650076814606E-2</c:v>
                </c:pt>
                <c:pt idx="80">
                  <c:v>6.0373618763819178E-2</c:v>
                </c:pt>
                <c:pt idx="81">
                  <c:v>6.0870997478513142E-2</c:v>
                </c:pt>
                <c:pt idx="82">
                  <c:v>6.1127807356557928E-2</c:v>
                </c:pt>
                <c:pt idx="83">
                  <c:v>6.1251602126575065E-2</c:v>
                </c:pt>
                <c:pt idx="84">
                  <c:v>6.125554978336431E-2</c:v>
                </c:pt>
                <c:pt idx="85">
                  <c:v>6.1671900543461597E-2</c:v>
                </c:pt>
                <c:pt idx="86">
                  <c:v>6.1411999070354259E-2</c:v>
                </c:pt>
                <c:pt idx="87">
                  <c:v>6.1389206453501696E-2</c:v>
                </c:pt>
                <c:pt idx="88">
                  <c:v>6.14477688628908E-2</c:v>
                </c:pt>
                <c:pt idx="89">
                  <c:v>6.1372027717042733E-2</c:v>
                </c:pt>
                <c:pt idx="90">
                  <c:v>6.1728702820307679E-2</c:v>
                </c:pt>
                <c:pt idx="91">
                  <c:v>6.2201353243117118E-2</c:v>
                </c:pt>
                <c:pt idx="92">
                  <c:v>6.2936469618843457E-2</c:v>
                </c:pt>
                <c:pt idx="93">
                  <c:v>6.3906995179706175E-2</c:v>
                </c:pt>
                <c:pt idx="94">
                  <c:v>6.4312298309350327E-2</c:v>
                </c:pt>
                <c:pt idx="95">
                  <c:v>6.4772347194105295E-2</c:v>
                </c:pt>
                <c:pt idx="96">
                  <c:v>6.5545961555500923E-2</c:v>
                </c:pt>
                <c:pt idx="97">
                  <c:v>6.5904176511870569E-2</c:v>
                </c:pt>
                <c:pt idx="98">
                  <c:v>6.6340432849387079E-2</c:v>
                </c:pt>
                <c:pt idx="99">
                  <c:v>6.7248883296404258E-2</c:v>
                </c:pt>
                <c:pt idx="100">
                  <c:v>6.7804518664047145E-2</c:v>
                </c:pt>
                <c:pt idx="101">
                  <c:v>6.86751895908011E-2</c:v>
                </c:pt>
                <c:pt idx="102">
                  <c:v>6.9240548861859902E-2</c:v>
                </c:pt>
                <c:pt idx="103">
                  <c:v>6.9408603549372117E-2</c:v>
                </c:pt>
                <c:pt idx="104">
                  <c:v>7.0161617869057599E-2</c:v>
                </c:pt>
                <c:pt idx="105">
                  <c:v>7.0495888739896456E-2</c:v>
                </c:pt>
                <c:pt idx="106">
                  <c:v>7.1042011828842747E-2</c:v>
                </c:pt>
                <c:pt idx="107">
                  <c:v>7.1929957698202707E-2</c:v>
                </c:pt>
                <c:pt idx="108">
                  <c:v>7.2443674374985695E-2</c:v>
                </c:pt>
                <c:pt idx="109">
                  <c:v>7.2447756402594155E-2</c:v>
                </c:pt>
                <c:pt idx="110">
                  <c:v>7.3249930208560562E-2</c:v>
                </c:pt>
                <c:pt idx="111">
                  <c:v>7.3750234585617844E-2</c:v>
                </c:pt>
                <c:pt idx="112">
                  <c:v>7.4223403137028604E-2</c:v>
                </c:pt>
                <c:pt idx="113">
                  <c:v>7.4853227109390227E-2</c:v>
                </c:pt>
                <c:pt idx="114">
                  <c:v>7.5614722405503695E-2</c:v>
                </c:pt>
                <c:pt idx="115">
                  <c:v>7.6223853076575532E-2</c:v>
                </c:pt>
                <c:pt idx="116">
                  <c:v>7.6705055389231502E-2</c:v>
                </c:pt>
                <c:pt idx="117">
                  <c:v>7.7282196959242003E-2</c:v>
                </c:pt>
                <c:pt idx="118">
                  <c:v>7.7957113895954763E-2</c:v>
                </c:pt>
                <c:pt idx="119">
                  <c:v>7.8044645442024108E-2</c:v>
                </c:pt>
                <c:pt idx="120">
                  <c:v>7.7986218712916083E-2</c:v>
                </c:pt>
                <c:pt idx="121">
                  <c:v>7.8596825410615856E-2</c:v>
                </c:pt>
                <c:pt idx="122">
                  <c:v>7.8763912156984958E-2</c:v>
                </c:pt>
                <c:pt idx="123">
                  <c:v>7.8985161498088763E-2</c:v>
                </c:pt>
                <c:pt idx="124">
                  <c:v>7.929940085823875E-2</c:v>
                </c:pt>
                <c:pt idx="125">
                  <c:v>7.9540717535048114E-2</c:v>
                </c:pt>
                <c:pt idx="126">
                  <c:v>7.9382092790387188E-2</c:v>
                </c:pt>
                <c:pt idx="127">
                  <c:v>7.9669773909460784E-2</c:v>
                </c:pt>
                <c:pt idx="128">
                  <c:v>7.975591275915199E-2</c:v>
                </c:pt>
                <c:pt idx="129">
                  <c:v>7.9624996734646306E-2</c:v>
                </c:pt>
                <c:pt idx="130">
                  <c:v>7.9752471810942402E-2</c:v>
                </c:pt>
                <c:pt idx="131">
                  <c:v>7.9823114565623493E-2</c:v>
                </c:pt>
                <c:pt idx="132">
                  <c:v>7.9786055458775845E-2</c:v>
                </c:pt>
                <c:pt idx="133">
                  <c:v>7.9540043679196371E-2</c:v>
                </c:pt>
                <c:pt idx="134">
                  <c:v>7.9224695583345661E-2</c:v>
                </c:pt>
                <c:pt idx="135">
                  <c:v>7.9033451341012972E-2</c:v>
                </c:pt>
                <c:pt idx="136">
                  <c:v>7.9201652126573041E-2</c:v>
                </c:pt>
                <c:pt idx="137">
                  <c:v>7.9260062067657636E-2</c:v>
                </c:pt>
                <c:pt idx="138">
                  <c:v>7.974897978261572E-2</c:v>
                </c:pt>
                <c:pt idx="139">
                  <c:v>8.0412206780721404E-2</c:v>
                </c:pt>
                <c:pt idx="140">
                  <c:v>8.0773235816046715E-2</c:v>
                </c:pt>
                <c:pt idx="141">
                  <c:v>8.1694648768391248E-2</c:v>
                </c:pt>
                <c:pt idx="142">
                  <c:v>8.2076055332544362E-2</c:v>
                </c:pt>
                <c:pt idx="143">
                  <c:v>8.2115332986869682E-2</c:v>
                </c:pt>
                <c:pt idx="144">
                  <c:v>8.2583232961204178E-2</c:v>
                </c:pt>
                <c:pt idx="145">
                  <c:v>8.2116300930277789E-2</c:v>
                </c:pt>
                <c:pt idx="146">
                  <c:v>8.2881451455749378E-2</c:v>
                </c:pt>
                <c:pt idx="147">
                  <c:v>8.3452529420000504E-2</c:v>
                </c:pt>
                <c:pt idx="148">
                  <c:v>8.368265783364659E-2</c:v>
                </c:pt>
                <c:pt idx="149">
                  <c:v>8.4115487160871125E-2</c:v>
                </c:pt>
                <c:pt idx="150">
                  <c:v>8.4562330851109424E-2</c:v>
                </c:pt>
                <c:pt idx="151">
                  <c:v>8.5333501894651387E-2</c:v>
                </c:pt>
                <c:pt idx="152">
                  <c:v>8.6330697038401946E-2</c:v>
                </c:pt>
                <c:pt idx="153">
                  <c:v>8.7583681053508944E-2</c:v>
                </c:pt>
                <c:pt idx="154">
                  <c:v>8.8481148733535117E-2</c:v>
                </c:pt>
                <c:pt idx="155">
                  <c:v>8.9639342365768954E-2</c:v>
                </c:pt>
                <c:pt idx="156">
                  <c:v>9.0905640318159037E-2</c:v>
                </c:pt>
                <c:pt idx="157">
                  <c:v>9.3097232388517429E-2</c:v>
                </c:pt>
                <c:pt idx="158">
                  <c:v>9.3673824671830566E-2</c:v>
                </c:pt>
                <c:pt idx="159">
                  <c:v>9.5138292965603249E-2</c:v>
                </c:pt>
                <c:pt idx="160">
                  <c:v>9.6921908603123816E-2</c:v>
                </c:pt>
                <c:pt idx="161">
                  <c:v>9.8773379989491525E-2</c:v>
                </c:pt>
                <c:pt idx="162">
                  <c:v>0.10047471415908099</c:v>
                </c:pt>
                <c:pt idx="163">
                  <c:v>0.10218250686057188</c:v>
                </c:pt>
                <c:pt idx="164">
                  <c:v>0.10351789299172666</c:v>
                </c:pt>
                <c:pt idx="165">
                  <c:v>0.10358273307592032</c:v>
                </c:pt>
                <c:pt idx="166">
                  <c:v>0.1057088532050369</c:v>
                </c:pt>
                <c:pt idx="167">
                  <c:v>0.10779771407118859</c:v>
                </c:pt>
                <c:pt idx="168">
                  <c:v>0.10916362921954988</c:v>
                </c:pt>
                <c:pt idx="169">
                  <c:v>0.10958371265895352</c:v>
                </c:pt>
                <c:pt idx="170">
                  <c:v>0.11069246690840204</c:v>
                </c:pt>
                <c:pt idx="171">
                  <c:v>0.11204207909111949</c:v>
                </c:pt>
                <c:pt idx="172">
                  <c:v>0.11314888996707936</c:v>
                </c:pt>
                <c:pt idx="173">
                  <c:v>0.11378320868169342</c:v>
                </c:pt>
                <c:pt idx="174">
                  <c:v>0.11486737769602721</c:v>
                </c:pt>
                <c:pt idx="175">
                  <c:v>0.11554590917341871</c:v>
                </c:pt>
                <c:pt idx="176">
                  <c:v>0.1169412350737014</c:v>
                </c:pt>
                <c:pt idx="177">
                  <c:v>0.12000637463322246</c:v>
                </c:pt>
                <c:pt idx="178">
                  <c:v>0.12073676709236182</c:v>
                </c:pt>
                <c:pt idx="179">
                  <c:v>0.12125809440618686</c:v>
                </c:pt>
                <c:pt idx="180">
                  <c:v>0.12255534947030443</c:v>
                </c:pt>
                <c:pt idx="181">
                  <c:v>0.12266117003251213</c:v>
                </c:pt>
                <c:pt idx="182">
                  <c:v>0.12425180283554153</c:v>
                </c:pt>
                <c:pt idx="183">
                  <c:v>0.12525705604313186</c:v>
                </c:pt>
                <c:pt idx="184">
                  <c:v>0.12595191839580053</c:v>
                </c:pt>
                <c:pt idx="185">
                  <c:v>0.12752795980768444</c:v>
                </c:pt>
                <c:pt idx="186">
                  <c:v>0.12887813155304845</c:v>
                </c:pt>
                <c:pt idx="187">
                  <c:v>0.12991542865533875</c:v>
                </c:pt>
                <c:pt idx="188">
                  <c:v>0.13077887976490107</c:v>
                </c:pt>
                <c:pt idx="189">
                  <c:v>0.13106829153149616</c:v>
                </c:pt>
                <c:pt idx="190">
                  <c:v>0.13269543258044278</c:v>
                </c:pt>
                <c:pt idx="191">
                  <c:v>0.13382433997549165</c:v>
                </c:pt>
                <c:pt idx="192">
                  <c:v>0.13447033160929334</c:v>
                </c:pt>
                <c:pt idx="193">
                  <c:v>0.13635818647036491</c:v>
                </c:pt>
                <c:pt idx="194">
                  <c:v>0.1368292893829976</c:v>
                </c:pt>
                <c:pt idx="195">
                  <c:v>0.13738705523413541</c:v>
                </c:pt>
                <c:pt idx="196">
                  <c:v>0.13862361215746771</c:v>
                </c:pt>
                <c:pt idx="197">
                  <c:v>0.1400565161316607</c:v>
                </c:pt>
                <c:pt idx="198">
                  <c:v>0.14112102210959232</c:v>
                </c:pt>
                <c:pt idx="199">
                  <c:v>0.14252173210376837</c:v>
                </c:pt>
                <c:pt idx="200">
                  <c:v>0.14383055203836398</c:v>
                </c:pt>
                <c:pt idx="201">
                  <c:v>0.1449327881521163</c:v>
                </c:pt>
                <c:pt idx="202">
                  <c:v>0.14529821216837455</c:v>
                </c:pt>
                <c:pt idx="203">
                  <c:v>0.14548939726828791</c:v>
                </c:pt>
                <c:pt idx="204">
                  <c:v>0.14576244612379077</c:v>
                </c:pt>
                <c:pt idx="205">
                  <c:v>0.14516200595848325</c:v>
                </c:pt>
                <c:pt idx="206">
                  <c:v>0.14600920809020729</c:v>
                </c:pt>
                <c:pt idx="207">
                  <c:v>0.14672375109745114</c:v>
                </c:pt>
                <c:pt idx="208">
                  <c:v>0.14696682500360525</c:v>
                </c:pt>
                <c:pt idx="209">
                  <c:v>0.14720113170472862</c:v>
                </c:pt>
                <c:pt idx="210">
                  <c:v>0.14752966465216297</c:v>
                </c:pt>
                <c:pt idx="211">
                  <c:v>0.14821470205587742</c:v>
                </c:pt>
                <c:pt idx="212">
                  <c:v>0.14941957002619513</c:v>
                </c:pt>
                <c:pt idx="213">
                  <c:v>0.15175921700310541</c:v>
                </c:pt>
                <c:pt idx="214">
                  <c:v>0.15402054648973845</c:v>
                </c:pt>
                <c:pt idx="215">
                  <c:v>0.1552232045455649</c:v>
                </c:pt>
                <c:pt idx="216">
                  <c:v>0.15725862369656765</c:v>
                </c:pt>
                <c:pt idx="217">
                  <c:v>0.15946476389157946</c:v>
                </c:pt>
                <c:pt idx="218">
                  <c:v>0.1596942453818693</c:v>
                </c:pt>
                <c:pt idx="219">
                  <c:v>0.1604614978222943</c:v>
                </c:pt>
                <c:pt idx="220">
                  <c:v>0.16152105656382029</c:v>
                </c:pt>
                <c:pt idx="221">
                  <c:v>0.16247633645024373</c:v>
                </c:pt>
                <c:pt idx="222">
                  <c:v>0.16392526412747127</c:v>
                </c:pt>
                <c:pt idx="223">
                  <c:v>0.16451232101042504</c:v>
                </c:pt>
                <c:pt idx="224">
                  <c:v>0.16487876367918616</c:v>
                </c:pt>
                <c:pt idx="225">
                  <c:v>0.1648518135870442</c:v>
                </c:pt>
                <c:pt idx="226">
                  <c:v>0.16442563103632787</c:v>
                </c:pt>
                <c:pt idx="227">
                  <c:v>0.16425605961383005</c:v>
                </c:pt>
                <c:pt idx="228">
                  <c:v>0.16292226896680487</c:v>
                </c:pt>
                <c:pt idx="229">
                  <c:v>0.16146376550463248</c:v>
                </c:pt>
                <c:pt idx="230">
                  <c:v>0.1602555294293759</c:v>
                </c:pt>
                <c:pt idx="231">
                  <c:v>0.15927619006054344</c:v>
                </c:pt>
                <c:pt idx="232">
                  <c:v>0.15865756778212475</c:v>
                </c:pt>
                <c:pt idx="233">
                  <c:v>0.15725601478243384</c:v>
                </c:pt>
                <c:pt idx="234">
                  <c:v>0.15622755709388708</c:v>
                </c:pt>
                <c:pt idx="235">
                  <c:v>0.15615014483894801</c:v>
                </c:pt>
                <c:pt idx="236">
                  <c:v>0.15705785505071973</c:v>
                </c:pt>
                <c:pt idx="237">
                  <c:v>0.15768248905110843</c:v>
                </c:pt>
                <c:pt idx="238">
                  <c:v>0.15854086695252625</c:v>
                </c:pt>
                <c:pt idx="239">
                  <c:v>0.16056571811587625</c:v>
                </c:pt>
                <c:pt idx="240">
                  <c:v>0.16347430940362459</c:v>
                </c:pt>
                <c:pt idx="241">
                  <c:v>0.16556480806448709</c:v>
                </c:pt>
                <c:pt idx="242">
                  <c:v>0.16946906676017193</c:v>
                </c:pt>
                <c:pt idx="243">
                  <c:v>0.1729244027500105</c:v>
                </c:pt>
                <c:pt idx="244">
                  <c:v>0.17641227214074467</c:v>
                </c:pt>
                <c:pt idx="245">
                  <c:v>0.18067298740689691</c:v>
                </c:pt>
                <c:pt idx="246">
                  <c:v>0.18426074168777673</c:v>
                </c:pt>
                <c:pt idx="247">
                  <c:v>0.1870588231521752</c:v>
                </c:pt>
                <c:pt idx="248">
                  <c:v>0.18845022481345275</c:v>
                </c:pt>
                <c:pt idx="249">
                  <c:v>0.18978229563144683</c:v>
                </c:pt>
                <c:pt idx="250">
                  <c:v>0.19015981594776818</c:v>
                </c:pt>
                <c:pt idx="251">
                  <c:v>0.19002893867949028</c:v>
                </c:pt>
                <c:pt idx="252">
                  <c:v>0.18819701118544968</c:v>
                </c:pt>
                <c:pt idx="253">
                  <c:v>0.18763262666077221</c:v>
                </c:pt>
                <c:pt idx="254">
                  <c:v>0.18582877095609801</c:v>
                </c:pt>
                <c:pt idx="255">
                  <c:v>0.18453773526277464</c:v>
                </c:pt>
                <c:pt idx="256">
                  <c:v>0.18398179553188168</c:v>
                </c:pt>
                <c:pt idx="257">
                  <c:v>0.18484007603248759</c:v>
                </c:pt>
                <c:pt idx="258">
                  <c:v>0.1860175233438045</c:v>
                </c:pt>
                <c:pt idx="259">
                  <c:v>0.18762832594156292</c:v>
                </c:pt>
                <c:pt idx="260">
                  <c:v>0.18878369590899552</c:v>
                </c:pt>
                <c:pt idx="261">
                  <c:v>0.18911446491493611</c:v>
                </c:pt>
                <c:pt idx="262">
                  <c:v>0.19068602708033258</c:v>
                </c:pt>
                <c:pt idx="263">
                  <c:v>0.19068950444338087</c:v>
                </c:pt>
                <c:pt idx="264">
                  <c:v>0.19073079778830559</c:v>
                </c:pt>
                <c:pt idx="265">
                  <c:v>0.1904160471896808</c:v>
                </c:pt>
                <c:pt idx="266">
                  <c:v>0.18947152609216067</c:v>
                </c:pt>
                <c:pt idx="267">
                  <c:v>0.1887192304563447</c:v>
                </c:pt>
                <c:pt idx="268">
                  <c:v>0.1880385770069084</c:v>
                </c:pt>
                <c:pt idx="269">
                  <c:v>0.18667499919738381</c:v>
                </c:pt>
                <c:pt idx="270">
                  <c:v>0.18524797800320289</c:v>
                </c:pt>
                <c:pt idx="271">
                  <c:v>0.18433921992409358</c:v>
                </c:pt>
                <c:pt idx="272">
                  <c:v>0.18302749567478008</c:v>
                </c:pt>
                <c:pt idx="273">
                  <c:v>0.18248576058951849</c:v>
                </c:pt>
                <c:pt idx="274">
                  <c:v>0.18163123586592428</c:v>
                </c:pt>
                <c:pt idx="275">
                  <c:v>0.18087842076012453</c:v>
                </c:pt>
                <c:pt idx="276">
                  <c:v>0.18120056108818972</c:v>
                </c:pt>
                <c:pt idx="277">
                  <c:v>0.18057176636178088</c:v>
                </c:pt>
                <c:pt idx="278">
                  <c:v>0.18104236234348037</c:v>
                </c:pt>
                <c:pt idx="279">
                  <c:v>0.18165996930331099</c:v>
                </c:pt>
                <c:pt idx="280">
                  <c:v>0.18215134738443717</c:v>
                </c:pt>
                <c:pt idx="281">
                  <c:v>0.18256920670546198</c:v>
                </c:pt>
                <c:pt idx="282">
                  <c:v>0.18364620578754243</c:v>
                </c:pt>
                <c:pt idx="283">
                  <c:v>0.18348526951479832</c:v>
                </c:pt>
                <c:pt idx="284">
                  <c:v>0.1838883784442179</c:v>
                </c:pt>
                <c:pt idx="285">
                  <c:v>0.1850277937041675</c:v>
                </c:pt>
                <c:pt idx="286">
                  <c:v>0.18584476589035398</c:v>
                </c:pt>
                <c:pt idx="287">
                  <c:v>0.18698116482537397</c:v>
                </c:pt>
                <c:pt idx="288">
                  <c:v>0.18834484648470609</c:v>
                </c:pt>
                <c:pt idx="289">
                  <c:v>0.18988876968005644</c:v>
                </c:pt>
                <c:pt idx="290">
                  <c:v>0.18912352151676357</c:v>
                </c:pt>
                <c:pt idx="291">
                  <c:v>0.18952242858533166</c:v>
                </c:pt>
                <c:pt idx="292">
                  <c:v>0.19027130616674409</c:v>
                </c:pt>
                <c:pt idx="293">
                  <c:v>0.190409530005584</c:v>
                </c:pt>
                <c:pt idx="294">
                  <c:v>0.19077952386950556</c:v>
                </c:pt>
                <c:pt idx="295">
                  <c:v>0.19152879169849144</c:v>
                </c:pt>
                <c:pt idx="296">
                  <c:v>0.19230783674994137</c:v>
                </c:pt>
                <c:pt idx="297">
                  <c:v>0.19256149947884252</c:v>
                </c:pt>
                <c:pt idx="298">
                  <c:v>0.1930607830566706</c:v>
                </c:pt>
                <c:pt idx="299">
                  <c:v>0.19419426624627045</c:v>
                </c:pt>
                <c:pt idx="300">
                  <c:v>0.19458764723419197</c:v>
                </c:pt>
                <c:pt idx="301">
                  <c:v>0.19371810751865434</c:v>
                </c:pt>
                <c:pt idx="302">
                  <c:v>0.19429169201736127</c:v>
                </c:pt>
                <c:pt idx="303">
                  <c:v>0.19472398861648571</c:v>
                </c:pt>
                <c:pt idx="304">
                  <c:v>0.19481387621201554</c:v>
                </c:pt>
                <c:pt idx="305">
                  <c:v>0.19566108851143271</c:v>
                </c:pt>
                <c:pt idx="306">
                  <c:v>0.19554779916544179</c:v>
                </c:pt>
                <c:pt idx="307">
                  <c:v>0.19529034041572207</c:v>
                </c:pt>
                <c:pt idx="308">
                  <c:v>0.19688347370984716</c:v>
                </c:pt>
                <c:pt idx="309">
                  <c:v>0.19781567350230855</c:v>
                </c:pt>
                <c:pt idx="310">
                  <c:v>0.19836906024513035</c:v>
                </c:pt>
                <c:pt idx="311">
                  <c:v>0.19881328647703089</c:v>
                </c:pt>
                <c:pt idx="312">
                  <c:v>0.19900648135914037</c:v>
                </c:pt>
                <c:pt idx="313">
                  <c:v>0.2001242751856723</c:v>
                </c:pt>
                <c:pt idx="314">
                  <c:v>0.20430798204416672</c:v>
                </c:pt>
                <c:pt idx="315">
                  <c:v>0.20507938240450199</c:v>
                </c:pt>
                <c:pt idx="316">
                  <c:v>0.2064031493589317</c:v>
                </c:pt>
                <c:pt idx="317">
                  <c:v>0.20768767915053649</c:v>
                </c:pt>
                <c:pt idx="318">
                  <c:v>0.20891696794555709</c:v>
                </c:pt>
                <c:pt idx="319">
                  <c:v>0.2113432360070775</c:v>
                </c:pt>
                <c:pt idx="320">
                  <c:v>0.21261606986059348</c:v>
                </c:pt>
                <c:pt idx="321">
                  <c:v>0.21345981336014455</c:v>
                </c:pt>
                <c:pt idx="322">
                  <c:v>0.214430813242934</c:v>
                </c:pt>
                <c:pt idx="323">
                  <c:v>0.21486980441212217</c:v>
                </c:pt>
                <c:pt idx="324">
                  <c:v>0.21543412680178839</c:v>
                </c:pt>
                <c:pt idx="325">
                  <c:v>0.21757523458745154</c:v>
                </c:pt>
                <c:pt idx="326">
                  <c:v>0.21472446484501165</c:v>
                </c:pt>
                <c:pt idx="327">
                  <c:v>0.21441565795296791</c:v>
                </c:pt>
                <c:pt idx="328">
                  <c:v>0.21441786498090901</c:v>
                </c:pt>
                <c:pt idx="329">
                  <c:v>0.2137275447808302</c:v>
                </c:pt>
                <c:pt idx="330">
                  <c:v>0.21331166365581208</c:v>
                </c:pt>
                <c:pt idx="331">
                  <c:v>0.21330670485547698</c:v>
                </c:pt>
                <c:pt idx="332">
                  <c:v>0.21195244321395171</c:v>
                </c:pt>
                <c:pt idx="333">
                  <c:v>0.21174786115868163</c:v>
                </c:pt>
                <c:pt idx="334">
                  <c:v>0.21151716216281607</c:v>
                </c:pt>
                <c:pt idx="335">
                  <c:v>0.21146111373683282</c:v>
                </c:pt>
                <c:pt idx="336">
                  <c:v>0.21184964552613245</c:v>
                </c:pt>
                <c:pt idx="337">
                  <c:v>0.20957464125604483</c:v>
                </c:pt>
                <c:pt idx="338">
                  <c:v>0.21000247462334179</c:v>
                </c:pt>
                <c:pt idx="339">
                  <c:v>0.21053234135041984</c:v>
                </c:pt>
                <c:pt idx="340">
                  <c:v>0.21127935300524187</c:v>
                </c:pt>
                <c:pt idx="341">
                  <c:v>0.21207027444127946</c:v>
                </c:pt>
                <c:pt idx="342">
                  <c:v>0.21312798709983713</c:v>
                </c:pt>
                <c:pt idx="343">
                  <c:v>0.21356496509410131</c:v>
                </c:pt>
                <c:pt idx="344">
                  <c:v>0.21403956384881881</c:v>
                </c:pt>
                <c:pt idx="345">
                  <c:v>0.21467145162078427</c:v>
                </c:pt>
                <c:pt idx="346">
                  <c:v>0.21553163474646117</c:v>
                </c:pt>
                <c:pt idx="347">
                  <c:v>0.21592022998867644</c:v>
                </c:pt>
                <c:pt idx="348">
                  <c:v>0.21654749586736355</c:v>
                </c:pt>
                <c:pt idx="349">
                  <c:v>0.21730795560662028</c:v>
                </c:pt>
                <c:pt idx="350">
                  <c:v>0.21744841934674122</c:v>
                </c:pt>
                <c:pt idx="351">
                  <c:v>0.21631525999202747</c:v>
                </c:pt>
                <c:pt idx="352">
                  <c:v>0.21571115459693366</c:v>
                </c:pt>
                <c:pt idx="353">
                  <c:v>0.2151733972583357</c:v>
                </c:pt>
                <c:pt idx="354">
                  <c:v>0.21475492895076853</c:v>
                </c:pt>
                <c:pt idx="355">
                  <c:v>0.21378959061113531</c:v>
                </c:pt>
                <c:pt idx="356">
                  <c:v>0.21376971568704534</c:v>
                </c:pt>
                <c:pt idx="357">
                  <c:v>0.21363756384757682</c:v>
                </c:pt>
                <c:pt idx="358">
                  <c:v>0.21232233290063107</c:v>
                </c:pt>
                <c:pt idx="359">
                  <c:v>0.21233569074890937</c:v>
                </c:pt>
                <c:pt idx="360">
                  <c:v>0.21039832860517668</c:v>
                </c:pt>
                <c:pt idx="361">
                  <c:v>0.20821207194592947</c:v>
                </c:pt>
                <c:pt idx="362">
                  <c:v>0.20515456579284916</c:v>
                </c:pt>
                <c:pt idx="363">
                  <c:v>0.20377919801027178</c:v>
                </c:pt>
                <c:pt idx="364">
                  <c:v>0.20147433288673314</c:v>
                </c:pt>
                <c:pt idx="365">
                  <c:v>0.19922313203978126</c:v>
                </c:pt>
                <c:pt idx="366">
                  <c:v>0.1971718214882231</c:v>
                </c:pt>
                <c:pt idx="367">
                  <c:v>0.19471115691129048</c:v>
                </c:pt>
                <c:pt idx="368">
                  <c:v>0.19154125129009181</c:v>
                </c:pt>
                <c:pt idx="369">
                  <c:v>0.18777350955213468</c:v>
                </c:pt>
                <c:pt idx="370">
                  <c:v>0.18452155350480406</c:v>
                </c:pt>
                <c:pt idx="371">
                  <c:v>0.18024270763785211</c:v>
                </c:pt>
                <c:pt idx="372">
                  <c:v>0.17738061953729373</c:v>
                </c:pt>
                <c:pt idx="373">
                  <c:v>0.17392997229320545</c:v>
                </c:pt>
                <c:pt idx="374">
                  <c:v>0.17067921846723588</c:v>
                </c:pt>
                <c:pt idx="375">
                  <c:v>0.17198403267634124</c:v>
                </c:pt>
                <c:pt idx="376">
                  <c:v>0.17431596451808687</c:v>
                </c:pt>
                <c:pt idx="377">
                  <c:v>0.17635727606607202</c:v>
                </c:pt>
                <c:pt idx="378">
                  <c:v>0.17711339706620127</c:v>
                </c:pt>
                <c:pt idx="379">
                  <c:v>0.1776023884812532</c:v>
                </c:pt>
                <c:pt idx="380">
                  <c:v>0.17838404134585148</c:v>
                </c:pt>
                <c:pt idx="381">
                  <c:v>0.18013973545609027</c:v>
                </c:pt>
                <c:pt idx="382">
                  <c:v>0.18283111452640491</c:v>
                </c:pt>
                <c:pt idx="383">
                  <c:v>0.18552530653484592</c:v>
                </c:pt>
                <c:pt idx="384">
                  <c:v>0.18663634398462539</c:v>
                </c:pt>
                <c:pt idx="385">
                  <c:v>0.18978630015863412</c:v>
                </c:pt>
                <c:pt idx="386">
                  <c:v>0.19512114634148903</c:v>
                </c:pt>
                <c:pt idx="387">
                  <c:v>0.19302947153247349</c:v>
                </c:pt>
                <c:pt idx="388">
                  <c:v>0.1889509228356844</c:v>
                </c:pt>
                <c:pt idx="389">
                  <c:v>0.18542665102481648</c:v>
                </c:pt>
                <c:pt idx="390">
                  <c:v>0.182642298270529</c:v>
                </c:pt>
                <c:pt idx="391">
                  <c:v>0.18106620909149415</c:v>
                </c:pt>
                <c:pt idx="392">
                  <c:v>0.18091097396242997</c:v>
                </c:pt>
                <c:pt idx="393">
                  <c:v>0.1797607104453304</c:v>
                </c:pt>
                <c:pt idx="394">
                  <c:v>0.17831998102665192</c:v>
                </c:pt>
                <c:pt idx="395">
                  <c:v>0.17826388778228239</c:v>
                </c:pt>
                <c:pt idx="396">
                  <c:v>0.17869996863430837</c:v>
                </c:pt>
                <c:pt idx="397">
                  <c:v>0.17878173685928916</c:v>
                </c:pt>
                <c:pt idx="398">
                  <c:v>0.17771377574489908</c:v>
                </c:pt>
                <c:pt idx="399">
                  <c:v>0.17618767174616951</c:v>
                </c:pt>
                <c:pt idx="400">
                  <c:v>0.17516885967579846</c:v>
                </c:pt>
                <c:pt idx="401">
                  <c:v>0.17558472736415137</c:v>
                </c:pt>
                <c:pt idx="402">
                  <c:v>0.17554431228513923</c:v>
                </c:pt>
                <c:pt idx="403">
                  <c:v>0.17621621619705294</c:v>
                </c:pt>
                <c:pt idx="404">
                  <c:v>0.17515674117994692</c:v>
                </c:pt>
                <c:pt idx="405">
                  <c:v>0.17256671270455481</c:v>
                </c:pt>
                <c:pt idx="406">
                  <c:v>0.1691142437597758</c:v>
                </c:pt>
                <c:pt idx="407">
                  <c:v>0.16539773302302957</c:v>
                </c:pt>
                <c:pt idx="408">
                  <c:v>0.16229989983416546</c:v>
                </c:pt>
                <c:pt idx="409">
                  <c:v>0.15889380368174097</c:v>
                </c:pt>
                <c:pt idx="410">
                  <c:v>0.15543718525355438</c:v>
                </c:pt>
                <c:pt idx="411">
                  <c:v>0.15361709845607077</c:v>
                </c:pt>
                <c:pt idx="412">
                  <c:v>0.15230249634788517</c:v>
                </c:pt>
                <c:pt idx="413">
                  <c:v>0.14907889833202681</c:v>
                </c:pt>
                <c:pt idx="414">
                  <c:v>0.14640452425585723</c:v>
                </c:pt>
              </c:numCache>
            </c:numRef>
          </c:val>
          <c:smooth val="0"/>
          <c:extLst>
            <c:ext xmlns:c16="http://schemas.microsoft.com/office/drawing/2014/chart" uri="{C3380CC4-5D6E-409C-BE32-E72D297353CC}">
              <c16:uniqueId val="{00000001-E951-466F-8A38-7713413BC4FA}"/>
            </c:ext>
          </c:extLst>
        </c:ser>
        <c:dLbls>
          <c:showLegendKey val="0"/>
          <c:showVal val="0"/>
          <c:showCatName val="0"/>
          <c:showSerName val="0"/>
          <c:showPercent val="0"/>
          <c:showBubbleSize val="0"/>
        </c:dLbls>
        <c:smooth val="0"/>
        <c:axId val="941343743"/>
        <c:axId val="941351423"/>
      </c:lineChart>
      <c:dateAx>
        <c:axId val="941343743"/>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41351423"/>
        <c:crosses val="autoZero"/>
        <c:auto val="1"/>
        <c:lblOffset val="100"/>
        <c:baseTimeUnit val="months"/>
        <c:majorUnit val="60"/>
        <c:majorTimeUnit val="months"/>
      </c:dateAx>
      <c:valAx>
        <c:axId val="94135142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41343743"/>
        <c:crosses val="autoZero"/>
        <c:crossBetween val="between"/>
      </c:valAx>
      <c:spPr>
        <a:noFill/>
        <a:ln>
          <a:noFill/>
        </a:ln>
        <a:effectLst/>
      </c:spPr>
    </c:plotArea>
    <c:legend>
      <c:legendPos val="b"/>
      <c:layout>
        <c:manualLayout>
          <c:xMode val="edge"/>
          <c:yMode val="edge"/>
          <c:x val="0.17082300682186227"/>
          <c:y val="8.1893282812127724E-2"/>
          <c:w val="0.48532962003234387"/>
          <c:h val="4.825162875194947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Book1]Sheet3!$C$3</c:f>
              <c:strCache>
                <c:ptCount val="1"/>
                <c:pt idx="0">
                  <c:v>China</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Sheet3!$B$4:$B$8</c:f>
              <c:strCache>
                <c:ptCount val="5"/>
                <c:pt idx="0">
                  <c:v>Textiles</c:v>
                </c:pt>
                <c:pt idx="1">
                  <c:v>Electronic equipment</c:v>
                </c:pt>
                <c:pt idx="2">
                  <c:v>Telecoms equipment</c:v>
                </c:pt>
                <c:pt idx="3">
                  <c:v>Clothing</c:v>
                </c:pt>
                <c:pt idx="4">
                  <c:v>Automotives</c:v>
                </c:pt>
              </c:strCache>
            </c:strRef>
          </c:cat>
          <c:val>
            <c:numRef>
              <c:f>[Book1]Sheet3!$C$4:$C$8</c:f>
              <c:numCache>
                <c:formatCode>0.00%</c:formatCode>
                <c:ptCount val="5"/>
                <c:pt idx="0">
                  <c:v>0.41699999999999998</c:v>
                </c:pt>
                <c:pt idx="1">
                  <c:v>0.39100000000000001</c:v>
                </c:pt>
                <c:pt idx="2">
                  <c:v>0.35399999999999998</c:v>
                </c:pt>
                <c:pt idx="3">
                  <c:v>0.318</c:v>
                </c:pt>
                <c:pt idx="4">
                  <c:v>6.4000000000000001E-2</c:v>
                </c:pt>
              </c:numCache>
            </c:numRef>
          </c:val>
          <c:extLst>
            <c:ext xmlns:c16="http://schemas.microsoft.com/office/drawing/2014/chart" uri="{C3380CC4-5D6E-409C-BE32-E72D297353CC}">
              <c16:uniqueId val="{00000000-1AD0-4C57-A82C-3802903C5E2D}"/>
            </c:ext>
          </c:extLst>
        </c:ser>
        <c:ser>
          <c:idx val="1"/>
          <c:order val="1"/>
          <c:tx>
            <c:strRef>
              <c:f>[Book1]Sheet3!$D$3</c:f>
              <c:strCache>
                <c:ptCount val="1"/>
                <c:pt idx="0">
                  <c:v>Viet Nam</c:v>
                </c:pt>
              </c:strCache>
            </c:strRef>
          </c:tx>
          <c:spPr>
            <a:solidFill>
              <a:schemeClr val="accent2"/>
            </a:solidFill>
            <a:ln>
              <a:noFill/>
            </a:ln>
            <a:effectLst/>
          </c:spPr>
          <c:invertIfNegative val="0"/>
          <c:cat>
            <c:strRef>
              <c:f>[Book1]Sheet3!$B$4:$B$8</c:f>
              <c:strCache>
                <c:ptCount val="5"/>
                <c:pt idx="0">
                  <c:v>Textiles</c:v>
                </c:pt>
                <c:pt idx="1">
                  <c:v>Electronic equipment</c:v>
                </c:pt>
                <c:pt idx="2">
                  <c:v>Telecoms equipment</c:v>
                </c:pt>
                <c:pt idx="3">
                  <c:v>Clothing</c:v>
                </c:pt>
                <c:pt idx="4">
                  <c:v>Automotives</c:v>
                </c:pt>
              </c:strCache>
            </c:strRef>
          </c:cat>
          <c:val>
            <c:numRef>
              <c:f>[Book1]Sheet3!$D$4:$D$8</c:f>
              <c:numCache>
                <c:formatCode>0.00%</c:formatCode>
                <c:ptCount val="5"/>
                <c:pt idx="0">
                  <c:v>3.3000000000000002E-2</c:v>
                </c:pt>
                <c:pt idx="1">
                  <c:v>6.6000000000000003E-2</c:v>
                </c:pt>
                <c:pt idx="2">
                  <c:v>7.8E-2</c:v>
                </c:pt>
                <c:pt idx="3">
                  <c:v>5.6000000000000001E-2</c:v>
                </c:pt>
                <c:pt idx="4">
                  <c:v>2E-3</c:v>
                </c:pt>
              </c:numCache>
            </c:numRef>
          </c:val>
          <c:extLst>
            <c:ext xmlns:c16="http://schemas.microsoft.com/office/drawing/2014/chart" uri="{C3380CC4-5D6E-409C-BE32-E72D297353CC}">
              <c16:uniqueId val="{00000001-1AD0-4C57-A82C-3802903C5E2D}"/>
            </c:ext>
          </c:extLst>
        </c:ser>
        <c:ser>
          <c:idx val="2"/>
          <c:order val="2"/>
          <c:tx>
            <c:strRef>
              <c:f>[Book1]Sheet3!$E$3</c:f>
              <c:strCache>
                <c:ptCount val="1"/>
                <c:pt idx="0">
                  <c:v>Mexico</c:v>
                </c:pt>
              </c:strCache>
            </c:strRef>
          </c:tx>
          <c:spPr>
            <a:solidFill>
              <a:srgbClr val="00B050"/>
            </a:solidFill>
            <a:ln>
              <a:noFill/>
            </a:ln>
            <a:effectLst/>
          </c:spPr>
          <c:invertIfNegative val="0"/>
          <c:cat>
            <c:strRef>
              <c:f>[Book1]Sheet3!$B$4:$B$8</c:f>
              <c:strCache>
                <c:ptCount val="5"/>
                <c:pt idx="0">
                  <c:v>Textiles</c:v>
                </c:pt>
                <c:pt idx="1">
                  <c:v>Electronic equipment</c:v>
                </c:pt>
                <c:pt idx="2">
                  <c:v>Telecoms equipment</c:v>
                </c:pt>
                <c:pt idx="3">
                  <c:v>Clothing</c:v>
                </c:pt>
                <c:pt idx="4">
                  <c:v>Automotives</c:v>
                </c:pt>
              </c:strCache>
            </c:strRef>
          </c:cat>
          <c:val>
            <c:numRef>
              <c:f>[Book1]Sheet3!$E$4:$E$8</c:f>
              <c:numCache>
                <c:formatCode>0.00%</c:formatCode>
                <c:ptCount val="5"/>
                <c:pt idx="0">
                  <c:v>8.9999999999999993E-3</c:v>
                </c:pt>
                <c:pt idx="1">
                  <c:v>4.4999999999999998E-2</c:v>
                </c:pt>
                <c:pt idx="2">
                  <c:v>3.7999999999999999E-2</c:v>
                </c:pt>
                <c:pt idx="3">
                  <c:v>8.0000000000000002E-3</c:v>
                </c:pt>
                <c:pt idx="4">
                  <c:v>8.1000000000000003E-2</c:v>
                </c:pt>
              </c:numCache>
            </c:numRef>
          </c:val>
          <c:extLst>
            <c:ext xmlns:c16="http://schemas.microsoft.com/office/drawing/2014/chart" uri="{C3380CC4-5D6E-409C-BE32-E72D297353CC}">
              <c16:uniqueId val="{00000002-1AD0-4C57-A82C-3802903C5E2D}"/>
            </c:ext>
          </c:extLst>
        </c:ser>
        <c:ser>
          <c:idx val="3"/>
          <c:order val="3"/>
          <c:tx>
            <c:strRef>
              <c:f>[Book1]Sheet3!$F$3</c:f>
              <c:strCache>
                <c:ptCount val="1"/>
                <c:pt idx="0">
                  <c:v>India</c:v>
                </c:pt>
              </c:strCache>
            </c:strRef>
          </c:tx>
          <c:spPr>
            <a:solidFill>
              <a:srgbClr val="FFC000"/>
            </a:solidFill>
            <a:ln>
              <a:noFill/>
            </a:ln>
            <a:effectLst/>
          </c:spPr>
          <c:invertIfNegative val="0"/>
          <c:cat>
            <c:strRef>
              <c:f>[Book1]Sheet3!$B$4:$B$8</c:f>
              <c:strCache>
                <c:ptCount val="5"/>
                <c:pt idx="0">
                  <c:v>Textiles</c:v>
                </c:pt>
                <c:pt idx="1">
                  <c:v>Electronic equipment</c:v>
                </c:pt>
                <c:pt idx="2">
                  <c:v>Telecoms equipment</c:v>
                </c:pt>
                <c:pt idx="3">
                  <c:v>Clothing</c:v>
                </c:pt>
                <c:pt idx="4">
                  <c:v>Automotives</c:v>
                </c:pt>
              </c:strCache>
            </c:strRef>
          </c:cat>
          <c:val>
            <c:numRef>
              <c:f>[Book1]Sheet3!$F$4:$F$8</c:f>
              <c:numCache>
                <c:formatCode>0.00%</c:formatCode>
                <c:ptCount val="5"/>
                <c:pt idx="0">
                  <c:v>6.4000000000000001E-2</c:v>
                </c:pt>
                <c:pt idx="1">
                  <c:v>2E-3</c:v>
                </c:pt>
                <c:pt idx="2">
                  <c:v>8.0000000000000002E-3</c:v>
                </c:pt>
                <c:pt idx="3">
                  <c:v>2.9000000000000001E-2</c:v>
                </c:pt>
                <c:pt idx="4">
                  <c:v>0.01</c:v>
                </c:pt>
              </c:numCache>
            </c:numRef>
          </c:val>
          <c:extLst>
            <c:ext xmlns:c16="http://schemas.microsoft.com/office/drawing/2014/chart" uri="{C3380CC4-5D6E-409C-BE32-E72D297353CC}">
              <c16:uniqueId val="{00000003-1AD0-4C57-A82C-3802903C5E2D}"/>
            </c:ext>
          </c:extLst>
        </c:ser>
        <c:ser>
          <c:idx val="4"/>
          <c:order val="4"/>
          <c:tx>
            <c:strRef>
              <c:f>[Book1]Sheet3!$G$3</c:f>
              <c:strCache>
                <c:ptCount val="1"/>
                <c:pt idx="0">
                  <c:v>Rest</c:v>
                </c:pt>
              </c:strCache>
            </c:strRef>
          </c:tx>
          <c:spPr>
            <a:solidFill>
              <a:schemeClr val="bg1">
                <a:lumMod val="95000"/>
              </a:schemeClr>
            </a:solidFill>
            <a:ln>
              <a:noFill/>
            </a:ln>
            <a:effectLst/>
          </c:spPr>
          <c:invertIfNegative val="0"/>
          <c:cat>
            <c:strRef>
              <c:f>[Book1]Sheet3!$B$4:$B$8</c:f>
              <c:strCache>
                <c:ptCount val="5"/>
                <c:pt idx="0">
                  <c:v>Textiles</c:v>
                </c:pt>
                <c:pt idx="1">
                  <c:v>Electronic equipment</c:v>
                </c:pt>
                <c:pt idx="2">
                  <c:v>Telecoms equipment</c:v>
                </c:pt>
                <c:pt idx="3">
                  <c:v>Clothing</c:v>
                </c:pt>
                <c:pt idx="4">
                  <c:v>Automotives</c:v>
                </c:pt>
              </c:strCache>
            </c:strRef>
          </c:cat>
          <c:val>
            <c:numRef>
              <c:f>[Book1]Sheet3!$G$4:$G$8</c:f>
              <c:numCache>
                <c:formatCode>0.000%</c:formatCode>
                <c:ptCount val="5"/>
                <c:pt idx="0">
                  <c:v>0.47700000000000009</c:v>
                </c:pt>
                <c:pt idx="1">
                  <c:v>0.496</c:v>
                </c:pt>
                <c:pt idx="2">
                  <c:v>0.52200000000000002</c:v>
                </c:pt>
                <c:pt idx="3">
                  <c:v>0.58899999999999997</c:v>
                </c:pt>
                <c:pt idx="4">
                  <c:v>0.84299999999999997</c:v>
                </c:pt>
              </c:numCache>
            </c:numRef>
          </c:val>
          <c:extLst>
            <c:ext xmlns:c16="http://schemas.microsoft.com/office/drawing/2014/chart" uri="{C3380CC4-5D6E-409C-BE32-E72D297353CC}">
              <c16:uniqueId val="{00000004-1AD0-4C57-A82C-3802903C5E2D}"/>
            </c:ext>
          </c:extLst>
        </c:ser>
        <c:dLbls>
          <c:showLegendKey val="0"/>
          <c:showVal val="0"/>
          <c:showCatName val="0"/>
          <c:showSerName val="0"/>
          <c:showPercent val="0"/>
          <c:showBubbleSize val="0"/>
        </c:dLbls>
        <c:gapWidth val="16"/>
        <c:overlap val="100"/>
        <c:axId val="1498022719"/>
        <c:axId val="1498013151"/>
      </c:barChart>
      <c:catAx>
        <c:axId val="14980227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98013151"/>
        <c:crosses val="autoZero"/>
        <c:auto val="1"/>
        <c:lblAlgn val="ctr"/>
        <c:lblOffset val="100"/>
        <c:noMultiLvlLbl val="0"/>
      </c:catAx>
      <c:valAx>
        <c:axId val="1498013151"/>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980227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data!$B$1</c:f>
              <c:strCache>
                <c:ptCount val="1"/>
                <c:pt idx="0">
                  <c:v>GSCPI</c:v>
                </c:pt>
              </c:strCache>
            </c:strRef>
          </c:tx>
          <c:spPr>
            <a:ln w="28575" cap="rnd">
              <a:solidFill>
                <a:schemeClr val="accent1"/>
              </a:solidFill>
              <a:round/>
            </a:ln>
            <a:effectLst/>
          </c:spPr>
          <c:marker>
            <c:symbol val="none"/>
          </c:marker>
          <c:cat>
            <c:numRef>
              <c:f>data!$A$2:$A$400</c:f>
              <c:numCache>
                <c:formatCode>m/d/yyyy</c:formatCode>
                <c:ptCount val="399"/>
                <c:pt idx="0">
                  <c:v>35826</c:v>
                </c:pt>
                <c:pt idx="1">
                  <c:v>35854</c:v>
                </c:pt>
                <c:pt idx="2">
                  <c:v>35885</c:v>
                </c:pt>
                <c:pt idx="3">
                  <c:v>35915</c:v>
                </c:pt>
                <c:pt idx="4">
                  <c:v>35946</c:v>
                </c:pt>
                <c:pt idx="5">
                  <c:v>35976</c:v>
                </c:pt>
                <c:pt idx="6">
                  <c:v>36007</c:v>
                </c:pt>
                <c:pt idx="7">
                  <c:v>36038</c:v>
                </c:pt>
                <c:pt idx="8">
                  <c:v>36068</c:v>
                </c:pt>
                <c:pt idx="9">
                  <c:v>36099</c:v>
                </c:pt>
                <c:pt idx="10">
                  <c:v>36129</c:v>
                </c:pt>
                <c:pt idx="11">
                  <c:v>36160</c:v>
                </c:pt>
                <c:pt idx="12">
                  <c:v>36191</c:v>
                </c:pt>
                <c:pt idx="13">
                  <c:v>36219</c:v>
                </c:pt>
                <c:pt idx="14">
                  <c:v>36250</c:v>
                </c:pt>
                <c:pt idx="15">
                  <c:v>36280</c:v>
                </c:pt>
                <c:pt idx="16">
                  <c:v>36311</c:v>
                </c:pt>
                <c:pt idx="17">
                  <c:v>36341</c:v>
                </c:pt>
                <c:pt idx="18">
                  <c:v>36372</c:v>
                </c:pt>
                <c:pt idx="19">
                  <c:v>36403</c:v>
                </c:pt>
                <c:pt idx="20">
                  <c:v>36433</c:v>
                </c:pt>
                <c:pt idx="21">
                  <c:v>36464</c:v>
                </c:pt>
                <c:pt idx="22">
                  <c:v>36494</c:v>
                </c:pt>
                <c:pt idx="23">
                  <c:v>36525</c:v>
                </c:pt>
                <c:pt idx="24">
                  <c:v>36556</c:v>
                </c:pt>
                <c:pt idx="25">
                  <c:v>36585</c:v>
                </c:pt>
                <c:pt idx="26">
                  <c:v>36616</c:v>
                </c:pt>
                <c:pt idx="27">
                  <c:v>36646</c:v>
                </c:pt>
                <c:pt idx="28">
                  <c:v>36677</c:v>
                </c:pt>
                <c:pt idx="29">
                  <c:v>36707</c:v>
                </c:pt>
                <c:pt idx="30">
                  <c:v>36738</c:v>
                </c:pt>
                <c:pt idx="31">
                  <c:v>36769</c:v>
                </c:pt>
                <c:pt idx="32">
                  <c:v>36799</c:v>
                </c:pt>
                <c:pt idx="33">
                  <c:v>36830</c:v>
                </c:pt>
                <c:pt idx="34">
                  <c:v>36860</c:v>
                </c:pt>
                <c:pt idx="35">
                  <c:v>36891</c:v>
                </c:pt>
                <c:pt idx="36">
                  <c:v>36922</c:v>
                </c:pt>
                <c:pt idx="37">
                  <c:v>36950</c:v>
                </c:pt>
                <c:pt idx="38">
                  <c:v>36981</c:v>
                </c:pt>
                <c:pt idx="39">
                  <c:v>37011</c:v>
                </c:pt>
                <c:pt idx="40">
                  <c:v>37042</c:v>
                </c:pt>
                <c:pt idx="41">
                  <c:v>37072</c:v>
                </c:pt>
                <c:pt idx="42">
                  <c:v>37103</c:v>
                </c:pt>
                <c:pt idx="43">
                  <c:v>37134</c:v>
                </c:pt>
                <c:pt idx="44">
                  <c:v>37164</c:v>
                </c:pt>
                <c:pt idx="45">
                  <c:v>37195</c:v>
                </c:pt>
                <c:pt idx="46">
                  <c:v>37225</c:v>
                </c:pt>
                <c:pt idx="47">
                  <c:v>37256</c:v>
                </c:pt>
                <c:pt idx="48">
                  <c:v>37287</c:v>
                </c:pt>
                <c:pt idx="49">
                  <c:v>37315</c:v>
                </c:pt>
                <c:pt idx="50">
                  <c:v>37346</c:v>
                </c:pt>
                <c:pt idx="51">
                  <c:v>37376</c:v>
                </c:pt>
                <c:pt idx="52">
                  <c:v>37407</c:v>
                </c:pt>
                <c:pt idx="53">
                  <c:v>37437</c:v>
                </c:pt>
                <c:pt idx="54">
                  <c:v>37468</c:v>
                </c:pt>
                <c:pt idx="55">
                  <c:v>37499</c:v>
                </c:pt>
                <c:pt idx="56">
                  <c:v>37529</c:v>
                </c:pt>
                <c:pt idx="57">
                  <c:v>37560</c:v>
                </c:pt>
                <c:pt idx="58">
                  <c:v>37590</c:v>
                </c:pt>
                <c:pt idx="59">
                  <c:v>37621</c:v>
                </c:pt>
                <c:pt idx="60">
                  <c:v>37652</c:v>
                </c:pt>
                <c:pt idx="61">
                  <c:v>37680</c:v>
                </c:pt>
                <c:pt idx="62">
                  <c:v>37711</c:v>
                </c:pt>
                <c:pt idx="63">
                  <c:v>37741</c:v>
                </c:pt>
                <c:pt idx="64">
                  <c:v>37772</c:v>
                </c:pt>
                <c:pt idx="65">
                  <c:v>37802</c:v>
                </c:pt>
                <c:pt idx="66">
                  <c:v>37833</c:v>
                </c:pt>
                <c:pt idx="67">
                  <c:v>37864</c:v>
                </c:pt>
                <c:pt idx="68">
                  <c:v>37894</c:v>
                </c:pt>
                <c:pt idx="69">
                  <c:v>37925</c:v>
                </c:pt>
                <c:pt idx="70">
                  <c:v>37955</c:v>
                </c:pt>
                <c:pt idx="71">
                  <c:v>37986</c:v>
                </c:pt>
                <c:pt idx="72">
                  <c:v>38017</c:v>
                </c:pt>
                <c:pt idx="73">
                  <c:v>38046</c:v>
                </c:pt>
                <c:pt idx="74">
                  <c:v>38077</c:v>
                </c:pt>
                <c:pt idx="75">
                  <c:v>38107</c:v>
                </c:pt>
                <c:pt idx="76">
                  <c:v>38138</c:v>
                </c:pt>
                <c:pt idx="77">
                  <c:v>38168</c:v>
                </c:pt>
                <c:pt idx="78">
                  <c:v>38199</c:v>
                </c:pt>
                <c:pt idx="79">
                  <c:v>38230</c:v>
                </c:pt>
                <c:pt idx="80">
                  <c:v>38260</c:v>
                </c:pt>
                <c:pt idx="81">
                  <c:v>38291</c:v>
                </c:pt>
                <c:pt idx="82">
                  <c:v>38321</c:v>
                </c:pt>
                <c:pt idx="83">
                  <c:v>38352</c:v>
                </c:pt>
                <c:pt idx="84">
                  <c:v>38383</c:v>
                </c:pt>
                <c:pt idx="85">
                  <c:v>38411</c:v>
                </c:pt>
                <c:pt idx="86">
                  <c:v>38442</c:v>
                </c:pt>
                <c:pt idx="87">
                  <c:v>38472</c:v>
                </c:pt>
                <c:pt idx="88">
                  <c:v>38503</c:v>
                </c:pt>
                <c:pt idx="89">
                  <c:v>38533</c:v>
                </c:pt>
                <c:pt idx="90">
                  <c:v>38564</c:v>
                </c:pt>
                <c:pt idx="91">
                  <c:v>38595</c:v>
                </c:pt>
                <c:pt idx="92">
                  <c:v>38625</c:v>
                </c:pt>
                <c:pt idx="93">
                  <c:v>38656</c:v>
                </c:pt>
                <c:pt idx="94">
                  <c:v>38686</c:v>
                </c:pt>
                <c:pt idx="95">
                  <c:v>38717</c:v>
                </c:pt>
                <c:pt idx="96">
                  <c:v>38748</c:v>
                </c:pt>
                <c:pt idx="97">
                  <c:v>38776</c:v>
                </c:pt>
                <c:pt idx="98">
                  <c:v>38807</c:v>
                </c:pt>
                <c:pt idx="99">
                  <c:v>38837</c:v>
                </c:pt>
                <c:pt idx="100">
                  <c:v>38868</c:v>
                </c:pt>
                <c:pt idx="101">
                  <c:v>38898</c:v>
                </c:pt>
                <c:pt idx="102">
                  <c:v>38929</c:v>
                </c:pt>
                <c:pt idx="103">
                  <c:v>38960</c:v>
                </c:pt>
                <c:pt idx="104">
                  <c:v>38990</c:v>
                </c:pt>
                <c:pt idx="105">
                  <c:v>39021</c:v>
                </c:pt>
                <c:pt idx="106">
                  <c:v>39051</c:v>
                </c:pt>
                <c:pt idx="107">
                  <c:v>39082</c:v>
                </c:pt>
                <c:pt idx="108">
                  <c:v>39113</c:v>
                </c:pt>
                <c:pt idx="109">
                  <c:v>39141</c:v>
                </c:pt>
                <c:pt idx="110">
                  <c:v>39172</c:v>
                </c:pt>
                <c:pt idx="111">
                  <c:v>39202</c:v>
                </c:pt>
                <c:pt idx="112">
                  <c:v>39233</c:v>
                </c:pt>
                <c:pt idx="113">
                  <c:v>39263</c:v>
                </c:pt>
                <c:pt idx="114">
                  <c:v>39294</c:v>
                </c:pt>
                <c:pt idx="115">
                  <c:v>39325</c:v>
                </c:pt>
                <c:pt idx="116">
                  <c:v>39355</c:v>
                </c:pt>
                <c:pt idx="117">
                  <c:v>39386</c:v>
                </c:pt>
                <c:pt idx="118">
                  <c:v>39416</c:v>
                </c:pt>
                <c:pt idx="119">
                  <c:v>39447</c:v>
                </c:pt>
                <c:pt idx="120">
                  <c:v>39478</c:v>
                </c:pt>
                <c:pt idx="121">
                  <c:v>39507</c:v>
                </c:pt>
                <c:pt idx="122">
                  <c:v>39538</c:v>
                </c:pt>
                <c:pt idx="123">
                  <c:v>39568</c:v>
                </c:pt>
                <c:pt idx="124">
                  <c:v>39599</c:v>
                </c:pt>
                <c:pt idx="125">
                  <c:v>39629</c:v>
                </c:pt>
                <c:pt idx="126">
                  <c:v>39660</c:v>
                </c:pt>
                <c:pt idx="127">
                  <c:v>39691</c:v>
                </c:pt>
                <c:pt idx="128">
                  <c:v>39721</c:v>
                </c:pt>
                <c:pt idx="129">
                  <c:v>39752</c:v>
                </c:pt>
                <c:pt idx="130">
                  <c:v>39782</c:v>
                </c:pt>
                <c:pt idx="131">
                  <c:v>39813</c:v>
                </c:pt>
                <c:pt idx="132">
                  <c:v>39844</c:v>
                </c:pt>
                <c:pt idx="133">
                  <c:v>39872</c:v>
                </c:pt>
                <c:pt idx="134">
                  <c:v>39903</c:v>
                </c:pt>
                <c:pt idx="135">
                  <c:v>39933</c:v>
                </c:pt>
                <c:pt idx="136">
                  <c:v>39964</c:v>
                </c:pt>
                <c:pt idx="137">
                  <c:v>39994</c:v>
                </c:pt>
                <c:pt idx="138">
                  <c:v>40025</c:v>
                </c:pt>
                <c:pt idx="139">
                  <c:v>40056</c:v>
                </c:pt>
                <c:pt idx="140">
                  <c:v>40086</c:v>
                </c:pt>
                <c:pt idx="141">
                  <c:v>40117</c:v>
                </c:pt>
                <c:pt idx="142">
                  <c:v>40147</c:v>
                </c:pt>
                <c:pt idx="143">
                  <c:v>40178</c:v>
                </c:pt>
                <c:pt idx="144">
                  <c:v>40209</c:v>
                </c:pt>
                <c:pt idx="145">
                  <c:v>40237</c:v>
                </c:pt>
                <c:pt idx="146">
                  <c:v>40268</c:v>
                </c:pt>
                <c:pt idx="147">
                  <c:v>40298</c:v>
                </c:pt>
                <c:pt idx="148">
                  <c:v>40329</c:v>
                </c:pt>
                <c:pt idx="149">
                  <c:v>40359</c:v>
                </c:pt>
                <c:pt idx="150">
                  <c:v>40390</c:v>
                </c:pt>
                <c:pt idx="151">
                  <c:v>40421</c:v>
                </c:pt>
                <c:pt idx="152">
                  <c:v>40451</c:v>
                </c:pt>
                <c:pt idx="153">
                  <c:v>40482</c:v>
                </c:pt>
                <c:pt idx="154">
                  <c:v>40512</c:v>
                </c:pt>
                <c:pt idx="155">
                  <c:v>40543</c:v>
                </c:pt>
                <c:pt idx="156">
                  <c:v>40574</c:v>
                </c:pt>
                <c:pt idx="157">
                  <c:v>40602</c:v>
                </c:pt>
                <c:pt idx="158">
                  <c:v>40633</c:v>
                </c:pt>
                <c:pt idx="159">
                  <c:v>40663</c:v>
                </c:pt>
                <c:pt idx="160">
                  <c:v>40694</c:v>
                </c:pt>
                <c:pt idx="161">
                  <c:v>40724</c:v>
                </c:pt>
                <c:pt idx="162">
                  <c:v>40755</c:v>
                </c:pt>
                <c:pt idx="163">
                  <c:v>40786</c:v>
                </c:pt>
                <c:pt idx="164">
                  <c:v>40816</c:v>
                </c:pt>
                <c:pt idx="165">
                  <c:v>40847</c:v>
                </c:pt>
                <c:pt idx="166">
                  <c:v>40877</c:v>
                </c:pt>
                <c:pt idx="167">
                  <c:v>40908</c:v>
                </c:pt>
                <c:pt idx="168">
                  <c:v>40939</c:v>
                </c:pt>
                <c:pt idx="169">
                  <c:v>40968</c:v>
                </c:pt>
                <c:pt idx="170">
                  <c:v>40999</c:v>
                </c:pt>
                <c:pt idx="171">
                  <c:v>41029</c:v>
                </c:pt>
                <c:pt idx="172">
                  <c:v>41060</c:v>
                </c:pt>
                <c:pt idx="173">
                  <c:v>41090</c:v>
                </c:pt>
                <c:pt idx="174">
                  <c:v>41121</c:v>
                </c:pt>
                <c:pt idx="175">
                  <c:v>41152</c:v>
                </c:pt>
                <c:pt idx="176">
                  <c:v>41182</c:v>
                </c:pt>
                <c:pt idx="177">
                  <c:v>41213</c:v>
                </c:pt>
                <c:pt idx="178">
                  <c:v>41243</c:v>
                </c:pt>
                <c:pt idx="179">
                  <c:v>41274</c:v>
                </c:pt>
                <c:pt idx="180">
                  <c:v>41305</c:v>
                </c:pt>
                <c:pt idx="181">
                  <c:v>41333</c:v>
                </c:pt>
                <c:pt idx="182">
                  <c:v>41364</c:v>
                </c:pt>
                <c:pt idx="183">
                  <c:v>41394</c:v>
                </c:pt>
                <c:pt idx="184">
                  <c:v>41425</c:v>
                </c:pt>
                <c:pt idx="185">
                  <c:v>41455</c:v>
                </c:pt>
                <c:pt idx="186">
                  <c:v>41486</c:v>
                </c:pt>
                <c:pt idx="187">
                  <c:v>41517</c:v>
                </c:pt>
                <c:pt idx="188">
                  <c:v>41547</c:v>
                </c:pt>
                <c:pt idx="189">
                  <c:v>41578</c:v>
                </c:pt>
                <c:pt idx="190">
                  <c:v>41608</c:v>
                </c:pt>
                <c:pt idx="191">
                  <c:v>41639</c:v>
                </c:pt>
                <c:pt idx="192">
                  <c:v>41670</c:v>
                </c:pt>
                <c:pt idx="193">
                  <c:v>41698</c:v>
                </c:pt>
                <c:pt idx="194">
                  <c:v>41729</c:v>
                </c:pt>
                <c:pt idx="195">
                  <c:v>41759</c:v>
                </c:pt>
                <c:pt idx="196">
                  <c:v>41790</c:v>
                </c:pt>
                <c:pt idx="197">
                  <c:v>41820</c:v>
                </c:pt>
                <c:pt idx="198">
                  <c:v>41851</c:v>
                </c:pt>
                <c:pt idx="199">
                  <c:v>41882</c:v>
                </c:pt>
                <c:pt idx="200">
                  <c:v>41912</c:v>
                </c:pt>
                <c:pt idx="201">
                  <c:v>41943</c:v>
                </c:pt>
                <c:pt idx="202">
                  <c:v>41973</c:v>
                </c:pt>
                <c:pt idx="203">
                  <c:v>42004</c:v>
                </c:pt>
                <c:pt idx="204">
                  <c:v>42035</c:v>
                </c:pt>
                <c:pt idx="205">
                  <c:v>42063</c:v>
                </c:pt>
                <c:pt idx="206">
                  <c:v>42094</c:v>
                </c:pt>
                <c:pt idx="207">
                  <c:v>42124</c:v>
                </c:pt>
                <c:pt idx="208">
                  <c:v>42155</c:v>
                </c:pt>
                <c:pt idx="209">
                  <c:v>42185</c:v>
                </c:pt>
                <c:pt idx="210">
                  <c:v>42216</c:v>
                </c:pt>
                <c:pt idx="211">
                  <c:v>42247</c:v>
                </c:pt>
                <c:pt idx="212">
                  <c:v>42277</c:v>
                </c:pt>
                <c:pt idx="213">
                  <c:v>42308</c:v>
                </c:pt>
                <c:pt idx="214">
                  <c:v>42338</c:v>
                </c:pt>
                <c:pt idx="215">
                  <c:v>42369</c:v>
                </c:pt>
                <c:pt idx="216">
                  <c:v>42400</c:v>
                </c:pt>
                <c:pt idx="217">
                  <c:v>42429</c:v>
                </c:pt>
                <c:pt idx="218">
                  <c:v>42460</c:v>
                </c:pt>
                <c:pt idx="219">
                  <c:v>42490</c:v>
                </c:pt>
                <c:pt idx="220">
                  <c:v>42521</c:v>
                </c:pt>
                <c:pt idx="221">
                  <c:v>42551</c:v>
                </c:pt>
                <c:pt idx="222">
                  <c:v>42582</c:v>
                </c:pt>
                <c:pt idx="223">
                  <c:v>42613</c:v>
                </c:pt>
                <c:pt idx="224">
                  <c:v>42643</c:v>
                </c:pt>
                <c:pt idx="225">
                  <c:v>42674</c:v>
                </c:pt>
                <c:pt idx="226">
                  <c:v>42704</c:v>
                </c:pt>
                <c:pt idx="227">
                  <c:v>42735</c:v>
                </c:pt>
                <c:pt idx="228">
                  <c:v>42766</c:v>
                </c:pt>
                <c:pt idx="229">
                  <c:v>42794</c:v>
                </c:pt>
                <c:pt idx="230">
                  <c:v>42825</c:v>
                </c:pt>
                <c:pt idx="231">
                  <c:v>42855</c:v>
                </c:pt>
                <c:pt idx="232">
                  <c:v>42886</c:v>
                </c:pt>
                <c:pt idx="233">
                  <c:v>42916</c:v>
                </c:pt>
                <c:pt idx="234">
                  <c:v>42947</c:v>
                </c:pt>
                <c:pt idx="235">
                  <c:v>42978</c:v>
                </c:pt>
                <c:pt idx="236">
                  <c:v>43008</c:v>
                </c:pt>
                <c:pt idx="237">
                  <c:v>43039</c:v>
                </c:pt>
                <c:pt idx="238">
                  <c:v>43069</c:v>
                </c:pt>
                <c:pt idx="239">
                  <c:v>43100</c:v>
                </c:pt>
                <c:pt idx="240">
                  <c:v>43131</c:v>
                </c:pt>
                <c:pt idx="241">
                  <c:v>43159</c:v>
                </c:pt>
                <c:pt idx="242">
                  <c:v>43190</c:v>
                </c:pt>
                <c:pt idx="243">
                  <c:v>43220</c:v>
                </c:pt>
                <c:pt idx="244">
                  <c:v>43251</c:v>
                </c:pt>
                <c:pt idx="245">
                  <c:v>43281</c:v>
                </c:pt>
                <c:pt idx="246">
                  <c:v>43312</c:v>
                </c:pt>
                <c:pt idx="247">
                  <c:v>43343</c:v>
                </c:pt>
                <c:pt idx="248">
                  <c:v>43373</c:v>
                </c:pt>
                <c:pt idx="249">
                  <c:v>43404</c:v>
                </c:pt>
                <c:pt idx="250">
                  <c:v>43434</c:v>
                </c:pt>
                <c:pt idx="251">
                  <c:v>43465</c:v>
                </c:pt>
                <c:pt idx="252">
                  <c:v>43496</c:v>
                </c:pt>
                <c:pt idx="253">
                  <c:v>43524</c:v>
                </c:pt>
                <c:pt idx="254">
                  <c:v>43555</c:v>
                </c:pt>
                <c:pt idx="255">
                  <c:v>43585</c:v>
                </c:pt>
                <c:pt idx="256">
                  <c:v>43616</c:v>
                </c:pt>
                <c:pt idx="257">
                  <c:v>43646</c:v>
                </c:pt>
                <c:pt idx="258">
                  <c:v>43677</c:v>
                </c:pt>
                <c:pt idx="259">
                  <c:v>43708</c:v>
                </c:pt>
                <c:pt idx="260">
                  <c:v>43738</c:v>
                </c:pt>
                <c:pt idx="261">
                  <c:v>43769</c:v>
                </c:pt>
                <c:pt idx="262">
                  <c:v>43799</c:v>
                </c:pt>
                <c:pt idx="263">
                  <c:v>43830</c:v>
                </c:pt>
                <c:pt idx="264">
                  <c:v>43861</c:v>
                </c:pt>
                <c:pt idx="265">
                  <c:v>43890</c:v>
                </c:pt>
                <c:pt idx="266">
                  <c:v>43921</c:v>
                </c:pt>
                <c:pt idx="267">
                  <c:v>43951</c:v>
                </c:pt>
                <c:pt idx="268">
                  <c:v>43982</c:v>
                </c:pt>
                <c:pt idx="269">
                  <c:v>44012</c:v>
                </c:pt>
                <c:pt idx="270">
                  <c:v>44043</c:v>
                </c:pt>
                <c:pt idx="271">
                  <c:v>44074</c:v>
                </c:pt>
                <c:pt idx="272">
                  <c:v>44104</c:v>
                </c:pt>
                <c:pt idx="273">
                  <c:v>44135</c:v>
                </c:pt>
                <c:pt idx="274">
                  <c:v>44165</c:v>
                </c:pt>
                <c:pt idx="275">
                  <c:v>44196</c:v>
                </c:pt>
                <c:pt idx="276">
                  <c:v>44227</c:v>
                </c:pt>
                <c:pt idx="277">
                  <c:v>44255</c:v>
                </c:pt>
                <c:pt idx="278">
                  <c:v>44286</c:v>
                </c:pt>
                <c:pt idx="279">
                  <c:v>44316</c:v>
                </c:pt>
                <c:pt idx="280">
                  <c:v>44347</c:v>
                </c:pt>
                <c:pt idx="281">
                  <c:v>44377</c:v>
                </c:pt>
                <c:pt idx="282">
                  <c:v>44408</c:v>
                </c:pt>
                <c:pt idx="283">
                  <c:v>44439</c:v>
                </c:pt>
                <c:pt idx="284">
                  <c:v>44469</c:v>
                </c:pt>
                <c:pt idx="285">
                  <c:v>44500</c:v>
                </c:pt>
                <c:pt idx="286">
                  <c:v>44530</c:v>
                </c:pt>
                <c:pt idx="287">
                  <c:v>44561</c:v>
                </c:pt>
                <c:pt idx="288">
                  <c:v>44592</c:v>
                </c:pt>
                <c:pt idx="289">
                  <c:v>44620</c:v>
                </c:pt>
                <c:pt idx="290">
                  <c:v>44651</c:v>
                </c:pt>
                <c:pt idx="291">
                  <c:v>44681</c:v>
                </c:pt>
                <c:pt idx="292">
                  <c:v>44712</c:v>
                </c:pt>
                <c:pt idx="293">
                  <c:v>44742</c:v>
                </c:pt>
                <c:pt idx="294">
                  <c:v>44773</c:v>
                </c:pt>
                <c:pt idx="295">
                  <c:v>44804</c:v>
                </c:pt>
                <c:pt idx="296">
                  <c:v>44834</c:v>
                </c:pt>
                <c:pt idx="297">
                  <c:v>44865</c:v>
                </c:pt>
                <c:pt idx="298">
                  <c:v>44895</c:v>
                </c:pt>
                <c:pt idx="299">
                  <c:v>44926</c:v>
                </c:pt>
                <c:pt idx="300">
                  <c:v>44957</c:v>
                </c:pt>
                <c:pt idx="301">
                  <c:v>44985</c:v>
                </c:pt>
                <c:pt idx="302">
                  <c:v>45016</c:v>
                </c:pt>
                <c:pt idx="303">
                  <c:v>45046</c:v>
                </c:pt>
                <c:pt idx="304">
                  <c:v>45077</c:v>
                </c:pt>
                <c:pt idx="305">
                  <c:v>45107</c:v>
                </c:pt>
                <c:pt idx="306">
                  <c:v>45138</c:v>
                </c:pt>
                <c:pt idx="307">
                  <c:v>45169</c:v>
                </c:pt>
                <c:pt idx="308">
                  <c:v>45199</c:v>
                </c:pt>
              </c:numCache>
            </c:numRef>
          </c:cat>
          <c:val>
            <c:numRef>
              <c:f>data!$B$2:$B$400</c:f>
              <c:numCache>
                <c:formatCode>General</c:formatCode>
                <c:ptCount val="399"/>
                <c:pt idx="0">
                  <c:v>-0.926573050504647</c:v>
                </c:pt>
                <c:pt idx="1">
                  <c:v>-0.43126526409215399</c:v>
                </c:pt>
                <c:pt idx="2">
                  <c:v>-8.2946223209555595E-2</c:v>
                </c:pt>
                <c:pt idx="3">
                  <c:v>-0.131674610794735</c:v>
                </c:pt>
                <c:pt idx="4">
                  <c:v>-0.50927076148358497</c:v>
                </c:pt>
                <c:pt idx="5">
                  <c:v>-0.77985652392696003</c:v>
                </c:pt>
                <c:pt idx="6">
                  <c:v>-0.92765653330025899</c:v>
                </c:pt>
                <c:pt idx="7">
                  <c:v>-0.93718468039193903</c:v>
                </c:pt>
                <c:pt idx="8">
                  <c:v>-0.92024496995364802</c:v>
                </c:pt>
                <c:pt idx="9">
                  <c:v>-0.72899026547514001</c:v>
                </c:pt>
                <c:pt idx="10">
                  <c:v>-0.82242573082329695</c:v>
                </c:pt>
                <c:pt idx="11">
                  <c:v>-0.61624812925449601</c:v>
                </c:pt>
                <c:pt idx="12">
                  <c:v>-0.28386038558710402</c:v>
                </c:pt>
                <c:pt idx="13">
                  <c:v>-3.0939643607096699E-2</c:v>
                </c:pt>
                <c:pt idx="14">
                  <c:v>-0.29253733109208302</c:v>
                </c:pt>
                <c:pt idx="15">
                  <c:v>-0.31417292049971302</c:v>
                </c:pt>
                <c:pt idx="16">
                  <c:v>-0.32490838165470398</c:v>
                </c:pt>
                <c:pt idx="17">
                  <c:v>-0.38303044903335898</c:v>
                </c:pt>
                <c:pt idx="18">
                  <c:v>-0.60582849414531004</c:v>
                </c:pt>
                <c:pt idx="19">
                  <c:v>-0.45138059448957701</c:v>
                </c:pt>
                <c:pt idx="20">
                  <c:v>-0.295208571441891</c:v>
                </c:pt>
                <c:pt idx="21">
                  <c:v>-9.7205351356769595E-2</c:v>
                </c:pt>
                <c:pt idx="22">
                  <c:v>-5.0595960271166203E-2</c:v>
                </c:pt>
                <c:pt idx="23">
                  <c:v>-2.01251211035657E-2</c:v>
                </c:pt>
                <c:pt idx="24">
                  <c:v>-0.47970131081051098</c:v>
                </c:pt>
                <c:pt idx="25">
                  <c:v>-0.274848901676289</c:v>
                </c:pt>
                <c:pt idx="26">
                  <c:v>-0.254136360524859</c:v>
                </c:pt>
                <c:pt idx="27">
                  <c:v>0.10223540877519199</c:v>
                </c:pt>
                <c:pt idx="28">
                  <c:v>0.19054240889121901</c:v>
                </c:pt>
                <c:pt idx="29">
                  <c:v>-0.10010734880581799</c:v>
                </c:pt>
                <c:pt idx="30">
                  <c:v>-0.12108213405078801</c:v>
                </c:pt>
                <c:pt idx="31">
                  <c:v>-7.8268342763864102E-2</c:v>
                </c:pt>
                <c:pt idx="32">
                  <c:v>-0.19086023922967699</c:v>
                </c:pt>
                <c:pt idx="33">
                  <c:v>-0.65073805456640998</c:v>
                </c:pt>
                <c:pt idx="34">
                  <c:v>-0.88631503292610803</c:v>
                </c:pt>
                <c:pt idx="35">
                  <c:v>-1.10752752134419</c:v>
                </c:pt>
                <c:pt idx="36">
                  <c:v>-1.12304167310601</c:v>
                </c:pt>
                <c:pt idx="37">
                  <c:v>-0.94488089938410702</c:v>
                </c:pt>
                <c:pt idx="38">
                  <c:v>-0.92495079769340904</c:v>
                </c:pt>
                <c:pt idx="39">
                  <c:v>-1.1423007774018401</c:v>
                </c:pt>
                <c:pt idx="40">
                  <c:v>-1.23438222625885</c:v>
                </c:pt>
                <c:pt idx="41">
                  <c:v>-0.81326043387482205</c:v>
                </c:pt>
                <c:pt idx="42">
                  <c:v>-0.78613647948509402</c:v>
                </c:pt>
                <c:pt idx="43">
                  <c:v>-0.66938075829478905</c:v>
                </c:pt>
                <c:pt idx="44">
                  <c:v>-0.60771277226212606</c:v>
                </c:pt>
                <c:pt idx="45">
                  <c:v>-1.11281547103612</c:v>
                </c:pt>
                <c:pt idx="46">
                  <c:v>-1.2042707107014501</c:v>
                </c:pt>
                <c:pt idx="47">
                  <c:v>-1.0237918895623801</c:v>
                </c:pt>
                <c:pt idx="48">
                  <c:v>-0.77248011690392604</c:v>
                </c:pt>
                <c:pt idx="49">
                  <c:v>-0.29241703770423599</c:v>
                </c:pt>
                <c:pt idx="50">
                  <c:v>-0.30690929725671701</c:v>
                </c:pt>
                <c:pt idx="51">
                  <c:v>-0.407807319232104</c:v>
                </c:pt>
                <c:pt idx="52">
                  <c:v>-0.16700817427727799</c:v>
                </c:pt>
                <c:pt idx="53">
                  <c:v>-0.43122627405480501</c:v>
                </c:pt>
                <c:pt idx="54">
                  <c:v>-0.81973278158719398</c:v>
                </c:pt>
                <c:pt idx="55">
                  <c:v>-0.94596403495694403</c:v>
                </c:pt>
                <c:pt idx="56">
                  <c:v>-0.97187512578317403</c:v>
                </c:pt>
                <c:pt idx="57">
                  <c:v>-1.1480034395297301</c:v>
                </c:pt>
                <c:pt idx="58">
                  <c:v>-0.731019057406048</c:v>
                </c:pt>
                <c:pt idx="59">
                  <c:v>-0.56053312666127098</c:v>
                </c:pt>
                <c:pt idx="60">
                  <c:v>-0.45821787864392199</c:v>
                </c:pt>
                <c:pt idx="61">
                  <c:v>-0.33181189026789099</c:v>
                </c:pt>
                <c:pt idx="62">
                  <c:v>-0.228361722069225</c:v>
                </c:pt>
                <c:pt idx="63">
                  <c:v>-0.48616011178003599</c:v>
                </c:pt>
                <c:pt idx="64">
                  <c:v>-0.202664563937871</c:v>
                </c:pt>
                <c:pt idx="65">
                  <c:v>-0.16026757584983201</c:v>
                </c:pt>
                <c:pt idx="66">
                  <c:v>-6.7538506928736503E-2</c:v>
                </c:pt>
                <c:pt idx="67">
                  <c:v>-0.135271888946802</c:v>
                </c:pt>
                <c:pt idx="68">
                  <c:v>1.42713089485689E-2</c:v>
                </c:pt>
                <c:pt idx="69">
                  <c:v>-0.212479286288624</c:v>
                </c:pt>
                <c:pt idx="70">
                  <c:v>-0.29414753363093199</c:v>
                </c:pt>
                <c:pt idx="71">
                  <c:v>-0.21391836408478301</c:v>
                </c:pt>
                <c:pt idx="72">
                  <c:v>-0.36811903241822302</c:v>
                </c:pt>
                <c:pt idx="73">
                  <c:v>-0.23813091243672199</c:v>
                </c:pt>
                <c:pt idx="74">
                  <c:v>0.12325801731760599</c:v>
                </c:pt>
                <c:pt idx="75">
                  <c:v>0.52621517271113805</c:v>
                </c:pt>
                <c:pt idx="76">
                  <c:v>0.466619178076496</c:v>
                </c:pt>
                <c:pt idx="77">
                  <c:v>0.44669829973066599</c:v>
                </c:pt>
                <c:pt idx="78">
                  <c:v>-0.351705815555102</c:v>
                </c:pt>
                <c:pt idx="79">
                  <c:v>0.186816475062177</c:v>
                </c:pt>
                <c:pt idx="80">
                  <c:v>-2.8886871463813201E-2</c:v>
                </c:pt>
                <c:pt idx="81">
                  <c:v>-0.60380059202375003</c:v>
                </c:pt>
                <c:pt idx="82">
                  <c:v>-4.3044693141875302E-4</c:v>
                </c:pt>
                <c:pt idx="83">
                  <c:v>0.14842522884861201</c:v>
                </c:pt>
                <c:pt idx="84">
                  <c:v>-0.154563099602544</c:v>
                </c:pt>
                <c:pt idx="85">
                  <c:v>-0.211373329258604</c:v>
                </c:pt>
                <c:pt idx="86">
                  <c:v>-0.28504823646401001</c:v>
                </c:pt>
                <c:pt idx="87">
                  <c:v>-1.3403963934190299</c:v>
                </c:pt>
                <c:pt idx="88">
                  <c:v>-1.07130319229924</c:v>
                </c:pt>
                <c:pt idx="89">
                  <c:v>-0.961343088650642</c:v>
                </c:pt>
                <c:pt idx="90">
                  <c:v>-0.98589683995664501</c:v>
                </c:pt>
                <c:pt idx="91">
                  <c:v>-0.65108746690133101</c:v>
                </c:pt>
                <c:pt idx="92">
                  <c:v>2.1860490389596698E-2</c:v>
                </c:pt>
                <c:pt idx="93">
                  <c:v>-6.3490762766997E-2</c:v>
                </c:pt>
                <c:pt idx="94">
                  <c:v>-0.66801497406710397</c:v>
                </c:pt>
                <c:pt idx="95">
                  <c:v>-0.67989990279956303</c:v>
                </c:pt>
                <c:pt idx="96">
                  <c:v>-0.32668528155095899</c:v>
                </c:pt>
                <c:pt idx="97">
                  <c:v>-0.63430316867251002</c:v>
                </c:pt>
                <c:pt idx="98">
                  <c:v>-0.43753868081041303</c:v>
                </c:pt>
                <c:pt idx="99">
                  <c:v>1.11981563376177E-2</c:v>
                </c:pt>
                <c:pt idx="100">
                  <c:v>7.8636524710548994E-2</c:v>
                </c:pt>
                <c:pt idx="101">
                  <c:v>7.3911817352835502E-2</c:v>
                </c:pt>
                <c:pt idx="102">
                  <c:v>-0.160881343707237</c:v>
                </c:pt>
                <c:pt idx="103">
                  <c:v>3.35033197307881E-2</c:v>
                </c:pt>
                <c:pt idx="104">
                  <c:v>-0.58831516005249296</c:v>
                </c:pt>
                <c:pt idx="105">
                  <c:v>-0.45891534007082302</c:v>
                </c:pt>
                <c:pt idx="106">
                  <c:v>-0.24402674309934599</c:v>
                </c:pt>
                <c:pt idx="107">
                  <c:v>-0.48816332016099701</c:v>
                </c:pt>
                <c:pt idx="108">
                  <c:v>-0.88266728013392604</c:v>
                </c:pt>
                <c:pt idx="109">
                  <c:v>-0.74917675589553401</c:v>
                </c:pt>
                <c:pt idx="110">
                  <c:v>-0.55301904115967104</c:v>
                </c:pt>
                <c:pt idx="111">
                  <c:v>-0.74833579630847902</c:v>
                </c:pt>
                <c:pt idx="112">
                  <c:v>-0.33409920555633699</c:v>
                </c:pt>
                <c:pt idx="113">
                  <c:v>-0.374239520744507</c:v>
                </c:pt>
                <c:pt idx="114">
                  <c:v>-0.38482313415978098</c:v>
                </c:pt>
                <c:pt idx="115">
                  <c:v>-8.2541048974827794E-2</c:v>
                </c:pt>
                <c:pt idx="116">
                  <c:v>-9.7608795044437494E-2</c:v>
                </c:pt>
                <c:pt idx="117">
                  <c:v>-0.62598032264720205</c:v>
                </c:pt>
                <c:pt idx="118">
                  <c:v>-0.47076715599296498</c:v>
                </c:pt>
                <c:pt idx="119">
                  <c:v>-0.17127571450715401</c:v>
                </c:pt>
                <c:pt idx="120">
                  <c:v>-0.33551423793856699</c:v>
                </c:pt>
                <c:pt idx="121">
                  <c:v>0.40065073933725798</c:v>
                </c:pt>
                <c:pt idx="122">
                  <c:v>0.15800473386043301</c:v>
                </c:pt>
                <c:pt idx="123">
                  <c:v>0.118071154916935</c:v>
                </c:pt>
                <c:pt idx="124">
                  <c:v>-0.122354804032402</c:v>
                </c:pt>
                <c:pt idx="125">
                  <c:v>0.218504696904292</c:v>
                </c:pt>
                <c:pt idx="126">
                  <c:v>0.946740806056387</c:v>
                </c:pt>
                <c:pt idx="127">
                  <c:v>0.208730690660102</c:v>
                </c:pt>
                <c:pt idx="128">
                  <c:v>-0.57228933818810301</c:v>
                </c:pt>
                <c:pt idx="129">
                  <c:v>-1.0232142875035299</c:v>
                </c:pt>
                <c:pt idx="130">
                  <c:v>-1.57457333089619</c:v>
                </c:pt>
                <c:pt idx="131">
                  <c:v>-0.72030299074809101</c:v>
                </c:pt>
                <c:pt idx="132">
                  <c:v>-0.45297720550909898</c:v>
                </c:pt>
                <c:pt idx="133">
                  <c:v>-0.586222697849761</c:v>
                </c:pt>
                <c:pt idx="134">
                  <c:v>3.4008893177303302E-2</c:v>
                </c:pt>
                <c:pt idx="135">
                  <c:v>0.70258387874776895</c:v>
                </c:pt>
                <c:pt idx="136">
                  <c:v>0.22040330924528301</c:v>
                </c:pt>
                <c:pt idx="137">
                  <c:v>-0.59905600046075103</c:v>
                </c:pt>
                <c:pt idx="138">
                  <c:v>-0.81385479183035803</c:v>
                </c:pt>
                <c:pt idx="139">
                  <c:v>-1.1478961329839801</c:v>
                </c:pt>
                <c:pt idx="140">
                  <c:v>-0.50143858059897795</c:v>
                </c:pt>
                <c:pt idx="141">
                  <c:v>-0.464447280875115</c:v>
                </c:pt>
                <c:pt idx="142">
                  <c:v>-0.79143758347603299</c:v>
                </c:pt>
                <c:pt idx="143">
                  <c:v>-0.63082988258223904</c:v>
                </c:pt>
                <c:pt idx="144">
                  <c:v>-0.302024890732291</c:v>
                </c:pt>
                <c:pt idx="145">
                  <c:v>-0.136428232077831</c:v>
                </c:pt>
                <c:pt idx="146">
                  <c:v>0.38817902274308302</c:v>
                </c:pt>
                <c:pt idx="147">
                  <c:v>0.294190102337481</c:v>
                </c:pt>
                <c:pt idx="148">
                  <c:v>0.40502663117000098</c:v>
                </c:pt>
                <c:pt idx="149">
                  <c:v>-4.3749700062472599E-2</c:v>
                </c:pt>
                <c:pt idx="150">
                  <c:v>3.3820873306921899E-2</c:v>
                </c:pt>
                <c:pt idx="151">
                  <c:v>0.33904468554872302</c:v>
                </c:pt>
                <c:pt idx="152">
                  <c:v>0.38200268078446498</c:v>
                </c:pt>
                <c:pt idx="153">
                  <c:v>0.67696641339096397</c:v>
                </c:pt>
                <c:pt idx="154">
                  <c:v>0.42324168615501601</c:v>
                </c:pt>
                <c:pt idx="155">
                  <c:v>0.67489307771637097</c:v>
                </c:pt>
                <c:pt idx="156">
                  <c:v>0.81304796162582105</c:v>
                </c:pt>
                <c:pt idx="157">
                  <c:v>0.36106044214404998</c:v>
                </c:pt>
                <c:pt idx="158">
                  <c:v>0.70561451196018299</c:v>
                </c:pt>
                <c:pt idx="159">
                  <c:v>1.5464008113311001</c:v>
                </c:pt>
                <c:pt idx="160">
                  <c:v>0.90835366608298396</c:v>
                </c:pt>
                <c:pt idx="161">
                  <c:v>0.182615327053783</c:v>
                </c:pt>
                <c:pt idx="162">
                  <c:v>0.27561582390337702</c:v>
                </c:pt>
                <c:pt idx="163">
                  <c:v>-9.3312348001268697E-2</c:v>
                </c:pt>
                <c:pt idx="164">
                  <c:v>-0.56728502722263496</c:v>
                </c:pt>
                <c:pt idx="165">
                  <c:v>-0.36726056200079699</c:v>
                </c:pt>
                <c:pt idx="166">
                  <c:v>0.109437697104826</c:v>
                </c:pt>
                <c:pt idx="167">
                  <c:v>-4.1236957935725002E-2</c:v>
                </c:pt>
                <c:pt idx="168">
                  <c:v>0.38926818698823001</c:v>
                </c:pt>
                <c:pt idx="169">
                  <c:v>-1.2913504053069E-2</c:v>
                </c:pt>
                <c:pt idx="170">
                  <c:v>-0.365388560755327</c:v>
                </c:pt>
                <c:pt idx="171">
                  <c:v>-0.30477685908935798</c:v>
                </c:pt>
                <c:pt idx="172">
                  <c:v>-0.670394597823458</c:v>
                </c:pt>
                <c:pt idx="173">
                  <c:v>-0.66781983125947597</c:v>
                </c:pt>
                <c:pt idx="174">
                  <c:v>-0.65374304679876805</c:v>
                </c:pt>
                <c:pt idx="175">
                  <c:v>-0.118487626862304</c:v>
                </c:pt>
                <c:pt idx="176">
                  <c:v>-0.23945975996193999</c:v>
                </c:pt>
                <c:pt idx="177">
                  <c:v>-1.87045478579919E-3</c:v>
                </c:pt>
                <c:pt idx="178">
                  <c:v>-0.33414218261197398</c:v>
                </c:pt>
                <c:pt idx="179">
                  <c:v>-0.14415018861496801</c:v>
                </c:pt>
                <c:pt idx="180">
                  <c:v>-3.7659010759309601E-2</c:v>
                </c:pt>
                <c:pt idx="181">
                  <c:v>-0.375188258938979</c:v>
                </c:pt>
                <c:pt idx="182">
                  <c:v>-0.51059122949327695</c:v>
                </c:pt>
                <c:pt idx="183">
                  <c:v>-0.70661240449338003</c:v>
                </c:pt>
                <c:pt idx="184">
                  <c:v>-0.81198428010873003</c:v>
                </c:pt>
                <c:pt idx="185">
                  <c:v>-0.62403832680409199</c:v>
                </c:pt>
                <c:pt idx="186">
                  <c:v>-0.63646464164542105</c:v>
                </c:pt>
                <c:pt idx="187">
                  <c:v>-0.52170580871275296</c:v>
                </c:pt>
                <c:pt idx="188">
                  <c:v>-0.27923301788635502</c:v>
                </c:pt>
                <c:pt idx="189">
                  <c:v>-0.15542433833474001</c:v>
                </c:pt>
                <c:pt idx="190">
                  <c:v>-0.66040638160970799</c:v>
                </c:pt>
                <c:pt idx="191">
                  <c:v>-0.49231534250144698</c:v>
                </c:pt>
                <c:pt idx="192">
                  <c:v>-0.62400341815473304</c:v>
                </c:pt>
                <c:pt idx="193">
                  <c:v>-0.28311297997798601</c:v>
                </c:pt>
                <c:pt idx="194">
                  <c:v>-0.60338350023907406</c:v>
                </c:pt>
                <c:pt idx="195">
                  <c:v>-0.80373167159774195</c:v>
                </c:pt>
                <c:pt idx="196">
                  <c:v>-0.77528543207661504</c:v>
                </c:pt>
                <c:pt idx="197">
                  <c:v>-0.64551631360496997</c:v>
                </c:pt>
                <c:pt idx="198">
                  <c:v>-0.77313152442501798</c:v>
                </c:pt>
                <c:pt idx="199">
                  <c:v>-0.59553784365363904</c:v>
                </c:pt>
                <c:pt idx="200">
                  <c:v>-0.78558149686954903</c:v>
                </c:pt>
                <c:pt idx="201">
                  <c:v>-0.55443680153177999</c:v>
                </c:pt>
                <c:pt idx="202">
                  <c:v>-0.93840069253014602</c:v>
                </c:pt>
                <c:pt idx="203">
                  <c:v>-0.363767750273501</c:v>
                </c:pt>
                <c:pt idx="204">
                  <c:v>-0.47770592584060401</c:v>
                </c:pt>
                <c:pt idx="205">
                  <c:v>-0.30621641844062197</c:v>
                </c:pt>
                <c:pt idx="206">
                  <c:v>-0.37775943310058702</c:v>
                </c:pt>
                <c:pt idx="207">
                  <c:v>-0.32038256560544298</c:v>
                </c:pt>
                <c:pt idx="208">
                  <c:v>-0.50783439729112401</c:v>
                </c:pt>
                <c:pt idx="209">
                  <c:v>-0.81993598615354402</c:v>
                </c:pt>
                <c:pt idx="210">
                  <c:v>-0.38714705320960002</c:v>
                </c:pt>
                <c:pt idx="211">
                  <c:v>-0.65778803836394895</c:v>
                </c:pt>
                <c:pt idx="212">
                  <c:v>-0.39456174591898402</c:v>
                </c:pt>
                <c:pt idx="213">
                  <c:v>-0.20726859822324301</c:v>
                </c:pt>
                <c:pt idx="214">
                  <c:v>-0.62736914256776399</c:v>
                </c:pt>
                <c:pt idx="215">
                  <c:v>-0.57008194373356302</c:v>
                </c:pt>
                <c:pt idx="216">
                  <c:v>-0.75299976948474101</c:v>
                </c:pt>
                <c:pt idx="217">
                  <c:v>-0.71389562950660201</c:v>
                </c:pt>
                <c:pt idx="218">
                  <c:v>-0.61940208233657601</c:v>
                </c:pt>
                <c:pt idx="219">
                  <c:v>-0.24605999127599901</c:v>
                </c:pt>
                <c:pt idx="220">
                  <c:v>-0.69824715753208</c:v>
                </c:pt>
                <c:pt idx="221">
                  <c:v>-0.28097929205779598</c:v>
                </c:pt>
                <c:pt idx="222">
                  <c:v>-0.170932210443629</c:v>
                </c:pt>
                <c:pt idx="223">
                  <c:v>8.4205309214896898E-2</c:v>
                </c:pt>
                <c:pt idx="224">
                  <c:v>-0.29609663653963603</c:v>
                </c:pt>
                <c:pt idx="225">
                  <c:v>-3.6852625686782998E-2</c:v>
                </c:pt>
                <c:pt idx="226">
                  <c:v>-0.31655758890313801</c:v>
                </c:pt>
                <c:pt idx="227">
                  <c:v>-0.226889405341168</c:v>
                </c:pt>
                <c:pt idx="228">
                  <c:v>0.19215768753593901</c:v>
                </c:pt>
                <c:pt idx="229">
                  <c:v>0.185599904816213</c:v>
                </c:pt>
                <c:pt idx="230">
                  <c:v>9.7398542118500603E-2</c:v>
                </c:pt>
                <c:pt idx="231">
                  <c:v>3.3744168918742198E-2</c:v>
                </c:pt>
                <c:pt idx="232">
                  <c:v>-0.111190139686637</c:v>
                </c:pt>
                <c:pt idx="233">
                  <c:v>0.10908690459336599</c:v>
                </c:pt>
                <c:pt idx="234">
                  <c:v>0.121180769232302</c:v>
                </c:pt>
                <c:pt idx="235">
                  <c:v>0.40021608709572298</c:v>
                </c:pt>
                <c:pt idx="236">
                  <c:v>0.52235030767514401</c:v>
                </c:pt>
                <c:pt idx="237">
                  <c:v>0.783716935065076</c:v>
                </c:pt>
                <c:pt idx="238">
                  <c:v>0.80648080857925797</c:v>
                </c:pt>
                <c:pt idx="239">
                  <c:v>0.67366137953155603</c:v>
                </c:pt>
                <c:pt idx="240">
                  <c:v>0.59002122266507395</c:v>
                </c:pt>
                <c:pt idx="241">
                  <c:v>7.9215178414703505E-2</c:v>
                </c:pt>
                <c:pt idx="242">
                  <c:v>0.43927441900551101</c:v>
                </c:pt>
                <c:pt idx="243">
                  <c:v>0.53295732955074704</c:v>
                </c:pt>
                <c:pt idx="244">
                  <c:v>0.36025903024494199</c:v>
                </c:pt>
                <c:pt idx="245">
                  <c:v>0.41107964367710598</c:v>
                </c:pt>
                <c:pt idx="246">
                  <c:v>0.431343253561498</c:v>
                </c:pt>
                <c:pt idx="247">
                  <c:v>0.52584841776646196</c:v>
                </c:pt>
                <c:pt idx="248">
                  <c:v>0.44197815240087801</c:v>
                </c:pt>
                <c:pt idx="249">
                  <c:v>0.509540212112925</c:v>
                </c:pt>
                <c:pt idx="250">
                  <c:v>0.43609876699371303</c:v>
                </c:pt>
                <c:pt idx="251">
                  <c:v>0.44974080512736098</c:v>
                </c:pt>
                <c:pt idx="252">
                  <c:v>0.52337500509578305</c:v>
                </c:pt>
                <c:pt idx="253">
                  <c:v>0.138700511586269</c:v>
                </c:pt>
                <c:pt idx="254">
                  <c:v>0.206926820945215</c:v>
                </c:pt>
                <c:pt idx="255">
                  <c:v>2.7955519176187601E-2</c:v>
                </c:pt>
                <c:pt idx="256">
                  <c:v>-0.63441640598291604</c:v>
                </c:pt>
                <c:pt idx="257">
                  <c:v>-0.46551895417619499</c:v>
                </c:pt>
                <c:pt idx="258">
                  <c:v>-0.439276790910404</c:v>
                </c:pt>
                <c:pt idx="259">
                  <c:v>-0.29706288158271499</c:v>
                </c:pt>
                <c:pt idx="260">
                  <c:v>0.149890969313585</c:v>
                </c:pt>
                <c:pt idx="261">
                  <c:v>8.6949830597181005E-2</c:v>
                </c:pt>
                <c:pt idx="262">
                  <c:v>0.14026448179157</c:v>
                </c:pt>
                <c:pt idx="263">
                  <c:v>3.3926557624930402E-2</c:v>
                </c:pt>
                <c:pt idx="264">
                  <c:v>8.6163053489090605E-2</c:v>
                </c:pt>
                <c:pt idx="265">
                  <c:v>1.1849612253297599</c:v>
                </c:pt>
                <c:pt idx="266">
                  <c:v>2.5474922481950499</c:v>
                </c:pt>
                <c:pt idx="267">
                  <c:v>3.1739719779478102</c:v>
                </c:pt>
                <c:pt idx="268">
                  <c:v>2.5392003256072799</c:v>
                </c:pt>
                <c:pt idx="269">
                  <c:v>2.2333558589953699</c:v>
                </c:pt>
                <c:pt idx="270">
                  <c:v>2.7364008721998898</c:v>
                </c:pt>
                <c:pt idx="271">
                  <c:v>1.34509036826795</c:v>
                </c:pt>
                <c:pt idx="272">
                  <c:v>0.602162472082027</c:v>
                </c:pt>
                <c:pt idx="273">
                  <c:v>0.107502814420361</c:v>
                </c:pt>
                <c:pt idx="274">
                  <c:v>0.72706238519229605</c:v>
                </c:pt>
                <c:pt idx="275">
                  <c:v>1.65202153414969</c:v>
                </c:pt>
                <c:pt idx="276">
                  <c:v>1.3158570866119099</c:v>
                </c:pt>
                <c:pt idx="277">
                  <c:v>1.9019031656412799</c:v>
                </c:pt>
                <c:pt idx="278">
                  <c:v>2.1920459694493601</c:v>
                </c:pt>
                <c:pt idx="279">
                  <c:v>2.6785476334022502</c:v>
                </c:pt>
                <c:pt idx="280">
                  <c:v>2.97777880372485</c:v>
                </c:pt>
                <c:pt idx="281">
                  <c:v>2.7021655319125601</c:v>
                </c:pt>
                <c:pt idx="282">
                  <c:v>2.93003276481162</c:v>
                </c:pt>
                <c:pt idx="283">
                  <c:v>3.2463957040409199</c:v>
                </c:pt>
                <c:pt idx="284">
                  <c:v>3.2838788674916199</c:v>
                </c:pt>
                <c:pt idx="285">
                  <c:v>3.8208295745835898</c:v>
                </c:pt>
                <c:pt idx="286">
                  <c:v>4.2297648753339203</c:v>
                </c:pt>
                <c:pt idx="287">
                  <c:v>4.3169710998637996</c:v>
                </c:pt>
                <c:pt idx="288">
                  <c:v>3.5891677339688499</c:v>
                </c:pt>
                <c:pt idx="289">
                  <c:v>2.7403407801770299</c:v>
                </c:pt>
                <c:pt idx="290">
                  <c:v>2.7625187788498899</c:v>
                </c:pt>
                <c:pt idx="291">
                  <c:v>3.4330455305646201</c:v>
                </c:pt>
                <c:pt idx="292">
                  <c:v>2.6483566521808299</c:v>
                </c:pt>
                <c:pt idx="293">
                  <c:v>2.3513471119415299</c:v>
                </c:pt>
                <c:pt idx="294">
                  <c:v>1.7764007299412301</c:v>
                </c:pt>
                <c:pt idx="295">
                  <c:v>1.4657517282016099</c:v>
                </c:pt>
                <c:pt idx="296">
                  <c:v>0.90648851943238695</c:v>
                </c:pt>
                <c:pt idx="297">
                  <c:v>1.0404455720044301</c:v>
                </c:pt>
                <c:pt idx="298">
                  <c:v>1.2028505952376101</c:v>
                </c:pt>
                <c:pt idx="299">
                  <c:v>1.2755403022899201</c:v>
                </c:pt>
                <c:pt idx="300">
                  <c:v>1.01380159279829</c:v>
                </c:pt>
                <c:pt idx="301">
                  <c:v>-0.28178976080211898</c:v>
                </c:pt>
                <c:pt idx="302">
                  <c:v>-1.17739622016826</c:v>
                </c:pt>
                <c:pt idx="303">
                  <c:v>-1.35292448723047</c:v>
                </c:pt>
                <c:pt idx="304">
                  <c:v>-1.56514928274529</c:v>
                </c:pt>
                <c:pt idx="305">
                  <c:v>-1.1124457380714501</c:v>
                </c:pt>
                <c:pt idx="306">
                  <c:v>-0.85965230012316596</c:v>
                </c:pt>
                <c:pt idx="307">
                  <c:v>-1.07611012685184</c:v>
                </c:pt>
                <c:pt idx="308">
                  <c:v>-0.68835129592044497</c:v>
                </c:pt>
              </c:numCache>
            </c:numRef>
          </c:val>
          <c:smooth val="0"/>
          <c:extLst>
            <c:ext xmlns:c16="http://schemas.microsoft.com/office/drawing/2014/chart" uri="{C3380CC4-5D6E-409C-BE32-E72D297353CC}">
              <c16:uniqueId val="{00000000-6268-4BB5-A004-0702D93E4B91}"/>
            </c:ext>
          </c:extLst>
        </c:ser>
        <c:dLbls>
          <c:showLegendKey val="0"/>
          <c:showVal val="0"/>
          <c:showCatName val="0"/>
          <c:showSerName val="0"/>
          <c:showPercent val="0"/>
          <c:showBubbleSize val="0"/>
        </c:dLbls>
        <c:smooth val="0"/>
        <c:axId val="297053520"/>
        <c:axId val="297032304"/>
      </c:lineChart>
      <c:dateAx>
        <c:axId val="297053520"/>
        <c:scaling>
          <c:orientation val="minMax"/>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97032304"/>
        <c:crosses val="autoZero"/>
        <c:auto val="1"/>
        <c:lblOffset val="100"/>
        <c:baseTimeUnit val="months"/>
        <c:majorUnit val="24"/>
        <c:majorTimeUnit val="months"/>
        <c:minorUnit val="24"/>
        <c:minorTimeUnit val="months"/>
      </c:dateAx>
      <c:valAx>
        <c:axId val="2970323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970535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pPr>
      <a:endParaRPr lang="en-US"/>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33781714057401E-2"/>
          <c:y val="2.9655967082833429E-2"/>
          <c:w val="0.88705862830578763"/>
          <c:h val="0.86522170652987718"/>
        </c:manualLayout>
      </c:layout>
      <c:lineChart>
        <c:grouping val="standard"/>
        <c:varyColors val="0"/>
        <c:ser>
          <c:idx val="1"/>
          <c:order val="0"/>
          <c:tx>
            <c:strRef>
              <c:f>Sheet2!$C$1</c:f>
              <c:strCache>
                <c:ptCount val="1"/>
                <c:pt idx="0">
                  <c:v>China</c:v>
                </c:pt>
              </c:strCache>
            </c:strRef>
          </c:tx>
          <c:spPr>
            <a:ln w="28575" cap="rnd">
              <a:solidFill>
                <a:schemeClr val="accent2"/>
              </a:solidFill>
              <a:round/>
            </a:ln>
            <a:effectLst/>
          </c:spPr>
          <c:marker>
            <c:symbol val="circle"/>
            <c:size val="7"/>
            <c:spPr>
              <a:solidFill>
                <a:schemeClr val="bg1"/>
              </a:solidFill>
              <a:ln w="9525">
                <a:solidFill>
                  <a:schemeClr val="accent2"/>
                </a:solidFill>
              </a:ln>
              <a:effectLst/>
            </c:spPr>
          </c:marker>
          <c:cat>
            <c:numRef>
              <c:f>Sheet2!$A$2:$A$26</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cat>
          <c:val>
            <c:numRef>
              <c:f>Sheet2!$C$2:$C$26</c:f>
              <c:numCache>
                <c:formatCode>General</c:formatCode>
                <c:ptCount val="25"/>
                <c:pt idx="0">
                  <c:v>8.4719999999999995</c:v>
                </c:pt>
                <c:pt idx="1">
                  <c:v>8.3190000000000008</c:v>
                </c:pt>
                <c:pt idx="2">
                  <c:v>9.1150000000000002</c:v>
                </c:pt>
                <c:pt idx="3">
                  <c:v>10.021000000000001</c:v>
                </c:pt>
                <c:pt idx="4">
                  <c:v>10.114000000000001</c:v>
                </c:pt>
                <c:pt idx="5">
                  <c:v>11.388999999999999</c:v>
                </c:pt>
                <c:pt idx="6">
                  <c:v>12.71</c:v>
                </c:pt>
                <c:pt idx="7">
                  <c:v>14.247</c:v>
                </c:pt>
                <c:pt idx="8">
                  <c:v>9.5920000000000005</c:v>
                </c:pt>
                <c:pt idx="9">
                  <c:v>9.4459999999999997</c:v>
                </c:pt>
                <c:pt idx="10">
                  <c:v>10.611000000000001</c:v>
                </c:pt>
                <c:pt idx="11">
                  <c:v>9.5510000000000002</c:v>
                </c:pt>
                <c:pt idx="12">
                  <c:v>7.8479999999999999</c:v>
                </c:pt>
                <c:pt idx="13">
                  <c:v>7.7709999999999999</c:v>
                </c:pt>
                <c:pt idx="14">
                  <c:v>7.391</c:v>
                </c:pt>
                <c:pt idx="15">
                  <c:v>7.0179999999999998</c:v>
                </c:pt>
                <c:pt idx="16">
                  <c:v>6.851</c:v>
                </c:pt>
                <c:pt idx="17">
                  <c:v>6.9470000000000001</c:v>
                </c:pt>
                <c:pt idx="18">
                  <c:v>6.7510000000000003</c:v>
                </c:pt>
                <c:pt idx="19">
                  <c:v>5.9509999999999996</c:v>
                </c:pt>
                <c:pt idx="20">
                  <c:v>2.2440000000000002</c:v>
                </c:pt>
                <c:pt idx="21">
                  <c:v>8.08</c:v>
                </c:pt>
                <c:pt idx="22">
                  <c:v>3.2050000000000001</c:v>
                </c:pt>
                <c:pt idx="23">
                  <c:v>4.4409999999999998</c:v>
                </c:pt>
                <c:pt idx="24">
                  <c:v>4.4980000000000002</c:v>
                </c:pt>
              </c:numCache>
            </c:numRef>
          </c:val>
          <c:smooth val="0"/>
          <c:extLst>
            <c:ext xmlns:c16="http://schemas.microsoft.com/office/drawing/2014/chart" uri="{C3380CC4-5D6E-409C-BE32-E72D297353CC}">
              <c16:uniqueId val="{00000000-7317-4B8D-A936-F3DE359D27BF}"/>
            </c:ext>
          </c:extLst>
        </c:ser>
        <c:dLbls>
          <c:showLegendKey val="0"/>
          <c:showVal val="0"/>
          <c:showCatName val="0"/>
          <c:showSerName val="0"/>
          <c:showPercent val="0"/>
          <c:showBubbleSize val="0"/>
        </c:dLbls>
        <c:marker val="1"/>
        <c:smooth val="0"/>
        <c:axId val="198255488"/>
        <c:axId val="198255904"/>
      </c:lineChart>
      <c:catAx>
        <c:axId val="198255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8255904"/>
        <c:crosses val="autoZero"/>
        <c:auto val="1"/>
        <c:lblAlgn val="ctr"/>
        <c:lblOffset val="100"/>
        <c:tickLblSkip val="2"/>
        <c:noMultiLvlLbl val="0"/>
      </c:catAx>
      <c:valAx>
        <c:axId val="1982559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8255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1613</cdr:x>
      <cdr:y>0.19634</cdr:y>
    </cdr:from>
    <cdr:to>
      <cdr:x>0.23825</cdr:x>
      <cdr:y>0.47643</cdr:y>
    </cdr:to>
    <cdr:sp macro="" textlink="">
      <cdr:nvSpPr>
        <cdr:cNvPr id="2" name="Right Bracket 1">
          <a:extLst xmlns:a="http://schemas.openxmlformats.org/drawingml/2006/main">
            <a:ext uri="{FF2B5EF4-FFF2-40B4-BE49-F238E27FC236}">
              <a16:creationId xmlns:a16="http://schemas.microsoft.com/office/drawing/2014/main" id="{59955C2A-46F0-AFE5-B133-48A3EE2708C6}"/>
            </a:ext>
          </a:extLst>
        </cdr:cNvPr>
        <cdr:cNvSpPr/>
      </cdr:nvSpPr>
      <cdr:spPr>
        <a:xfrm xmlns:a="http://schemas.openxmlformats.org/drawingml/2006/main">
          <a:off x="1032525" y="837435"/>
          <a:ext cx="105685" cy="1194693"/>
        </a:xfrm>
        <a:prstGeom xmlns:a="http://schemas.openxmlformats.org/drawingml/2006/main" prst="rightBracket">
          <a:avLst/>
        </a:prstGeom>
        <a:ln xmlns:a="http://schemas.openxmlformats.org/drawingml/2006/main" w="9525">
          <a:solidFill>
            <a:schemeClr val="tx1"/>
          </a:solidFill>
          <a:headEnd type="none" w="med" len="med"/>
          <a:tailEnd type="non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lIns="73152" tIns="73152" rIns="73152" bIns="73152"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43643</cdr:x>
      <cdr:y>0.16321</cdr:y>
    </cdr:from>
    <cdr:to>
      <cdr:x>0.46139</cdr:x>
      <cdr:y>0.51953</cdr:y>
    </cdr:to>
    <cdr:sp macro="" textlink="">
      <cdr:nvSpPr>
        <cdr:cNvPr id="3" name="Right Bracket 2">
          <a:extLst xmlns:a="http://schemas.openxmlformats.org/drawingml/2006/main">
            <a:ext uri="{FF2B5EF4-FFF2-40B4-BE49-F238E27FC236}">
              <a16:creationId xmlns:a16="http://schemas.microsoft.com/office/drawing/2014/main" id="{AEFC1BF5-CAA6-5772-5607-A085DEB178A7}"/>
            </a:ext>
          </a:extLst>
        </cdr:cNvPr>
        <cdr:cNvSpPr/>
      </cdr:nvSpPr>
      <cdr:spPr>
        <a:xfrm xmlns:a="http://schemas.openxmlformats.org/drawingml/2006/main">
          <a:off x="2085030" y="696139"/>
          <a:ext cx="119214" cy="1519788"/>
        </a:xfrm>
        <a:prstGeom xmlns:a="http://schemas.openxmlformats.org/drawingml/2006/main" prst="rightBracket">
          <a:avLst/>
        </a:prstGeom>
        <a:ln xmlns:a="http://schemas.openxmlformats.org/drawingml/2006/main" w="9525">
          <a:solidFill>
            <a:schemeClr val="tx1"/>
          </a:solidFill>
          <a:headEnd type="none" w="med" len="med"/>
          <a:tailEnd type="non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lIns="73152" tIns="73152" rIns="73152" bIns="73152" rtlCol="0" anchor="ct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66433</cdr:x>
      <cdr:y>0.42424</cdr:y>
    </cdr:from>
    <cdr:to>
      <cdr:x>0.68362</cdr:x>
      <cdr:y>0.60415</cdr:y>
    </cdr:to>
    <cdr:sp macro="" textlink="">
      <cdr:nvSpPr>
        <cdr:cNvPr id="4" name="Right Bracket 3">
          <a:extLst xmlns:a="http://schemas.openxmlformats.org/drawingml/2006/main">
            <a:ext uri="{FF2B5EF4-FFF2-40B4-BE49-F238E27FC236}">
              <a16:creationId xmlns:a16="http://schemas.microsoft.com/office/drawing/2014/main" id="{371465C5-8886-DE7D-D45B-ED541FA6BFCE}"/>
            </a:ext>
          </a:extLst>
        </cdr:cNvPr>
        <cdr:cNvSpPr/>
      </cdr:nvSpPr>
      <cdr:spPr>
        <a:xfrm xmlns:a="http://schemas.openxmlformats.org/drawingml/2006/main">
          <a:off x="3173784" y="1809509"/>
          <a:ext cx="92153" cy="767362"/>
        </a:xfrm>
        <a:prstGeom xmlns:a="http://schemas.openxmlformats.org/drawingml/2006/main" prst="rightBracket">
          <a:avLst/>
        </a:prstGeom>
        <a:ln xmlns:a="http://schemas.openxmlformats.org/drawingml/2006/main" w="9525">
          <a:solidFill>
            <a:schemeClr val="tx1"/>
          </a:solidFill>
          <a:headEnd type="none" w="med" len="med"/>
          <a:tailEnd type="non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lIns="73152" tIns="73152" rIns="73152" bIns="73152" rtlCol="0" anchor="ct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12668</cdr:x>
      <cdr:y>0.09756</cdr:y>
    </cdr:from>
    <cdr:to>
      <cdr:x>0.20458</cdr:x>
      <cdr:y>0.17936</cdr:y>
    </cdr:to>
    <cdr:sp macro="" textlink="">
      <cdr:nvSpPr>
        <cdr:cNvPr id="6" name="Oval 5">
          <a:extLst xmlns:a="http://schemas.openxmlformats.org/drawingml/2006/main">
            <a:ext uri="{FF2B5EF4-FFF2-40B4-BE49-F238E27FC236}">
              <a16:creationId xmlns:a16="http://schemas.microsoft.com/office/drawing/2014/main" id="{DC6E6302-5BF0-7C53-0C9B-E39B21D0E671}"/>
            </a:ext>
          </a:extLst>
        </cdr:cNvPr>
        <cdr:cNvSpPr/>
      </cdr:nvSpPr>
      <cdr:spPr>
        <a:xfrm xmlns:a="http://schemas.openxmlformats.org/drawingml/2006/main">
          <a:off x="605192" y="416100"/>
          <a:ext cx="372193" cy="348930"/>
        </a:xfrm>
        <a:prstGeom xmlns:a="http://schemas.openxmlformats.org/drawingml/2006/main" prst="ellipse">
          <a:avLst/>
        </a:prstGeom>
        <a:solidFill xmlns:a="http://schemas.openxmlformats.org/drawingml/2006/main">
          <a:srgbClr val="FFBE00"/>
        </a:solidFill>
        <a:ln xmlns:a="http://schemas.openxmlformats.org/drawingml/2006/main" w="9525">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36000" tIns="36000" rIns="36000" bIns="36000" rtlCol="0" anchor="ctr"/>
        <a:lstStyle xmlns:a="http://schemas.openxmlformats.org/drawingml/2006/main"/>
        <a:p xmlns:a="http://schemas.openxmlformats.org/drawingml/2006/main">
          <a:pPr algn="ctr"/>
          <a:r>
            <a:rPr lang="en-US" sz="1200" b="1" dirty="0">
              <a:solidFill>
                <a:schemeClr val="tx1"/>
              </a:solidFill>
              <a:latin typeface="+mj-lt"/>
            </a:rPr>
            <a:t>+4</a:t>
          </a:r>
        </a:p>
      </cdr:txBody>
    </cdr:sp>
  </cdr:relSizeAnchor>
  <cdr:relSizeAnchor xmlns:cdr="http://schemas.openxmlformats.org/drawingml/2006/chartDrawing">
    <cdr:from>
      <cdr:x>0.34034</cdr:x>
      <cdr:y>0.06012</cdr:y>
    </cdr:from>
    <cdr:to>
      <cdr:x>0.41825</cdr:x>
      <cdr:y>0.14193</cdr:y>
    </cdr:to>
    <cdr:sp macro="" textlink="">
      <cdr:nvSpPr>
        <cdr:cNvPr id="10" name="Oval 9">
          <a:extLst xmlns:a="http://schemas.openxmlformats.org/drawingml/2006/main">
            <a:ext uri="{FF2B5EF4-FFF2-40B4-BE49-F238E27FC236}">
              <a16:creationId xmlns:a16="http://schemas.microsoft.com/office/drawing/2014/main" id="{80120ED2-D619-CA9E-9537-6E7AA14E583F}"/>
            </a:ext>
          </a:extLst>
        </cdr:cNvPr>
        <cdr:cNvSpPr/>
      </cdr:nvSpPr>
      <cdr:spPr>
        <a:xfrm xmlns:a="http://schemas.openxmlformats.org/drawingml/2006/main">
          <a:off x="1625948" y="256443"/>
          <a:ext cx="372193" cy="348930"/>
        </a:xfrm>
        <a:prstGeom xmlns:a="http://schemas.openxmlformats.org/drawingml/2006/main" prst="ellipse">
          <a:avLst/>
        </a:prstGeom>
        <a:solidFill xmlns:a="http://schemas.openxmlformats.org/drawingml/2006/main">
          <a:srgbClr val="FFBE00"/>
        </a:solidFill>
        <a:ln xmlns:a="http://schemas.openxmlformats.org/drawingml/2006/main" w="9525">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36000" tIns="36000" rIns="36000" bIns="36000"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1200" b="1" dirty="0">
              <a:solidFill>
                <a:schemeClr val="tx1"/>
              </a:solidFill>
              <a:latin typeface="+mj-lt"/>
            </a:rPr>
            <a:t>+6</a:t>
          </a:r>
        </a:p>
      </cdr:txBody>
    </cdr:sp>
  </cdr:relSizeAnchor>
  <cdr:relSizeAnchor xmlns:cdr="http://schemas.openxmlformats.org/drawingml/2006/chartDrawing">
    <cdr:from>
      <cdr:x>0.56622</cdr:x>
      <cdr:y>0.33161</cdr:y>
    </cdr:from>
    <cdr:to>
      <cdr:x>0.64413</cdr:x>
      <cdr:y>0.41342</cdr:y>
    </cdr:to>
    <cdr:sp macro="" textlink="">
      <cdr:nvSpPr>
        <cdr:cNvPr id="11" name="Oval 10">
          <a:extLst xmlns:a="http://schemas.openxmlformats.org/drawingml/2006/main">
            <a:ext uri="{FF2B5EF4-FFF2-40B4-BE49-F238E27FC236}">
              <a16:creationId xmlns:a16="http://schemas.microsoft.com/office/drawing/2014/main" id="{ACA1AAF3-58B8-4269-06F4-2B3ADAC9347C}"/>
            </a:ext>
          </a:extLst>
        </cdr:cNvPr>
        <cdr:cNvSpPr/>
      </cdr:nvSpPr>
      <cdr:spPr>
        <a:xfrm xmlns:a="http://schemas.openxmlformats.org/drawingml/2006/main">
          <a:off x="2705079" y="1414415"/>
          <a:ext cx="372193" cy="348930"/>
        </a:xfrm>
        <a:prstGeom xmlns:a="http://schemas.openxmlformats.org/drawingml/2006/main" prst="ellipse">
          <a:avLst/>
        </a:prstGeom>
        <a:solidFill xmlns:a="http://schemas.openxmlformats.org/drawingml/2006/main">
          <a:srgbClr val="FFBE00"/>
        </a:solidFill>
        <a:ln xmlns:a="http://schemas.openxmlformats.org/drawingml/2006/main" w="9525">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36000" tIns="36000" rIns="36000" bIns="36000"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1200" b="1" dirty="0">
              <a:solidFill>
                <a:schemeClr val="tx1"/>
              </a:solidFill>
              <a:latin typeface="+mj-lt"/>
            </a:rPr>
            <a:t>+3</a:t>
          </a:r>
        </a:p>
      </cdr:txBody>
    </cdr:sp>
  </cdr:relSizeAnchor>
  <cdr:relSizeAnchor xmlns:cdr="http://schemas.openxmlformats.org/drawingml/2006/chartDrawing">
    <cdr:from>
      <cdr:x>0.88464</cdr:x>
      <cdr:y>0.53657</cdr:y>
    </cdr:from>
    <cdr:to>
      <cdr:x>0.89977</cdr:x>
      <cdr:y>0.58564</cdr:y>
    </cdr:to>
    <cdr:sp macro="" textlink="">
      <cdr:nvSpPr>
        <cdr:cNvPr id="14" name="Right Bracket 13">
          <a:extLst xmlns:a="http://schemas.openxmlformats.org/drawingml/2006/main">
            <a:ext uri="{FF2B5EF4-FFF2-40B4-BE49-F238E27FC236}">
              <a16:creationId xmlns:a16="http://schemas.microsoft.com/office/drawing/2014/main" id="{8B28CD19-1398-0D43-FB77-BBD76CB5020B}"/>
            </a:ext>
          </a:extLst>
        </cdr:cNvPr>
        <cdr:cNvSpPr/>
      </cdr:nvSpPr>
      <cdr:spPr>
        <a:xfrm xmlns:a="http://schemas.openxmlformats.org/drawingml/2006/main">
          <a:off x="4226290" y="2288634"/>
          <a:ext cx="72310" cy="209309"/>
        </a:xfrm>
        <a:prstGeom xmlns:a="http://schemas.openxmlformats.org/drawingml/2006/main" prst="rightBracket">
          <a:avLst/>
        </a:prstGeom>
        <a:ln xmlns:a="http://schemas.openxmlformats.org/drawingml/2006/main" w="9525">
          <a:solidFill>
            <a:schemeClr val="tx1"/>
          </a:solidFill>
          <a:headEnd type="none" w="med" len="med"/>
          <a:tailEnd type="non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lIns="73152" tIns="73152" rIns="73152" bIns="73152" rtlCol="0" anchor="ct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78359</cdr:x>
      <cdr:y>0.44473</cdr:y>
    </cdr:from>
    <cdr:to>
      <cdr:x>0.8615</cdr:x>
      <cdr:y>0.52653</cdr:y>
    </cdr:to>
    <cdr:sp macro="" textlink="">
      <cdr:nvSpPr>
        <cdr:cNvPr id="13" name="Oval 12">
          <a:extLst xmlns:a="http://schemas.openxmlformats.org/drawingml/2006/main">
            <a:ext uri="{FF2B5EF4-FFF2-40B4-BE49-F238E27FC236}">
              <a16:creationId xmlns:a16="http://schemas.microsoft.com/office/drawing/2014/main" id="{740C2EC7-8E4C-8093-1CF5-644E2A242924}"/>
            </a:ext>
          </a:extLst>
        </cdr:cNvPr>
        <cdr:cNvSpPr/>
      </cdr:nvSpPr>
      <cdr:spPr>
        <a:xfrm xmlns:a="http://schemas.openxmlformats.org/drawingml/2006/main">
          <a:off x="3743560" y="1896887"/>
          <a:ext cx="372193" cy="348930"/>
        </a:xfrm>
        <a:prstGeom xmlns:a="http://schemas.openxmlformats.org/drawingml/2006/main" prst="ellipse">
          <a:avLst/>
        </a:prstGeom>
        <a:solidFill xmlns:a="http://schemas.openxmlformats.org/drawingml/2006/main">
          <a:srgbClr val="FFBE00"/>
        </a:solidFill>
        <a:ln xmlns:a="http://schemas.openxmlformats.org/drawingml/2006/main" w="9525">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36000" tIns="36000" rIns="36000" bIns="36000"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1200" b="1" dirty="0">
              <a:solidFill>
                <a:schemeClr val="tx1"/>
              </a:solidFill>
              <a:latin typeface="+mj-lt"/>
            </a:rPr>
            <a:t>+1</a:t>
          </a:r>
        </a:p>
      </cdr:txBody>
    </cdr:sp>
  </cdr:relSizeAnchor>
</c:userShapes>
</file>

<file path=ppt/drawings/drawing2.xml><?xml version="1.0" encoding="utf-8"?>
<c:userShapes xmlns:c="http://schemas.openxmlformats.org/drawingml/2006/chart">
  <cdr:relSizeAnchor xmlns:cdr="http://schemas.openxmlformats.org/drawingml/2006/chartDrawing">
    <cdr:from>
      <cdr:x>0.61188</cdr:x>
      <cdr:y>0.43824</cdr:y>
    </cdr:from>
    <cdr:to>
      <cdr:x>0.99181</cdr:x>
      <cdr:y>0.43824</cdr:y>
    </cdr:to>
    <cdr:cxnSp macro="">
      <cdr:nvCxnSpPr>
        <cdr:cNvPr id="3" name="Straight Connector 2">
          <a:extLst xmlns:a="http://schemas.openxmlformats.org/drawingml/2006/main">
            <a:ext uri="{FF2B5EF4-FFF2-40B4-BE49-F238E27FC236}">
              <a16:creationId xmlns:a16="http://schemas.microsoft.com/office/drawing/2014/main" id="{3842E8EA-BBF5-90FB-A559-32920D704AB1}"/>
            </a:ext>
          </a:extLst>
        </cdr:cNvPr>
        <cdr:cNvCxnSpPr/>
      </cdr:nvCxnSpPr>
      <cdr:spPr>
        <a:xfrm xmlns:a="http://schemas.openxmlformats.org/drawingml/2006/main">
          <a:off x="4457148" y="1747378"/>
          <a:ext cx="2767600" cy="0"/>
        </a:xfrm>
        <a:prstGeom xmlns:a="http://schemas.openxmlformats.org/drawingml/2006/main" prst="line">
          <a:avLst/>
        </a:prstGeom>
        <a:ln xmlns:a="http://schemas.openxmlformats.org/drawingml/2006/main" w="28575">
          <a:solidFill>
            <a:srgbClr val="FFBE00"/>
          </a:solidFill>
          <a:headEnd type="none" w="med" len="med"/>
          <a:tailEnd type="non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3985</cdr:x>
      <cdr:y>0.34975</cdr:y>
    </cdr:from>
    <cdr:to>
      <cdr:x>0.82337</cdr:x>
      <cdr:y>0.40378</cdr:y>
    </cdr:to>
    <cdr:sp macro="" textlink="">
      <cdr:nvSpPr>
        <cdr:cNvPr id="4" name="TextBox 3">
          <a:extLst xmlns:a="http://schemas.openxmlformats.org/drawingml/2006/main">
            <a:ext uri="{FF2B5EF4-FFF2-40B4-BE49-F238E27FC236}">
              <a16:creationId xmlns:a16="http://schemas.microsoft.com/office/drawing/2014/main" id="{D688D612-C941-35C3-A9DC-6B4D0E76A130}"/>
            </a:ext>
          </a:extLst>
        </cdr:cNvPr>
        <cdr:cNvSpPr txBox="1"/>
      </cdr:nvSpPr>
      <cdr:spPr>
        <a:xfrm xmlns:a="http://schemas.openxmlformats.org/drawingml/2006/main">
          <a:off x="4660900" y="1394539"/>
          <a:ext cx="1336813" cy="215444"/>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en-GB" sz="1400" kern="0" dirty="0"/>
            <a:t>Pandemic averag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GB" smtClean="0"/>
              <a:t>06/12/2023</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GB" smtClean="0"/>
              <a:t>‹#›</a:t>
            </a:fld>
            <a:endParaRPr lang="en-GB"/>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GB" smtClean="0"/>
              <a:t>06/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GB" smtClean="0"/>
              <a:t>‹#›</a:t>
            </a:fld>
            <a:endParaRPr lang="en-GB"/>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hbs.edu/ris/Publication%20Files/Tom_McKinsey_Quarterly_8421a1a0-0104-4cf1-843d-fc32fa51dd0a.pdf"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www.oecd.org/finance/financial-markets/Artificial-intelligence-machine-learning-big-data-in-finance.pdf" TargetMode="External"/><Relationship Id="rId5" Type="http://schemas.openxmlformats.org/officeDocument/2006/relationships/hyperlink" Target="https://linc.cnil.fr/lutilisation-de-lia-dans-la-gestion-de-la-crise-sanitaire" TargetMode="External"/><Relationship Id="rId4" Type="http://schemas.openxmlformats.org/officeDocument/2006/relationships/hyperlink" Target="https://www.mckinsey.com/~/media/McKinsey/Featured%20Insights/Artificial%20Intelligence/Notes%20from%20the%20frontier%20Modeling%20the%20impact%20of%20AI%20on%20the%20world%20economy/MGI-Notes-from-the-AI-frontier-Modeling-the-impact-of-AI-on-the-world-economy-September-2018.ashx?fbclid=IwAR247ocRpErx-HmMLb9O-7OdP2OAO4kF-Ve17AdLCwakZyfDeQoSktdDB3E"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a:t>
            </a:fld>
            <a:endParaRPr lang="en-GB"/>
          </a:p>
        </p:txBody>
      </p:sp>
    </p:spTree>
    <p:extLst>
      <p:ext uri="{BB962C8B-B14F-4D97-AF65-F5344CB8AC3E}">
        <p14:creationId xmlns:p14="http://schemas.microsoft.com/office/powerpoint/2010/main" val="27219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Source(s):</a:t>
            </a:r>
            <a:endParaRPr lang="en-GB">
              <a:solidFill>
                <a:schemeClr val="accent1"/>
              </a:solidFill>
            </a:endParaRPr>
          </a:p>
          <a:p>
            <a:pPr marL="174982" indent="-174982">
              <a:buFont typeface="Arial" panose="020B0604020202020204" pitchFamily="34" charset="0"/>
              <a:buChar char="•"/>
            </a:pPr>
            <a:r>
              <a:rPr lang="en-GB" b="1"/>
              <a:t>Historical timelines are from Wikipedia:</a:t>
            </a:r>
          </a:p>
          <a:p>
            <a:pPr marL="641600" lvl="1" indent="-174982" defTabSz="933237">
              <a:buFont typeface="Arial" panose="020B0604020202020204" pitchFamily="34" charset="0"/>
              <a:buChar char="•"/>
              <a:defRPr/>
            </a:pPr>
            <a:r>
              <a:rPr lang="en-GB" kern="0"/>
              <a:t>https://en.wikipedia.org/wiki/Contemporary_history </a:t>
            </a:r>
          </a:p>
          <a:p>
            <a:pPr marL="641600" lvl="1" indent="-174982" defTabSz="933237">
              <a:buFont typeface="Arial" panose="020B0604020202020204" pitchFamily="34" charset="0"/>
              <a:buChar char="•"/>
              <a:defRPr/>
            </a:pPr>
            <a:endParaRPr lang="en-GB" kern="0"/>
          </a:p>
          <a:p>
            <a:pPr marL="174982" indent="-174982" defTabSz="933237">
              <a:buFont typeface="Arial" panose="020B0604020202020204" pitchFamily="34" charset="0"/>
              <a:buChar char="•"/>
              <a:defRPr/>
            </a:pPr>
            <a:r>
              <a:rPr lang="en-GB" b="1" kern="0">
                <a:solidFill>
                  <a:schemeClr val="accent1"/>
                </a:solidFill>
              </a:rPr>
              <a:t>1 crisis / year</a:t>
            </a:r>
            <a:r>
              <a:rPr lang="en-GB" b="1"/>
              <a:t>:</a:t>
            </a:r>
          </a:p>
          <a:p>
            <a:pPr marL="641600" lvl="1" indent="-174982" defTabSz="933237">
              <a:buFont typeface="Arial" panose="020B0604020202020204" pitchFamily="34" charset="0"/>
              <a:buChar char="•"/>
              <a:defRPr/>
            </a:pPr>
            <a:r>
              <a:rPr lang="en-GB" b="1" kern="0"/>
              <a:t>PwC</a:t>
            </a:r>
            <a:r>
              <a:rPr lang="en-GB" kern="0"/>
              <a:t>, Global Crisis Survey, 2019, https://www.pwc.com/gx/en/news-room/press-releases/2019/global-crisis-survey.html</a:t>
            </a:r>
          </a:p>
          <a:p>
            <a:pPr marL="174982" indent="-174982">
              <a:buFont typeface="Arial" panose="020B0604020202020204" pitchFamily="34" charset="0"/>
              <a:buChar char="•"/>
            </a:pPr>
            <a:endParaRPr lang="en-GB" b="1"/>
          </a:p>
          <a:p>
            <a:pPr marL="174982" indent="-174982">
              <a:buFont typeface="Arial" panose="020B0604020202020204" pitchFamily="34" charset="0"/>
              <a:buChar char="•"/>
            </a:pPr>
            <a:r>
              <a:rPr lang="en-GB" b="1"/>
              <a:t>Chart data and definition:</a:t>
            </a:r>
          </a:p>
          <a:p>
            <a:pPr marL="641600" lvl="1" indent="-174982" defTabSz="933237">
              <a:buFont typeface="Arial" panose="020B0604020202020204" pitchFamily="34" charset="0"/>
              <a:buChar char="•"/>
              <a:defRPr/>
            </a:pPr>
            <a:r>
              <a:rPr lang="en-GB" kern="0"/>
              <a:t>World Uncertainty Index,</a:t>
            </a:r>
            <a:r>
              <a:rPr lang="en-GB" b="1" kern="0"/>
              <a:t> IMF, </a:t>
            </a:r>
            <a:r>
              <a:rPr lang="en-GB" kern="0"/>
              <a:t>continuously updated,</a:t>
            </a:r>
            <a:r>
              <a:rPr lang="en-GB" b="1" kern="0"/>
              <a:t> </a:t>
            </a:r>
            <a:r>
              <a:rPr lang="en-GB"/>
              <a:t>https://worlduncertaintyindex.com/, see Analysis / Folder 19.</a:t>
            </a:r>
          </a:p>
          <a:p>
            <a:pPr marL="641600" lvl="1" indent="-174982">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0</a:t>
            </a:fld>
            <a:endParaRPr lang="en-GB"/>
          </a:p>
        </p:txBody>
      </p:sp>
    </p:spTree>
    <p:extLst>
      <p:ext uri="{BB962C8B-B14F-4D97-AF65-F5344CB8AC3E}">
        <p14:creationId xmlns:p14="http://schemas.microsoft.com/office/powerpoint/2010/main" val="41496865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Note(s):</a:t>
            </a:r>
          </a:p>
          <a:p>
            <a:r>
              <a:rPr lang="en-GB"/>
              <a:t>Those 32 crises are those given in the WEF Risk Report 2023, made in partnership with MMC</a:t>
            </a:r>
          </a:p>
          <a:p>
            <a:endParaRPr lang="en-GB"/>
          </a:p>
          <a:p>
            <a:r>
              <a:rPr lang="en-GB" b="1"/>
              <a:t>Source(s):</a:t>
            </a:r>
          </a:p>
          <a:p>
            <a:r>
              <a:rPr lang="en-GB" b="0"/>
              <a:t>Global Risk Report 2023, https://www.weforum.org/reports/global-risks-report-2023/</a:t>
            </a:r>
          </a:p>
        </p:txBody>
      </p:sp>
      <p:sp>
        <p:nvSpPr>
          <p:cNvPr id="4" name="Slide Number Placeholder 3"/>
          <p:cNvSpPr>
            <a:spLocks noGrp="1"/>
          </p:cNvSpPr>
          <p:nvPr>
            <p:ph type="sldNum" sz="quarter" idx="5"/>
          </p:nvPr>
        </p:nvSpPr>
        <p:spPr/>
        <p:txBody>
          <a:bodyPr/>
          <a:lstStyle/>
          <a:p>
            <a:pPr defTabSz="972083">
              <a:defRPr/>
            </a:pPr>
            <a:fld id="{7324DA73-AE27-4433-BD53-3E1DB61918F0}" type="slidenum">
              <a:rPr lang="en-GB" smtClean="0">
                <a:solidFill>
                  <a:srgbClr val="000000"/>
                </a:solidFill>
                <a:latin typeface="Calibri"/>
              </a:rPr>
              <a:pPr defTabSz="972083">
                <a:defRPr/>
              </a:pPr>
              <a:t>11</a:t>
            </a:fld>
            <a:endParaRPr lang="en-GB">
              <a:solidFill>
                <a:srgbClr val="000000"/>
              </a:solidFill>
              <a:latin typeface="Calibri"/>
            </a:endParaRPr>
          </a:p>
        </p:txBody>
      </p:sp>
    </p:spTree>
    <p:extLst>
      <p:ext uri="{BB962C8B-B14F-4D97-AF65-F5344CB8AC3E}">
        <p14:creationId xmlns:p14="http://schemas.microsoft.com/office/powerpoint/2010/main" val="31522088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Note(s):</a:t>
            </a:r>
          </a:p>
          <a:p>
            <a:pPr marL="174982" indent="-174982">
              <a:buFont typeface="Arial" panose="020B0604020202020204" pitchFamily="34" charset="0"/>
              <a:buChar char="•"/>
            </a:pPr>
            <a:r>
              <a:rPr lang="en-GB"/>
              <a:t>Those 32 crises are those given in the WEF Risk Report 2023, made in partnership with MMC</a:t>
            </a:r>
          </a:p>
          <a:p>
            <a:pPr marL="174982" indent="-174982">
              <a:buFont typeface="Arial" panose="020B0604020202020204" pitchFamily="34" charset="0"/>
              <a:buChar char="•"/>
            </a:pPr>
            <a:r>
              <a:rPr lang="en-GB"/>
              <a:t>Those 9 crises are a choice for the presentation</a:t>
            </a:r>
          </a:p>
          <a:p>
            <a:endParaRPr lang="en-GB"/>
          </a:p>
          <a:p>
            <a:r>
              <a:rPr lang="en-GB" b="1"/>
              <a:t>Source(s):</a:t>
            </a:r>
          </a:p>
          <a:p>
            <a:r>
              <a:rPr lang="en-GB" b="0"/>
              <a:t>Global Risk Report 2023, https://www.weforum.org/reports/global-risks-report-2023/</a:t>
            </a:r>
          </a:p>
          <a:p>
            <a:endParaRPr lang="en-GB"/>
          </a:p>
        </p:txBody>
      </p:sp>
      <p:sp>
        <p:nvSpPr>
          <p:cNvPr id="4" name="Slide Number Placeholder 3"/>
          <p:cNvSpPr>
            <a:spLocks noGrp="1"/>
          </p:cNvSpPr>
          <p:nvPr>
            <p:ph type="sldNum" sz="quarter" idx="5"/>
          </p:nvPr>
        </p:nvSpPr>
        <p:spPr/>
        <p:txBody>
          <a:bodyPr/>
          <a:lstStyle/>
          <a:p>
            <a:pPr defTabSz="972083">
              <a:defRPr/>
            </a:pPr>
            <a:fld id="{7324DA73-AE27-4433-BD53-3E1DB61918F0}" type="slidenum">
              <a:rPr lang="en-GB" smtClean="0">
                <a:solidFill>
                  <a:srgbClr val="000000"/>
                </a:solidFill>
                <a:latin typeface="Calibri"/>
              </a:rPr>
              <a:pPr defTabSz="972083">
                <a:defRPr/>
              </a:pPr>
              <a:t>12</a:t>
            </a:fld>
            <a:endParaRPr lang="en-GB">
              <a:solidFill>
                <a:srgbClr val="000000"/>
              </a:solidFill>
              <a:latin typeface="Calibri"/>
            </a:endParaRPr>
          </a:p>
        </p:txBody>
      </p:sp>
    </p:spTree>
    <p:extLst>
      <p:ext uri="{BB962C8B-B14F-4D97-AF65-F5344CB8AC3E}">
        <p14:creationId xmlns:p14="http://schemas.microsoft.com/office/powerpoint/2010/main" val="1274818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defTabSz="952462">
              <a:defRPr/>
            </a:pPr>
            <a:endParaRPr lang="en-GB">
              <a:solidFill>
                <a:srgbClr val="000000"/>
              </a:solidFill>
              <a:latin typeface="Calibri"/>
            </a:endParaRPr>
          </a:p>
        </p:txBody>
      </p:sp>
      <p:sp>
        <p:nvSpPr>
          <p:cNvPr id="237570" name="Rectangle 2"/>
          <p:cNvSpPr>
            <a:spLocks noGrp="1" noRot="1" noChangeAspect="1" noChangeArrowheads="1" noTextEdit="1"/>
          </p:cNvSpPr>
          <p:nvPr>
            <p:ph type="sldImg"/>
          </p:nvPr>
        </p:nvSpPr>
        <p:spPr>
          <a:xfrm>
            <a:off x="166688" y="782638"/>
            <a:ext cx="6926262" cy="3895725"/>
          </a:xfrm>
          <a:ln/>
        </p:spPr>
      </p:sp>
      <p:sp>
        <p:nvSpPr>
          <p:cNvPr id="237571" name="Rectangle 3"/>
          <p:cNvSpPr>
            <a:spLocks noGrp="1" noChangeArrowheads="1"/>
          </p:cNvSpPr>
          <p:nvPr>
            <p:ph type="body" idx="1"/>
          </p:nvPr>
        </p:nvSpPr>
        <p:spPr>
          <a:xfrm>
            <a:off x="727118" y="4939480"/>
            <a:ext cx="5807086" cy="4680532"/>
          </a:xfrm>
        </p:spPr>
        <p:txBody>
          <a:bodyPr/>
          <a:lstStyle/>
          <a:p>
            <a:endParaRPr lang="en-GB"/>
          </a:p>
        </p:txBody>
      </p:sp>
    </p:spTree>
    <p:extLst>
      <p:ext uri="{BB962C8B-B14F-4D97-AF65-F5344CB8AC3E}">
        <p14:creationId xmlns:p14="http://schemas.microsoft.com/office/powerpoint/2010/main" val="13529359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52462" rtl="0" eaLnBrk="1" fontAlgn="auto" latinLnBrk="0" hangingPunct="1">
              <a:lnSpc>
                <a:spcPct val="100000"/>
              </a:lnSpc>
              <a:spcBef>
                <a:spcPts val="0"/>
              </a:spcBef>
              <a:spcAft>
                <a:spcPts val="0"/>
              </a:spcAft>
              <a:buClrTx/>
              <a:buSzTx/>
              <a:buFontTx/>
              <a:buNone/>
              <a:tabLst/>
              <a:defRPr/>
            </a:pPr>
            <a:fld id="{7324DA73-AE27-4433-BD53-3E1DB61918F0}" type="slidenum">
              <a:rPr kumimoji="0" lang="en-GB" sz="1200" b="0" i="0" u="none" strike="noStrike" kern="1200" cap="none" spc="0" normalizeH="0" baseline="0" noProof="0" smtClean="0">
                <a:ln>
                  <a:noFill/>
                </a:ln>
                <a:solidFill>
                  <a:srgbClr val="000000"/>
                </a:solidFill>
                <a:effectLst/>
                <a:uLnTx/>
                <a:uFillTx/>
                <a:latin typeface="Calibri"/>
                <a:ea typeface="+mn-ea"/>
                <a:cs typeface="Calibri" panose="020F0502020204030204" pitchFamily="34" charset="0"/>
              </a:rPr>
              <a:pPr marL="0" marR="0" lvl="0" indent="0" algn="r" defTabSz="952462"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srgbClr val="000000"/>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6205619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5</a:t>
            </a:fld>
            <a:endParaRPr lang="en-GB"/>
          </a:p>
        </p:txBody>
      </p:sp>
    </p:spTree>
    <p:extLst>
      <p:ext uri="{BB962C8B-B14F-4D97-AF65-F5344CB8AC3E}">
        <p14:creationId xmlns:p14="http://schemas.microsoft.com/office/powerpoint/2010/main" val="3537007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6</a:t>
            </a:fld>
            <a:endParaRPr lang="en-GB"/>
          </a:p>
        </p:txBody>
      </p:sp>
    </p:spTree>
    <p:extLst>
      <p:ext uri="{BB962C8B-B14F-4D97-AF65-F5344CB8AC3E}">
        <p14:creationId xmlns:p14="http://schemas.microsoft.com/office/powerpoint/2010/main" val="32517627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7</a:t>
            </a:fld>
            <a:endParaRPr lang="en-GB"/>
          </a:p>
        </p:txBody>
      </p:sp>
    </p:spTree>
    <p:extLst>
      <p:ext uri="{BB962C8B-B14F-4D97-AF65-F5344CB8AC3E}">
        <p14:creationId xmlns:p14="http://schemas.microsoft.com/office/powerpoint/2010/main" val="38807897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8</a:t>
            </a:fld>
            <a:endParaRPr lang="en-GB"/>
          </a:p>
        </p:txBody>
      </p:sp>
    </p:spTree>
    <p:extLst>
      <p:ext uri="{BB962C8B-B14F-4D97-AF65-F5344CB8AC3E}">
        <p14:creationId xmlns:p14="http://schemas.microsoft.com/office/powerpoint/2010/main" val="4040154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9</a:t>
            </a:fld>
            <a:endParaRPr lang="en-GB"/>
          </a:p>
        </p:txBody>
      </p:sp>
    </p:spTree>
    <p:extLst>
      <p:ext uri="{BB962C8B-B14F-4D97-AF65-F5344CB8AC3E}">
        <p14:creationId xmlns:p14="http://schemas.microsoft.com/office/powerpoint/2010/main" val="3582934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a:t>
            </a:fld>
            <a:endParaRPr lang="en-GB"/>
          </a:p>
        </p:txBody>
      </p:sp>
    </p:spTree>
    <p:extLst>
      <p:ext uri="{BB962C8B-B14F-4D97-AF65-F5344CB8AC3E}">
        <p14:creationId xmlns:p14="http://schemas.microsoft.com/office/powerpoint/2010/main" val="4244323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0</a:t>
            </a:fld>
            <a:endParaRPr lang="en-GB"/>
          </a:p>
        </p:txBody>
      </p:sp>
    </p:spTree>
    <p:extLst>
      <p:ext uri="{BB962C8B-B14F-4D97-AF65-F5344CB8AC3E}">
        <p14:creationId xmlns:p14="http://schemas.microsoft.com/office/powerpoint/2010/main" val="29175722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1</a:t>
            </a:fld>
            <a:endParaRPr lang="en-GB"/>
          </a:p>
        </p:txBody>
      </p:sp>
    </p:spTree>
    <p:extLst>
      <p:ext uri="{BB962C8B-B14F-4D97-AF65-F5344CB8AC3E}">
        <p14:creationId xmlns:p14="http://schemas.microsoft.com/office/powerpoint/2010/main" val="22084005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2</a:t>
            </a:fld>
            <a:endParaRPr lang="en-GB"/>
          </a:p>
        </p:txBody>
      </p:sp>
    </p:spTree>
    <p:extLst>
      <p:ext uri="{BB962C8B-B14F-4D97-AF65-F5344CB8AC3E}">
        <p14:creationId xmlns:p14="http://schemas.microsoft.com/office/powerpoint/2010/main" val="40910867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3</a:t>
            </a:fld>
            <a:endParaRPr lang="en-GB"/>
          </a:p>
        </p:txBody>
      </p:sp>
    </p:spTree>
    <p:extLst>
      <p:ext uri="{BB962C8B-B14F-4D97-AF65-F5344CB8AC3E}">
        <p14:creationId xmlns:p14="http://schemas.microsoft.com/office/powerpoint/2010/main" val="41844344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4</a:t>
            </a:fld>
            <a:endParaRPr lang="en-GB"/>
          </a:p>
        </p:txBody>
      </p:sp>
    </p:spTree>
    <p:extLst>
      <p:ext uri="{BB962C8B-B14F-4D97-AF65-F5344CB8AC3E}">
        <p14:creationId xmlns:p14="http://schemas.microsoft.com/office/powerpoint/2010/main" val="1506020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5</a:t>
            </a:fld>
            <a:endParaRPr lang="en-GB"/>
          </a:p>
        </p:txBody>
      </p:sp>
    </p:spTree>
    <p:extLst>
      <p:ext uri="{BB962C8B-B14F-4D97-AF65-F5344CB8AC3E}">
        <p14:creationId xmlns:p14="http://schemas.microsoft.com/office/powerpoint/2010/main" val="30618818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6</a:t>
            </a:fld>
            <a:endParaRPr lang="en-GB"/>
          </a:p>
        </p:txBody>
      </p:sp>
    </p:spTree>
    <p:extLst>
      <p:ext uri="{BB962C8B-B14F-4D97-AF65-F5344CB8AC3E}">
        <p14:creationId xmlns:p14="http://schemas.microsoft.com/office/powerpoint/2010/main" val="36666382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7</a:t>
            </a:fld>
            <a:endParaRPr lang="en-GB"/>
          </a:p>
        </p:txBody>
      </p:sp>
    </p:spTree>
    <p:extLst>
      <p:ext uri="{BB962C8B-B14F-4D97-AF65-F5344CB8AC3E}">
        <p14:creationId xmlns:p14="http://schemas.microsoft.com/office/powerpoint/2010/main" val="29342561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Note: </a:t>
            </a:r>
          </a:p>
          <a:p>
            <a:pPr marL="174982" indent="-174982" defTabSz="933237">
              <a:buFont typeface="Arial" panose="020B0604020202020204" pitchFamily="34" charset="0"/>
              <a:buChar char="•"/>
              <a:defRPr/>
            </a:pPr>
            <a:r>
              <a:rPr lang="en-GB" b="0"/>
              <a:t>Left chart idea is based on: </a:t>
            </a:r>
            <a:r>
              <a:rPr lang="en-GB"/>
              <a:t>https://www.tbsnews.net/bloomberg-special/fed-and-ecbs-failure-spot-inflation-proving-costly-now-467662</a:t>
            </a:r>
            <a:endParaRPr lang="en-GB" b="0"/>
          </a:p>
          <a:p>
            <a:pPr marL="174982" indent="-174982">
              <a:buFont typeface="Arial" panose="020B0604020202020204" pitchFamily="34" charset="0"/>
              <a:buChar char="•"/>
            </a:pPr>
            <a:r>
              <a:rPr lang="en-GB" b="0"/>
              <a:t>Right chart idea is based on: https://maartensteinbuch.com/2017/06/12/photovoltaic-growth-reality-versus-projections-of-the-international-energy-agency/</a:t>
            </a:r>
          </a:p>
          <a:p>
            <a:endParaRPr lang="en-GB" b="1"/>
          </a:p>
          <a:p>
            <a:r>
              <a:rPr lang="en-GB" b="1"/>
              <a:t>Source(s):</a:t>
            </a:r>
            <a:endParaRPr lang="en-GB">
              <a:solidFill>
                <a:schemeClr val="accent1"/>
              </a:solidFill>
            </a:endParaRPr>
          </a:p>
          <a:p>
            <a:pPr marL="174982" indent="-174982">
              <a:buFont typeface="Arial" panose="020B0604020202020204" pitchFamily="34" charset="0"/>
              <a:buChar char="•"/>
            </a:pPr>
            <a:r>
              <a:rPr lang="en-GB" b="1"/>
              <a:t>Left Chart:</a:t>
            </a:r>
          </a:p>
          <a:p>
            <a:pPr marL="641600" lvl="1" indent="-174982">
              <a:buFont typeface="Arial" panose="020B0604020202020204" pitchFamily="34" charset="0"/>
              <a:buChar char="•"/>
            </a:pPr>
            <a:r>
              <a:rPr lang="en-GB" b="0"/>
              <a:t>OW Analysis based on </a:t>
            </a:r>
            <a:r>
              <a:rPr lang="en-GB" b="1"/>
              <a:t>ECB Macroeconomic forecasts </a:t>
            </a:r>
            <a:r>
              <a:rPr lang="en-GB" b="0"/>
              <a:t>and compared to TBS News for coherence. see Analysis/ Folder 27.</a:t>
            </a:r>
          </a:p>
          <a:p>
            <a:pPr marL="641600" lvl="1" indent="-174982">
              <a:buFont typeface="Arial" panose="020B0604020202020204" pitchFamily="34" charset="0"/>
              <a:buChar char="•"/>
            </a:pPr>
            <a:endParaRPr lang="en-GB">
              <a:solidFill>
                <a:schemeClr val="accent1"/>
              </a:solidFill>
            </a:endParaRPr>
          </a:p>
          <a:p>
            <a:pPr marL="174982" indent="-174982">
              <a:buFont typeface="Arial" panose="020B0604020202020204" pitchFamily="34" charset="0"/>
              <a:buChar char="•"/>
            </a:pPr>
            <a:r>
              <a:rPr lang="en-GB" b="1"/>
              <a:t>Right Chart:</a:t>
            </a:r>
          </a:p>
          <a:p>
            <a:pPr marL="641600" lvl="1" indent="-174982">
              <a:buFont typeface="Arial" panose="020B0604020202020204" pitchFamily="34" charset="0"/>
              <a:buChar char="•"/>
            </a:pPr>
            <a:r>
              <a:rPr lang="en-GB" b="0"/>
              <a:t>OW Analysis based on </a:t>
            </a:r>
            <a:r>
              <a:rPr lang="en-GB" b="1"/>
              <a:t>IEA World Energy Outlook</a:t>
            </a:r>
            <a:r>
              <a:rPr lang="en-GB" b="0"/>
              <a:t>, see Analysis/ Folder 26.</a:t>
            </a:r>
          </a:p>
          <a:p>
            <a:pPr marL="641600" lvl="1" indent="-174982">
              <a:buFont typeface="Arial" panose="020B0604020202020204" pitchFamily="34" charset="0"/>
              <a:buChar char="•"/>
            </a:pPr>
            <a:endParaRPr lang="en-GB">
              <a:solidFill>
                <a:schemeClr val="accent1"/>
              </a:solidFill>
            </a:endParaRPr>
          </a:p>
          <a:p>
            <a:pPr marL="174982" indent="-174982">
              <a:buFont typeface="Arial" panose="020B0604020202020204" pitchFamily="34" charset="0"/>
              <a:buChar char="•"/>
            </a:pPr>
            <a:r>
              <a:rPr lang="en-GB" b="1"/>
              <a:t>Other:</a:t>
            </a:r>
          </a:p>
          <a:p>
            <a:pPr marL="641600" lvl="1" indent="-174982">
              <a:buFont typeface="Arial" panose="020B0604020202020204" pitchFamily="34" charset="0"/>
              <a:buChar char="•"/>
            </a:pPr>
            <a:r>
              <a:rPr lang="en-GB"/>
              <a:t>https://www.ecb.europa.eu/pub/economic-bulletin/articles/2022/html/ecb.ebart202204_01~7b32d31b29.en.html</a:t>
            </a:r>
          </a:p>
          <a:p>
            <a:pPr marL="466618" lvl="1"/>
            <a:endParaRPr lang="en-GB"/>
          </a:p>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8</a:t>
            </a:fld>
            <a:endParaRPr lang="en-GB"/>
          </a:p>
        </p:txBody>
      </p:sp>
    </p:spTree>
    <p:extLst>
      <p:ext uri="{BB962C8B-B14F-4D97-AF65-F5344CB8AC3E}">
        <p14:creationId xmlns:p14="http://schemas.microsoft.com/office/powerpoint/2010/main" val="18832659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Source(s):</a:t>
            </a:r>
            <a:endParaRPr lang="en-GB">
              <a:solidFill>
                <a:schemeClr val="accent1"/>
              </a:solidFill>
            </a:endParaRPr>
          </a:p>
          <a:p>
            <a:r>
              <a:rPr lang="en-GB" b="1"/>
              <a:t>OW IC</a:t>
            </a:r>
            <a:r>
              <a:rPr lang="en-GB"/>
              <a:t>, see Inputs / From OW / Strategy in a permanently instable world</a:t>
            </a:r>
          </a:p>
        </p:txBody>
      </p:sp>
      <p:sp>
        <p:nvSpPr>
          <p:cNvPr id="4" name="Slide Number Placeholder 3"/>
          <p:cNvSpPr>
            <a:spLocks noGrp="1"/>
          </p:cNvSpPr>
          <p:nvPr>
            <p:ph type="sldNum" sz="quarter" idx="5"/>
          </p:nvPr>
        </p:nvSpPr>
        <p:spPr/>
        <p:txBody>
          <a:bodyPr/>
          <a:lstStyle/>
          <a:p>
            <a:fld id="{7324DA73-AE27-4433-BD53-3E1DB61918F0}" type="slidenum">
              <a:rPr lang="en-GB" smtClean="0"/>
              <a:t>29</a:t>
            </a:fld>
            <a:endParaRPr lang="en-GB"/>
          </a:p>
        </p:txBody>
      </p:sp>
    </p:spTree>
    <p:extLst>
      <p:ext uri="{BB962C8B-B14F-4D97-AF65-F5344CB8AC3E}">
        <p14:creationId xmlns:p14="http://schemas.microsoft.com/office/powerpoint/2010/main" val="387963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5670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52462">
              <a:defRPr/>
            </a:pPr>
            <a:fld id="{7324DA73-AE27-4433-BD53-3E1DB61918F0}" type="slidenum">
              <a:rPr lang="en-GB" smtClean="0">
                <a:solidFill>
                  <a:srgbClr val="000000"/>
                </a:solidFill>
                <a:latin typeface="Calibri"/>
              </a:rPr>
              <a:pPr defTabSz="952462">
                <a:defRPr/>
              </a:pPr>
              <a:t>30</a:t>
            </a:fld>
            <a:endParaRPr lang="en-GB">
              <a:solidFill>
                <a:srgbClr val="000000"/>
              </a:solidFill>
              <a:latin typeface="Calibri"/>
            </a:endParaRPr>
          </a:p>
        </p:txBody>
      </p:sp>
    </p:spTree>
    <p:extLst>
      <p:ext uri="{BB962C8B-B14F-4D97-AF65-F5344CB8AC3E}">
        <p14:creationId xmlns:p14="http://schemas.microsoft.com/office/powerpoint/2010/main" val="40075174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tes: </a:t>
            </a:r>
          </a:p>
          <a:p>
            <a:endParaRPr lang="en-GB"/>
          </a:p>
          <a:p>
            <a:pPr marL="342900" lvl="0" indent="-342900">
              <a:spcAft>
                <a:spcPts val="750"/>
              </a:spcAft>
              <a:buFont typeface="+mj-lt"/>
              <a:buAutoNum type="arabicParenR"/>
            </a:pPr>
            <a:r>
              <a:rPr lang="en-GB" sz="1800" b="1">
                <a:effectLst/>
                <a:latin typeface="Calibri" panose="020F0502020204030204" pitchFamily="34" charset="0"/>
                <a:ea typeface="Times New Roman" panose="02020603050405020304" pitchFamily="18" charset="0"/>
              </a:rPr>
              <a:t>Néoprène et la crise de 29 : </a:t>
            </a:r>
            <a:endParaRPr lang="en-GB" sz="1800">
              <a:effectLst/>
              <a:latin typeface="Calibri" panose="020F0502020204030204" pitchFamily="34" charset="0"/>
              <a:ea typeface="Calibri" panose="020F0502020204030204" pitchFamily="34" charset="0"/>
            </a:endParaRPr>
          </a:p>
          <a:p>
            <a:pPr marL="342900" lvl="0" indent="-342900">
              <a:spcAft>
                <a:spcPts val="750"/>
              </a:spcAft>
              <a:buFont typeface="Symbol" panose="05050102010706020507" pitchFamily="18" charset="2"/>
              <a:buChar char=""/>
            </a:pPr>
            <a:r>
              <a:rPr lang="en-GB" sz="1800">
                <a:effectLst/>
                <a:latin typeface="Calibri" panose="020F0502020204030204" pitchFamily="34" charset="0"/>
                <a:ea typeface="Times New Roman" panose="02020603050405020304" pitchFamily="18" charset="0"/>
              </a:rPr>
              <a:t>La crise aurait poussé Dupont à augmenter ses investissements en R&amp;D pour rebondir face à une baisse de ses revenues de 15% en 1930, lui permettant de découvrir le néoprène</a:t>
            </a:r>
            <a:endParaRPr lang="en-GB" sz="1800">
              <a:effectLst/>
              <a:latin typeface="Calibri" panose="020F0502020204030204" pitchFamily="34" charset="0"/>
              <a:ea typeface="Calibri" panose="020F0502020204030204" pitchFamily="34" charset="0"/>
            </a:endParaRPr>
          </a:p>
          <a:p>
            <a:pPr marL="342900" lvl="0" indent="-342900">
              <a:spcAft>
                <a:spcPts val="750"/>
              </a:spcAft>
              <a:buFont typeface="Symbol" panose="05050102010706020507" pitchFamily="18" charset="2"/>
              <a:buChar char=""/>
            </a:pPr>
            <a:r>
              <a:rPr lang="en-GB" sz="1800">
                <a:effectLst/>
                <a:latin typeface="Calibri" panose="020F0502020204030204" pitchFamily="34" charset="0"/>
                <a:ea typeface="Times New Roman" panose="02020603050405020304" pitchFamily="18" charset="0"/>
              </a:rPr>
              <a:t>Source : The McKinsey Quaterly: Innovation lessons from the 1930s, </a:t>
            </a:r>
            <a:r>
              <a:rPr lang="en-GB" sz="1800" u="sng">
                <a:solidFill>
                  <a:srgbClr val="2C6EF2"/>
                </a:solidFill>
                <a:effectLst/>
                <a:latin typeface="Calibri" panose="020F0502020204030204" pitchFamily="34" charset="0"/>
                <a:ea typeface="Times New Roman" panose="02020603050405020304" pitchFamily="18" charset="0"/>
                <a:hlinkClick r:id="rId3"/>
              </a:rPr>
              <a:t>https://www.hbs.edu/ris/Publication%20Files/Tom_McKinsey_Quarterly_8421a1a0-0104-4cf1-843d-fc32fa51dd0a.pdf</a:t>
            </a:r>
            <a:endParaRPr lang="en-GB" sz="1800">
              <a:effectLst/>
              <a:latin typeface="Calibri" panose="020F0502020204030204" pitchFamily="34" charset="0"/>
              <a:ea typeface="Calibri" panose="020F0502020204030204" pitchFamily="34" charset="0"/>
            </a:endParaRPr>
          </a:p>
          <a:p>
            <a:endParaRPr lang="en-GB"/>
          </a:p>
          <a:p>
            <a:endParaRPr lang="en-GB"/>
          </a:p>
          <a:p>
            <a:pPr marL="342900" lvl="0" indent="-342900">
              <a:spcAft>
                <a:spcPts val="750"/>
              </a:spcAft>
              <a:buFont typeface="+mj-lt"/>
              <a:buAutoNum type="arabicParenR"/>
            </a:pPr>
            <a:r>
              <a:rPr lang="en-GB" sz="1100" b="1">
                <a:effectLst/>
                <a:latin typeface="Calibri" panose="020F0502020204030204" pitchFamily="34" charset="0"/>
                <a:ea typeface="Times New Roman" panose="02020603050405020304" pitchFamily="18" charset="0"/>
              </a:rPr>
              <a:t>IA &amp; Perma crise : </a:t>
            </a:r>
            <a:endParaRPr lang="en-GB" sz="1100">
              <a:effectLst/>
              <a:latin typeface="Calibri" panose="020F0502020204030204" pitchFamily="34" charset="0"/>
              <a:ea typeface="Calibri" panose="020F0502020204030204" pitchFamily="34" charset="0"/>
            </a:endParaRPr>
          </a:p>
          <a:p>
            <a:pPr marL="342900" lvl="0" indent="-342900">
              <a:spcAft>
                <a:spcPts val="750"/>
              </a:spcAft>
              <a:buFont typeface="Symbol" panose="05050102010706020507" pitchFamily="18" charset="2"/>
              <a:buChar char=""/>
            </a:pPr>
            <a:r>
              <a:rPr lang="en-GB" sz="1100" b="1" u="sng">
                <a:effectLst/>
                <a:latin typeface="Calibri" panose="020F0502020204030204" pitchFamily="34" charset="0"/>
                <a:ea typeface="Times New Roman" panose="02020603050405020304" pitchFamily="18" charset="0"/>
              </a:rPr>
              <a:t>Key take aways : </a:t>
            </a:r>
            <a:endParaRPr lang="en-GB" sz="1100">
              <a:effectLst/>
              <a:latin typeface="Calibri" panose="020F0502020204030204" pitchFamily="34" charset="0"/>
              <a:ea typeface="Calibri" panose="020F0502020204030204" pitchFamily="34" charset="0"/>
            </a:endParaRPr>
          </a:p>
          <a:p>
            <a:pPr marL="742950" lvl="1" indent="-285750">
              <a:spcAft>
                <a:spcPts val="750"/>
              </a:spcAft>
              <a:buFont typeface="Courier New" panose="02070309020205020404" pitchFamily="49" charset="0"/>
              <a:buChar char="o"/>
            </a:pPr>
            <a:r>
              <a:rPr lang="en-GB" sz="1100">
                <a:effectLst/>
                <a:latin typeface="Calibri" panose="020F0502020204030204" pitchFamily="34" charset="0"/>
                <a:ea typeface="Times New Roman" panose="02020603050405020304" pitchFamily="18" charset="0"/>
              </a:rPr>
              <a:t>Découverte et développement de l’IA antérieur à la perma crise (1950-2010)</a:t>
            </a:r>
            <a:endParaRPr lang="en-GB" sz="1100">
              <a:effectLst/>
              <a:latin typeface="Calibri" panose="020F0502020204030204" pitchFamily="34" charset="0"/>
              <a:ea typeface="Calibri" panose="020F0502020204030204" pitchFamily="34" charset="0"/>
            </a:endParaRPr>
          </a:p>
          <a:p>
            <a:pPr marL="742950" lvl="1" indent="-285750">
              <a:spcAft>
                <a:spcPts val="750"/>
              </a:spcAft>
              <a:buFont typeface="Courier New" panose="02070309020205020404" pitchFamily="49" charset="0"/>
              <a:buChar char="o"/>
            </a:pPr>
            <a:r>
              <a:rPr lang="en-GB" sz="1100">
                <a:effectLst/>
                <a:latin typeface="Calibri" panose="020F0502020204030204" pitchFamily="34" charset="0"/>
                <a:ea typeface="Times New Roman" panose="02020603050405020304" pitchFamily="18" charset="0"/>
              </a:rPr>
              <a:t>Accélération probable de son adoption et de ses applications suite au COVID et à l’augmentation des incertitudes (besoin de traitement de données, besoin d’accélération des résultats, réduction des coûts)</a:t>
            </a:r>
            <a:endParaRPr lang="en-GB" sz="1100">
              <a:effectLst/>
              <a:latin typeface="Calibri" panose="020F0502020204030204" pitchFamily="34" charset="0"/>
              <a:ea typeface="Calibri" panose="020F0502020204030204" pitchFamily="34" charset="0"/>
            </a:endParaRPr>
          </a:p>
          <a:p>
            <a:pPr marL="342900" lvl="0" indent="-342900">
              <a:spcAft>
                <a:spcPts val="750"/>
              </a:spcAft>
              <a:buFont typeface="Symbol" panose="05050102010706020507" pitchFamily="18" charset="2"/>
              <a:buChar char=""/>
            </a:pPr>
            <a:r>
              <a:rPr lang="en-GB" sz="1100">
                <a:effectLst/>
                <a:latin typeface="Calibri" panose="020F0502020204030204" pitchFamily="34" charset="0"/>
                <a:ea typeface="Times New Roman" panose="02020603050405020304" pitchFamily="18" charset="0"/>
              </a:rPr>
              <a:t>Le détail : </a:t>
            </a:r>
            <a:endParaRPr lang="en-GB" sz="1100">
              <a:effectLst/>
              <a:latin typeface="Calibri" panose="020F0502020204030204" pitchFamily="34" charset="0"/>
              <a:ea typeface="Calibri" panose="020F0502020204030204" pitchFamily="34" charset="0"/>
            </a:endParaRPr>
          </a:p>
          <a:p>
            <a:pPr marL="742950" lvl="1" indent="-285750">
              <a:spcAft>
                <a:spcPts val="750"/>
              </a:spcAft>
              <a:buFont typeface="Courier New" panose="02070309020205020404" pitchFamily="49" charset="0"/>
              <a:buChar char="o"/>
            </a:pPr>
            <a:r>
              <a:rPr lang="en-GB" sz="1100">
                <a:effectLst/>
                <a:latin typeface="Calibri" panose="020F0502020204030204" pitchFamily="34" charset="0"/>
                <a:ea typeface="Times New Roman" panose="02020603050405020304" pitchFamily="18" charset="0"/>
              </a:rPr>
              <a:t>La création et le développement de IA précèdent la perma crise :</a:t>
            </a:r>
            <a:endParaRPr lang="en-GB" sz="1100">
              <a:effectLst/>
              <a:latin typeface="Calibri" panose="020F0502020204030204" pitchFamily="34" charset="0"/>
              <a:ea typeface="Calibri" panose="020F0502020204030204" pitchFamily="34" charset="0"/>
            </a:endParaRPr>
          </a:p>
          <a:p>
            <a:pPr marL="1143000" lvl="2" indent="-228600">
              <a:spcAft>
                <a:spcPts val="750"/>
              </a:spcAft>
              <a:buFont typeface="Wingdings" panose="05000000000000000000" pitchFamily="2" charset="2"/>
              <a:buChar char=""/>
            </a:pPr>
            <a:r>
              <a:rPr lang="en-GB" sz="1100" b="1">
                <a:effectLst/>
                <a:latin typeface="Calibri" panose="020F0502020204030204" pitchFamily="34" charset="0"/>
                <a:ea typeface="Times New Roman" panose="02020603050405020304" pitchFamily="18" charset="0"/>
              </a:rPr>
              <a:t>1950</a:t>
            </a:r>
            <a:r>
              <a:rPr lang="en-GB" sz="1100">
                <a:effectLst/>
                <a:latin typeface="Calibri" panose="020F0502020204030204" pitchFamily="34" charset="0"/>
                <a:ea typeface="Times New Roman" panose="02020603050405020304" pitchFamily="18" charset="0"/>
              </a:rPr>
              <a:t> : Création de la première forme d’IA </a:t>
            </a:r>
            <a:endParaRPr lang="en-GB" sz="1100">
              <a:effectLst/>
              <a:latin typeface="Calibri" panose="020F0502020204030204" pitchFamily="34" charset="0"/>
              <a:ea typeface="Calibri" panose="020F0502020204030204" pitchFamily="34" charset="0"/>
            </a:endParaRPr>
          </a:p>
          <a:p>
            <a:pPr marL="1143000" lvl="2" indent="-228600">
              <a:spcAft>
                <a:spcPts val="750"/>
              </a:spcAft>
              <a:buFont typeface="Wingdings" panose="05000000000000000000" pitchFamily="2" charset="2"/>
              <a:buChar char=""/>
            </a:pPr>
            <a:r>
              <a:rPr lang="en-GB" sz="1100" b="1">
                <a:effectLst/>
                <a:latin typeface="Calibri" panose="020F0502020204030204" pitchFamily="34" charset="0"/>
                <a:ea typeface="Times New Roman" panose="02020603050405020304" pitchFamily="18" charset="0"/>
              </a:rPr>
              <a:t>2000-2010</a:t>
            </a:r>
            <a:r>
              <a:rPr lang="en-GB" sz="1100">
                <a:effectLst/>
                <a:latin typeface="Calibri" panose="020F0502020204030204" pitchFamily="34" charset="0"/>
                <a:ea typeface="Times New Roman" panose="02020603050405020304" pitchFamily="18" charset="0"/>
              </a:rPr>
              <a:t> : Accélération du développement grâce au : </a:t>
            </a:r>
            <a:endParaRPr lang="en-GB" sz="1100">
              <a:effectLst/>
              <a:latin typeface="Calibri" panose="020F0502020204030204" pitchFamily="34" charset="0"/>
              <a:ea typeface="Calibri" panose="020F0502020204030204" pitchFamily="34" charset="0"/>
            </a:endParaRPr>
          </a:p>
          <a:p>
            <a:pPr marL="1600200" lvl="3" indent="-228600">
              <a:spcAft>
                <a:spcPts val="750"/>
              </a:spcAft>
              <a:buFont typeface="Symbol" panose="05050102010706020507" pitchFamily="18" charset="2"/>
              <a:buChar char=""/>
            </a:pPr>
            <a:r>
              <a:rPr lang="en-GB" sz="1100">
                <a:effectLst/>
                <a:latin typeface="Calibri" panose="020F0502020204030204" pitchFamily="34" charset="0"/>
                <a:ea typeface="Times New Roman" panose="02020603050405020304" pitchFamily="18" charset="0"/>
              </a:rPr>
              <a:t>développement important grâce à l’augmentation de la puissance de calcul</a:t>
            </a:r>
            <a:endParaRPr lang="en-GB" sz="1100">
              <a:effectLst/>
              <a:latin typeface="Calibri" panose="020F0502020204030204" pitchFamily="34" charset="0"/>
              <a:ea typeface="Calibri" panose="020F0502020204030204" pitchFamily="34" charset="0"/>
            </a:endParaRPr>
          </a:p>
          <a:p>
            <a:pPr marL="1600200" lvl="3" indent="-228600">
              <a:spcAft>
                <a:spcPts val="750"/>
              </a:spcAft>
              <a:buFont typeface="Symbol" panose="05050102010706020507" pitchFamily="18" charset="2"/>
              <a:buChar char=""/>
            </a:pPr>
            <a:r>
              <a:rPr lang="en-GB" sz="1100">
                <a:effectLst/>
                <a:latin typeface="Calibri" panose="020F0502020204030204" pitchFamily="34" charset="0"/>
                <a:ea typeface="Times New Roman" panose="02020603050405020304" pitchFamily="18" charset="0"/>
              </a:rPr>
              <a:t>Disponibilité de grandes quantités de données </a:t>
            </a:r>
            <a:endParaRPr lang="en-GB" sz="1100">
              <a:effectLst/>
              <a:latin typeface="Calibri" panose="020F0502020204030204" pitchFamily="34" charset="0"/>
              <a:ea typeface="Calibri" panose="020F0502020204030204" pitchFamily="34" charset="0"/>
            </a:endParaRPr>
          </a:p>
          <a:p>
            <a:pPr marL="1600200" lvl="3" indent="-228600">
              <a:spcAft>
                <a:spcPts val="750"/>
              </a:spcAft>
              <a:buFont typeface="Symbol" panose="05050102010706020507" pitchFamily="18" charset="2"/>
              <a:buChar char=""/>
            </a:pPr>
            <a:r>
              <a:rPr lang="en-GB" sz="1100">
                <a:effectLst/>
                <a:latin typeface="Calibri" panose="020F0502020204030204" pitchFamily="34" charset="0"/>
                <a:ea typeface="Times New Roman" panose="02020603050405020304" pitchFamily="18" charset="0"/>
              </a:rPr>
              <a:t>Progrès dans l'algorithme</a:t>
            </a:r>
            <a:endParaRPr lang="en-GB" sz="1100">
              <a:effectLst/>
              <a:latin typeface="Calibri" panose="020F0502020204030204" pitchFamily="34" charset="0"/>
              <a:ea typeface="Calibri" panose="020F0502020204030204" pitchFamily="34" charset="0"/>
            </a:endParaRPr>
          </a:p>
          <a:p>
            <a:pPr marL="342900" lvl="0" indent="-342900">
              <a:spcAft>
                <a:spcPts val="750"/>
              </a:spcAft>
              <a:buFont typeface="Wingdings" panose="05000000000000000000" pitchFamily="2" charset="2"/>
              <a:buChar char=""/>
            </a:pPr>
            <a:r>
              <a:rPr lang="en-GB" sz="1100">
                <a:effectLst/>
                <a:latin typeface="Calibri" panose="020F0502020204030204" pitchFamily="34" charset="0"/>
                <a:ea typeface="Times New Roman" panose="02020603050405020304" pitchFamily="18" charset="0"/>
                <a:cs typeface="Dubai" panose="020B0503030403030204" pitchFamily="34" charset="-78"/>
              </a:rPr>
              <a:t>ChatGPT n’est d’ailleurs pas considéré comme révolutionnaire pour les ingénieurs car il existait déjà depuis plusieurs années avant son introduction au grand public</a:t>
            </a:r>
            <a:endParaRPr lang="en-GB" sz="1100">
              <a:effectLst/>
              <a:latin typeface="Calibri" panose="020F0502020204030204" pitchFamily="34" charset="0"/>
              <a:ea typeface="Calibri" panose="020F0502020204030204" pitchFamily="34" charset="0"/>
              <a:cs typeface="Dubai" panose="020B0503030403030204" pitchFamily="34" charset="-78"/>
            </a:endParaRPr>
          </a:p>
          <a:p>
            <a:pPr marL="742950" lvl="1" indent="-285750">
              <a:spcAft>
                <a:spcPts val="750"/>
              </a:spcAft>
              <a:buFont typeface="Courier New" panose="02070309020205020404" pitchFamily="49" charset="0"/>
              <a:buChar char="o"/>
            </a:pPr>
            <a:r>
              <a:rPr lang="en-GB" sz="1100">
                <a:effectLst/>
                <a:latin typeface="Calibri" panose="020F0502020204030204" pitchFamily="34" charset="0"/>
                <a:ea typeface="Times New Roman" panose="02020603050405020304" pitchFamily="18" charset="0"/>
              </a:rPr>
              <a:t>Cependant, on pourrait argumenter que la </a:t>
            </a:r>
            <a:r>
              <a:rPr lang="en-GB" sz="1100" b="1">
                <a:effectLst/>
                <a:latin typeface="Calibri" panose="020F0502020204030204" pitchFamily="34" charset="0"/>
                <a:ea typeface="Times New Roman" panose="02020603050405020304" pitchFamily="18" charset="0"/>
              </a:rPr>
              <a:t>perma crise</a:t>
            </a:r>
            <a:r>
              <a:rPr lang="en-GB" sz="1100">
                <a:effectLst/>
                <a:latin typeface="Calibri" panose="020F0502020204030204" pitchFamily="34" charset="0"/>
                <a:ea typeface="Times New Roman" panose="02020603050405020304" pitchFamily="18" charset="0"/>
              </a:rPr>
              <a:t> (et notamment suite au covid) </a:t>
            </a:r>
            <a:r>
              <a:rPr lang="en-GB" sz="1100" b="1">
                <a:effectLst/>
                <a:latin typeface="Calibri" panose="020F0502020204030204" pitchFamily="34" charset="0"/>
                <a:ea typeface="Times New Roman" panose="02020603050405020304" pitchFamily="18" charset="0"/>
              </a:rPr>
              <a:t>a</a:t>
            </a:r>
            <a:r>
              <a:rPr lang="en-GB" sz="1100">
                <a:effectLst/>
                <a:latin typeface="Calibri" panose="020F0502020204030204" pitchFamily="34" charset="0"/>
                <a:ea typeface="Times New Roman" panose="02020603050405020304" pitchFamily="18" charset="0"/>
              </a:rPr>
              <a:t> </a:t>
            </a:r>
            <a:r>
              <a:rPr lang="en-GB" sz="1100" b="1">
                <a:effectLst/>
                <a:latin typeface="Calibri" panose="020F0502020204030204" pitchFamily="34" charset="0"/>
                <a:ea typeface="Times New Roman" panose="02020603050405020304" pitchFamily="18" charset="0"/>
              </a:rPr>
              <a:t>accéléré le développement de nouvelles applications et d’une adoption plus grande de l’IA par les entreprises </a:t>
            </a:r>
            <a:r>
              <a:rPr lang="en-GB" sz="1100">
                <a:effectLst/>
                <a:latin typeface="Calibri" panose="020F0502020204030204" pitchFamily="34" charset="0"/>
                <a:ea typeface="Times New Roman" panose="02020603050405020304" pitchFamily="18" charset="0"/>
              </a:rPr>
              <a:t>: </a:t>
            </a:r>
            <a:endParaRPr lang="en-GB" sz="1100">
              <a:effectLst/>
              <a:latin typeface="Calibri" panose="020F0502020204030204" pitchFamily="34" charset="0"/>
              <a:ea typeface="Calibri" panose="020F0502020204030204" pitchFamily="34" charset="0"/>
            </a:endParaRPr>
          </a:p>
          <a:p>
            <a:pPr marL="1143000" lvl="2" indent="-228600">
              <a:spcAft>
                <a:spcPts val="750"/>
              </a:spcAft>
              <a:buFont typeface="Wingdings" panose="05000000000000000000" pitchFamily="2" charset="2"/>
              <a:buChar char=""/>
            </a:pPr>
            <a:r>
              <a:rPr lang="en-GB" sz="1100">
                <a:effectLst/>
                <a:latin typeface="Calibri" panose="020F0502020204030204" pitchFamily="34" charset="0"/>
                <a:ea typeface="Times New Roman" panose="02020603050405020304" pitchFamily="18" charset="0"/>
              </a:rPr>
              <a:t>De </a:t>
            </a:r>
            <a:r>
              <a:rPr lang="en-GB" sz="1100" b="1">
                <a:effectLst/>
                <a:latin typeface="Calibri" panose="020F0502020204030204" pitchFamily="34" charset="0"/>
                <a:ea typeface="Times New Roman" panose="02020603050405020304" pitchFamily="18" charset="0"/>
              </a:rPr>
              <a:t>nombreuses utilisations médicales de l’intelligence artificielle sont apparus</a:t>
            </a:r>
            <a:r>
              <a:rPr lang="en-GB" sz="1100">
                <a:effectLst/>
                <a:latin typeface="Calibri" panose="020F0502020204030204" pitchFamily="34" charset="0"/>
                <a:ea typeface="Times New Roman" panose="02020603050405020304" pitchFamily="18" charset="0"/>
              </a:rPr>
              <a:t> </a:t>
            </a:r>
            <a:r>
              <a:rPr lang="en-GB" sz="1100" b="1">
                <a:effectLst/>
                <a:latin typeface="Calibri" panose="020F0502020204030204" pitchFamily="34" charset="0"/>
                <a:ea typeface="Times New Roman" panose="02020603050405020304" pitchFamily="18" charset="0"/>
              </a:rPr>
              <a:t>pendant le COVID</a:t>
            </a:r>
            <a:r>
              <a:rPr lang="en-GB" sz="1100">
                <a:effectLst/>
                <a:latin typeface="Calibri" panose="020F0502020204030204" pitchFamily="34" charset="0"/>
                <a:ea typeface="Times New Roman" panose="02020603050405020304" pitchFamily="18" charset="0"/>
              </a:rPr>
              <a:t> : Compréhension du virus, accélération de la recherche sur les médicaments et traitements, détection, diagnostic et évolution du virus, ou encore surveillance des populations et apport aux individus d'informations personnalisées</a:t>
            </a:r>
            <a:endParaRPr lang="en-GB" sz="1100">
              <a:effectLst/>
              <a:latin typeface="Calibri" panose="020F0502020204030204" pitchFamily="34" charset="0"/>
              <a:ea typeface="Calibri" panose="020F0502020204030204" pitchFamily="34" charset="0"/>
            </a:endParaRPr>
          </a:p>
          <a:p>
            <a:pPr marL="1143000" lvl="2" indent="-228600">
              <a:spcAft>
                <a:spcPts val="750"/>
              </a:spcAft>
              <a:buFont typeface="Wingdings" panose="05000000000000000000" pitchFamily="2" charset="2"/>
              <a:buChar char=""/>
            </a:pPr>
            <a:r>
              <a:rPr lang="en-GB" sz="1100">
                <a:effectLst/>
                <a:latin typeface="Calibri" panose="020F0502020204030204" pitchFamily="34" charset="0"/>
                <a:ea typeface="Times New Roman" panose="02020603050405020304" pitchFamily="18" charset="0"/>
              </a:rPr>
              <a:t>Selon l’OCDE, </a:t>
            </a:r>
            <a:r>
              <a:rPr lang="en-GB" sz="1100" b="1">
                <a:effectLst/>
                <a:latin typeface="Calibri" panose="020F0502020204030204" pitchFamily="34" charset="0"/>
                <a:ea typeface="Times New Roman" panose="02020603050405020304" pitchFamily="18" charset="0"/>
              </a:rPr>
              <a:t>intensification des tendances de digitalisation</a:t>
            </a:r>
            <a:r>
              <a:rPr lang="en-GB" sz="1100">
                <a:effectLst/>
                <a:latin typeface="Calibri" panose="020F0502020204030204" pitchFamily="34" charset="0"/>
                <a:ea typeface="Times New Roman" panose="02020603050405020304" pitchFamily="18" charset="0"/>
              </a:rPr>
              <a:t> (incl. IA) post-covid : </a:t>
            </a:r>
            <a:r>
              <a:rPr lang="en-GB" sz="1100" b="1">
                <a:effectLst/>
                <a:latin typeface="Calibri" panose="020F0502020204030204" pitchFamily="34" charset="0"/>
                <a:ea typeface="Times New Roman" panose="02020603050405020304" pitchFamily="18" charset="0"/>
              </a:rPr>
              <a:t>x2 des investissements prévus de l’IA entre 2020 et 2024</a:t>
            </a:r>
            <a:r>
              <a:rPr lang="en-GB" sz="1100">
                <a:effectLst/>
                <a:latin typeface="Calibri" panose="020F0502020204030204" pitchFamily="34" charset="0"/>
                <a:ea typeface="Times New Roman" panose="02020603050405020304" pitchFamily="18" charset="0"/>
              </a:rPr>
              <a:t> (voir paragraphe ci-après)</a:t>
            </a:r>
            <a:endParaRPr lang="en-GB" sz="1100">
              <a:effectLst/>
              <a:latin typeface="Calibri" panose="020F0502020204030204" pitchFamily="34" charset="0"/>
              <a:ea typeface="Calibri" panose="020F0502020204030204" pitchFamily="34" charset="0"/>
            </a:endParaRPr>
          </a:p>
          <a:p>
            <a:pPr marL="1143000" lvl="2" indent="-228600">
              <a:spcAft>
                <a:spcPts val="750"/>
              </a:spcAft>
              <a:buFont typeface="Wingdings" panose="05000000000000000000" pitchFamily="2" charset="2"/>
              <a:buChar char=""/>
            </a:pPr>
            <a:r>
              <a:rPr lang="en-GB" sz="1100">
                <a:effectLst/>
                <a:latin typeface="Calibri" panose="020F0502020204030204" pitchFamily="34" charset="0"/>
                <a:ea typeface="Times New Roman" panose="02020603050405020304" pitchFamily="18" charset="0"/>
              </a:rPr>
              <a:t>Deux autres arguments permettent d’appuyer l’accélération de son adoption : </a:t>
            </a:r>
            <a:endParaRPr lang="en-GB" sz="1100">
              <a:effectLst/>
              <a:latin typeface="Calibri" panose="020F0502020204030204" pitchFamily="34" charset="0"/>
              <a:ea typeface="Calibri" panose="020F0502020204030204" pitchFamily="34" charset="0"/>
            </a:endParaRPr>
          </a:p>
          <a:p>
            <a:pPr marL="1600200" lvl="3" indent="-228600">
              <a:spcAft>
                <a:spcPts val="750"/>
              </a:spcAft>
              <a:buFont typeface="Symbol" panose="05050102010706020507" pitchFamily="18" charset="2"/>
              <a:buChar char=""/>
            </a:pPr>
            <a:r>
              <a:rPr lang="en-GB" sz="1100" b="1">
                <a:effectLst/>
                <a:latin typeface="Calibri" panose="020F0502020204030204" pitchFamily="34" charset="0"/>
                <a:ea typeface="Times New Roman" panose="02020603050405020304" pitchFamily="18" charset="0"/>
              </a:rPr>
              <a:t>Traitement et analyse de grandes bases de données</a:t>
            </a:r>
            <a:r>
              <a:rPr lang="en-GB" sz="1100">
                <a:effectLst/>
                <a:latin typeface="Calibri" panose="020F0502020204030204" pitchFamily="34" charset="0"/>
                <a:ea typeface="Times New Roman" panose="02020603050405020304" pitchFamily="18" charset="0"/>
              </a:rPr>
              <a:t> </a:t>
            </a:r>
            <a:r>
              <a:rPr lang="en-GB" sz="1100" b="1">
                <a:effectLst/>
                <a:latin typeface="Calibri" panose="020F0502020204030204" pitchFamily="34" charset="0"/>
                <a:ea typeface="Times New Roman" panose="02020603050405020304" pitchFamily="18" charset="0"/>
              </a:rPr>
              <a:t>et multiplicité des sources d’information</a:t>
            </a:r>
            <a:r>
              <a:rPr lang="en-GB" sz="1100">
                <a:effectLst/>
                <a:latin typeface="Calibri" panose="020F0502020204030204" pitchFamily="34" charset="0"/>
                <a:ea typeface="Times New Roman" panose="02020603050405020304" pitchFamily="18" charset="0"/>
              </a:rPr>
              <a:t> : Besoin La multiplicité des variables, des risques et des sources d’informations du fait de la perma crise, ont généré le besoin d’analyser avec précision des quantités importantes de données et d’identifier des tendances, des modèles et des informations sur le marché qui, autrement, resteraient inconnus par des moyens manuels et cela, en temps réel.</a:t>
            </a:r>
            <a:endParaRPr lang="en-GB" sz="1100">
              <a:effectLst/>
              <a:latin typeface="Calibri" panose="020F0502020204030204" pitchFamily="34" charset="0"/>
              <a:ea typeface="Calibri" panose="020F0502020204030204" pitchFamily="34" charset="0"/>
            </a:endParaRPr>
          </a:p>
          <a:p>
            <a:pPr marL="1600200" lvl="3" indent="-228600">
              <a:spcAft>
                <a:spcPts val="750"/>
              </a:spcAft>
              <a:buFont typeface="Symbol" panose="05050102010706020507" pitchFamily="18" charset="2"/>
              <a:buChar char=""/>
            </a:pPr>
            <a:r>
              <a:rPr lang="en-GB" sz="1100" b="1">
                <a:effectLst/>
                <a:latin typeface="Calibri" panose="020F0502020204030204" pitchFamily="34" charset="0"/>
                <a:ea typeface="Times New Roman" panose="02020603050405020304" pitchFamily="18" charset="0"/>
              </a:rPr>
              <a:t>Réduction de coûts</a:t>
            </a:r>
            <a:r>
              <a:rPr lang="en-GB" sz="1100">
                <a:effectLst/>
                <a:latin typeface="Calibri" panose="020F0502020204030204" pitchFamily="34" charset="0"/>
                <a:ea typeface="Times New Roman" panose="02020603050405020304" pitchFamily="18" charset="0"/>
              </a:rPr>
              <a:t> : Le recherche encore plus importante d’optimisation des coûts est une forme de résilience face à la multiplicité des risques et du haut niveau d’incertitude en période de perma crise : l’utilisation de l’AI permet de réduire significativement ses coûts (cf use case sur l’IA)</a:t>
            </a:r>
            <a:endParaRPr lang="en-GB" sz="1100">
              <a:effectLst/>
              <a:latin typeface="Calibri" panose="020F0502020204030204" pitchFamily="34" charset="0"/>
              <a:ea typeface="Calibri" panose="020F0502020204030204" pitchFamily="34" charset="0"/>
            </a:endParaRPr>
          </a:p>
          <a:p>
            <a:endParaRPr lang="en-GB"/>
          </a:p>
          <a:p>
            <a:endParaRPr lang="en-GB">
              <a:effectLst/>
            </a:endParaRPr>
          </a:p>
          <a:p>
            <a:pPr marL="742950" lvl="1" indent="-285750">
              <a:spcAft>
                <a:spcPts val="750"/>
              </a:spcAft>
              <a:buFont typeface="Courier New" panose="02070309020205020404" pitchFamily="49" charset="0"/>
              <a:buChar char="o"/>
            </a:pPr>
            <a:r>
              <a:rPr lang="en-GB" sz="1100">
                <a:effectLst/>
                <a:latin typeface="Calibri" panose="020F0502020204030204" pitchFamily="34" charset="0"/>
                <a:ea typeface="Times New Roman" panose="02020603050405020304" pitchFamily="18" charset="0"/>
              </a:rPr>
              <a:t>McKinsey  Global Institute : Notes from the AI frontier, </a:t>
            </a:r>
            <a:r>
              <a:rPr lang="en-GB" sz="900" u="sng">
                <a:solidFill>
                  <a:srgbClr val="2C6EF2"/>
                </a:solidFill>
                <a:effectLst/>
                <a:latin typeface="Calibri" panose="020F0502020204030204" pitchFamily="34" charset="0"/>
                <a:ea typeface="Times New Roman" panose="02020603050405020304" pitchFamily="18" charset="0"/>
                <a:hlinkClick r:id="rId4"/>
              </a:rPr>
              <a:t>https://www.mckinsey.com/~/media/McKinsey/Featured%20Insights/Artificial%20Intelligence/Notes%20from%20the%20frontier%20Modeling%20the%20impact%20of%20AI%20on%20the%20world%20economy/MGI-Notes-from-the-AI-frontier-Modeling-the-impact-of-AI-on-the-world-economy-September-2018.ashx?fbclid=IwAR247ocRpErx-HmMLb9O-7OdP2OAO4kF-Ve17AdLCwakZyfDeQoSktdDB3E</a:t>
            </a:r>
            <a:endParaRPr lang="en-GB" sz="1100">
              <a:effectLst/>
              <a:latin typeface="Calibri" panose="020F0502020204030204" pitchFamily="34" charset="0"/>
              <a:ea typeface="Calibri" panose="020F0502020204030204" pitchFamily="34" charset="0"/>
            </a:endParaRPr>
          </a:p>
          <a:p>
            <a:pPr marL="742950" lvl="1" indent="-285750">
              <a:spcAft>
                <a:spcPts val="750"/>
              </a:spcAft>
              <a:buFont typeface="Courier New" panose="02070309020205020404" pitchFamily="49" charset="0"/>
              <a:buChar char="o"/>
            </a:pPr>
            <a:r>
              <a:rPr lang="en-GB" sz="1100">
                <a:effectLst/>
                <a:latin typeface="Calibri" panose="020F0502020204030204" pitchFamily="34" charset="0"/>
                <a:ea typeface="Times New Roman" panose="02020603050405020304" pitchFamily="18" charset="0"/>
              </a:rPr>
              <a:t>CNIL : Article “L’utilisation de l’IA dans la gestion de la crise sanitaire », </a:t>
            </a:r>
            <a:r>
              <a:rPr lang="en-GB" sz="900" u="sng">
                <a:solidFill>
                  <a:srgbClr val="2C6EF2"/>
                </a:solidFill>
                <a:effectLst/>
                <a:latin typeface="Calibri" panose="020F0502020204030204" pitchFamily="34" charset="0"/>
                <a:ea typeface="Times New Roman" panose="02020603050405020304" pitchFamily="18" charset="0"/>
                <a:hlinkClick r:id="rId5"/>
              </a:rPr>
              <a:t>https://linc.cnil.fr/lutilisation-de-lia-dans-la-gestion-de-la-crise-sanitaire</a:t>
            </a:r>
            <a:endParaRPr lang="en-GB" sz="1100">
              <a:effectLst/>
              <a:latin typeface="Calibri" panose="020F0502020204030204" pitchFamily="34" charset="0"/>
              <a:ea typeface="Calibri" panose="020F0502020204030204" pitchFamily="34" charset="0"/>
            </a:endParaRPr>
          </a:p>
          <a:p>
            <a:pPr marL="742950" lvl="1" indent="-285750">
              <a:spcAft>
                <a:spcPts val="750"/>
              </a:spcAft>
              <a:buFont typeface="Courier New" panose="02070309020205020404" pitchFamily="49" charset="0"/>
              <a:buChar char="o"/>
            </a:pPr>
            <a:r>
              <a:rPr lang="en-GB" sz="1100">
                <a:effectLst/>
                <a:latin typeface="Calibri" panose="020F0502020204030204" pitchFamily="34" charset="0"/>
                <a:ea typeface="Times New Roman" panose="02020603050405020304" pitchFamily="18" charset="0"/>
              </a:rPr>
              <a:t>OECD : “Artificial Intelligence, Machine Learning and Big Data in Financ”e</a:t>
            </a:r>
            <a:r>
              <a:rPr lang="en-GB" sz="900">
                <a:effectLst/>
                <a:latin typeface="Calibri" panose="020F0502020204030204" pitchFamily="34" charset="0"/>
                <a:ea typeface="Times New Roman" panose="02020603050405020304" pitchFamily="18" charset="0"/>
              </a:rPr>
              <a:t>, </a:t>
            </a:r>
            <a:r>
              <a:rPr lang="en-GB" sz="900" u="sng">
                <a:solidFill>
                  <a:srgbClr val="2C6EF2"/>
                </a:solidFill>
                <a:effectLst/>
                <a:latin typeface="Calibri" panose="020F0502020204030204" pitchFamily="34" charset="0"/>
                <a:ea typeface="Times New Roman" panose="02020603050405020304" pitchFamily="18" charset="0"/>
                <a:hlinkClick r:id="rId6"/>
              </a:rPr>
              <a:t>https://www.oecd.org/finance/financial-markets/Artificial-intelligence-machine-learning-big-data-in-finance.pdf</a:t>
            </a:r>
            <a:endParaRPr lang="en-GB"/>
          </a:p>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pPr/>
              <a:t>31</a:t>
            </a:fld>
            <a:endParaRPr lang="en-GB"/>
          </a:p>
        </p:txBody>
      </p:sp>
    </p:spTree>
    <p:extLst>
      <p:ext uri="{BB962C8B-B14F-4D97-AF65-F5344CB8AC3E}">
        <p14:creationId xmlns:p14="http://schemas.microsoft.com/office/powerpoint/2010/main" val="7130274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Source(s):</a:t>
            </a:r>
            <a:endParaRPr lang="en-GB">
              <a:solidFill>
                <a:schemeClr val="accent1"/>
              </a:solidFill>
            </a:endParaRPr>
          </a:p>
          <a:p>
            <a:pPr marL="174982" indent="-174982">
              <a:buFont typeface="Arial" panose="020B0604020202020204" pitchFamily="34" charset="0"/>
              <a:buChar char="•"/>
            </a:pPr>
            <a:r>
              <a:rPr lang="en-GB"/>
              <a:t>20%: </a:t>
            </a:r>
            <a:r>
              <a:rPr lang="en-GB" b="1"/>
              <a:t>PwC</a:t>
            </a:r>
            <a:r>
              <a:rPr lang="en-GB"/>
              <a:t> Global Crisis Survey 2021, https://www.pwc.co.uk/forensic-services/assets/documents/global-crisis-survey-2021.pdf, Page 9</a:t>
            </a:r>
          </a:p>
          <a:p>
            <a:pPr marL="174982" indent="-174982" defTabSz="933237">
              <a:buFont typeface="Arial" panose="020B0604020202020204" pitchFamily="34" charset="0"/>
              <a:buChar char="•"/>
              <a:defRPr/>
            </a:pPr>
            <a:r>
              <a:rPr lang="en-GB"/>
              <a:t>95%: </a:t>
            </a:r>
            <a:r>
              <a:rPr lang="en-GB" b="1"/>
              <a:t>PwC,</a:t>
            </a:r>
            <a:r>
              <a:rPr lang="en-GB"/>
              <a:t> 2022, https://blog.hubspot.com/service/crisis-management-stats</a:t>
            </a:r>
          </a:p>
          <a:p>
            <a:pPr marL="174982" indent="-174982">
              <a:buFont typeface="Arial" panose="020B0604020202020204" pitchFamily="34" charset="0"/>
              <a:buChar char="•"/>
            </a:pPr>
            <a:r>
              <a:rPr lang="en-GB"/>
              <a:t>70%: </a:t>
            </a:r>
            <a:r>
              <a:rPr lang="en-GB" b="1"/>
              <a:t>HBS,</a:t>
            </a:r>
            <a:r>
              <a:rPr lang="en-GB"/>
              <a:t> 2010, https://hbr.org/2010/03/roaring-out-of-recession</a:t>
            </a:r>
          </a:p>
          <a:p>
            <a:pPr marL="174982" indent="-174982">
              <a:buFont typeface="Arial" panose="020B0604020202020204" pitchFamily="34" charset="0"/>
              <a:buChar char="•"/>
            </a:pPr>
            <a:r>
              <a:rPr lang="en-GB"/>
              <a:t>Chart on the right: OW</a:t>
            </a:r>
          </a:p>
        </p:txBody>
      </p:sp>
      <p:sp>
        <p:nvSpPr>
          <p:cNvPr id="4" name="Slide Number Placeholder 3"/>
          <p:cNvSpPr>
            <a:spLocks noGrp="1"/>
          </p:cNvSpPr>
          <p:nvPr>
            <p:ph type="sldNum" sz="quarter" idx="5"/>
          </p:nvPr>
        </p:nvSpPr>
        <p:spPr/>
        <p:txBody>
          <a:bodyPr/>
          <a:lstStyle/>
          <a:p>
            <a:pPr defTabSz="933237">
              <a:defRPr/>
            </a:pPr>
            <a:fld id="{7324DA73-AE27-4433-BD53-3E1DB61918F0}" type="slidenum">
              <a:rPr lang="en-GB" smtClean="0">
                <a:solidFill>
                  <a:srgbClr val="000000"/>
                </a:solidFill>
                <a:latin typeface="Calibri"/>
              </a:rPr>
              <a:pPr defTabSz="933237">
                <a:defRPr/>
              </a:pPr>
              <a:t>32</a:t>
            </a:fld>
            <a:endParaRPr lang="en-GB">
              <a:solidFill>
                <a:srgbClr val="000000"/>
              </a:solidFill>
              <a:latin typeface="Calibri"/>
            </a:endParaRPr>
          </a:p>
        </p:txBody>
      </p:sp>
    </p:spTree>
    <p:extLst>
      <p:ext uri="{BB962C8B-B14F-4D97-AF65-F5344CB8AC3E}">
        <p14:creationId xmlns:p14="http://schemas.microsoft.com/office/powerpoint/2010/main" val="5586170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Source(s):</a:t>
            </a:r>
          </a:p>
          <a:p>
            <a:pPr marL="174982" indent="-174982">
              <a:buFont typeface="Arial" panose="020B0604020202020204" pitchFamily="34" charset="0"/>
              <a:buChar char="•"/>
            </a:pPr>
            <a:r>
              <a:rPr lang="en-GB"/>
              <a:t>Data from KS on </a:t>
            </a:r>
            <a:r>
              <a:rPr lang="en-GB" b="1"/>
              <a:t>Refinitiv</a:t>
            </a:r>
            <a:r>
              <a:rPr lang="en-GB"/>
              <a:t>, rebased (See Analyses / Folder 40), based on </a:t>
            </a:r>
            <a:r>
              <a:rPr lang="en-GB" b="1"/>
              <a:t>S&amp;P</a:t>
            </a:r>
            <a:r>
              <a:rPr lang="en-GB"/>
              <a:t> article: https://www.spglobal.com/en/research-insights/articles/battle-of-factors-low-volatility-versus-high-beta</a:t>
            </a:r>
          </a:p>
          <a:p>
            <a:endParaRPr lang="en-GB"/>
          </a:p>
        </p:txBody>
      </p:sp>
      <p:sp>
        <p:nvSpPr>
          <p:cNvPr id="4" name="Slide Number Placeholder 3"/>
          <p:cNvSpPr>
            <a:spLocks noGrp="1"/>
          </p:cNvSpPr>
          <p:nvPr>
            <p:ph type="sldNum" sz="quarter" idx="5"/>
          </p:nvPr>
        </p:nvSpPr>
        <p:spPr/>
        <p:txBody>
          <a:bodyPr/>
          <a:lstStyle/>
          <a:p>
            <a:pPr defTabSz="933237">
              <a:defRPr/>
            </a:pPr>
            <a:fld id="{7324DA73-AE27-4433-BD53-3E1DB61918F0}" type="slidenum">
              <a:rPr lang="en-GB" smtClean="0">
                <a:solidFill>
                  <a:srgbClr val="000000"/>
                </a:solidFill>
                <a:latin typeface="Calibri"/>
              </a:rPr>
              <a:pPr defTabSz="933237">
                <a:defRPr/>
              </a:pPr>
              <a:t>33</a:t>
            </a:fld>
            <a:endParaRPr lang="en-GB">
              <a:solidFill>
                <a:srgbClr val="000000"/>
              </a:solidFill>
              <a:latin typeface="Calibri"/>
            </a:endParaRPr>
          </a:p>
        </p:txBody>
      </p:sp>
    </p:spTree>
    <p:extLst>
      <p:ext uri="{BB962C8B-B14F-4D97-AF65-F5344CB8AC3E}">
        <p14:creationId xmlns:p14="http://schemas.microsoft.com/office/powerpoint/2010/main" val="3720876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34</a:t>
            </a:fld>
            <a:endParaRPr lang="en-GB"/>
          </a:p>
        </p:txBody>
      </p:sp>
    </p:spTree>
    <p:extLst>
      <p:ext uri="{BB962C8B-B14F-4D97-AF65-F5344CB8AC3E}">
        <p14:creationId xmlns:p14="http://schemas.microsoft.com/office/powerpoint/2010/main" val="18182011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94785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36</a:t>
            </a:fld>
            <a:endParaRPr lang="en-GB"/>
          </a:p>
        </p:txBody>
      </p:sp>
    </p:spTree>
    <p:extLst>
      <p:ext uri="{BB962C8B-B14F-4D97-AF65-F5344CB8AC3E}">
        <p14:creationId xmlns:p14="http://schemas.microsoft.com/office/powerpoint/2010/main" val="22764975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37</a:t>
            </a:fld>
            <a:endParaRPr lang="en-GB"/>
          </a:p>
        </p:txBody>
      </p:sp>
    </p:spTree>
    <p:extLst>
      <p:ext uri="{BB962C8B-B14F-4D97-AF65-F5344CB8AC3E}">
        <p14:creationId xmlns:p14="http://schemas.microsoft.com/office/powerpoint/2010/main" val="36430589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38</a:t>
            </a:fld>
            <a:endParaRPr lang="en-GB"/>
          </a:p>
        </p:txBody>
      </p:sp>
    </p:spTree>
    <p:extLst>
      <p:ext uri="{BB962C8B-B14F-4D97-AF65-F5344CB8AC3E}">
        <p14:creationId xmlns:p14="http://schemas.microsoft.com/office/powerpoint/2010/main" val="41600016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39</a:t>
            </a:fld>
            <a:endParaRPr lang="en-GB"/>
          </a:p>
        </p:txBody>
      </p:sp>
    </p:spTree>
    <p:extLst>
      <p:ext uri="{BB962C8B-B14F-4D97-AF65-F5344CB8AC3E}">
        <p14:creationId xmlns:p14="http://schemas.microsoft.com/office/powerpoint/2010/main" val="3592957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4</a:t>
            </a:fld>
            <a:endParaRPr lang="en-GB"/>
          </a:p>
        </p:txBody>
      </p:sp>
    </p:spTree>
    <p:extLst>
      <p:ext uri="{BB962C8B-B14F-4D97-AF65-F5344CB8AC3E}">
        <p14:creationId xmlns:p14="http://schemas.microsoft.com/office/powerpoint/2010/main" val="35760212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41</a:t>
            </a:fld>
            <a:endParaRPr lang="en-GB"/>
          </a:p>
        </p:txBody>
      </p:sp>
    </p:spTree>
    <p:extLst>
      <p:ext uri="{BB962C8B-B14F-4D97-AF65-F5344CB8AC3E}">
        <p14:creationId xmlns:p14="http://schemas.microsoft.com/office/powerpoint/2010/main" val="2459212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43</a:t>
            </a:fld>
            <a:endParaRPr lang="en-GB"/>
          </a:p>
        </p:txBody>
      </p:sp>
    </p:spTree>
    <p:extLst>
      <p:ext uri="{BB962C8B-B14F-4D97-AF65-F5344CB8AC3E}">
        <p14:creationId xmlns:p14="http://schemas.microsoft.com/office/powerpoint/2010/main" val="7519407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44</a:t>
            </a:fld>
            <a:endParaRPr lang="en-GB"/>
          </a:p>
        </p:txBody>
      </p:sp>
    </p:spTree>
    <p:extLst>
      <p:ext uri="{BB962C8B-B14F-4D97-AF65-F5344CB8AC3E}">
        <p14:creationId xmlns:p14="http://schemas.microsoft.com/office/powerpoint/2010/main" val="22494151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9452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GB" b="1"/>
              <a:t>Source:</a:t>
            </a:r>
            <a:br>
              <a:rPr lang="en-GB"/>
            </a:br>
            <a:r>
              <a:rPr lang="en-GB"/>
              <a:t>OW</a:t>
            </a:r>
          </a:p>
          <a:p>
            <a:endParaRPr lang="en-GB"/>
          </a:p>
        </p:txBody>
      </p:sp>
      <p:sp>
        <p:nvSpPr>
          <p:cNvPr id="4" name="Slide Number Placeholder 3"/>
          <p:cNvSpPr>
            <a:spLocks noGrp="1"/>
          </p:cNvSpPr>
          <p:nvPr>
            <p:ph type="sldNum" sz="quarter" idx="5"/>
          </p:nvPr>
        </p:nvSpPr>
        <p:spPr/>
        <p:txBody>
          <a:bodyPr/>
          <a:lstStyle/>
          <a:p>
            <a:pPr defTabSz="933237">
              <a:defRPr/>
            </a:pPr>
            <a:fld id="{7324DA73-AE27-4433-BD53-3E1DB61918F0}" type="slidenum">
              <a:rPr lang="en-GB" smtClean="0">
                <a:solidFill>
                  <a:srgbClr val="000000"/>
                </a:solidFill>
                <a:latin typeface="Calibri"/>
              </a:rPr>
              <a:pPr defTabSz="933237">
                <a:defRPr/>
              </a:pPr>
              <a:t>46</a:t>
            </a:fld>
            <a:endParaRPr lang="en-GB">
              <a:solidFill>
                <a:srgbClr val="000000"/>
              </a:solidFill>
              <a:latin typeface="Calibri"/>
            </a:endParaRPr>
          </a:p>
        </p:txBody>
      </p:sp>
    </p:spTree>
    <p:extLst>
      <p:ext uri="{BB962C8B-B14F-4D97-AF65-F5344CB8AC3E}">
        <p14:creationId xmlns:p14="http://schemas.microsoft.com/office/powerpoint/2010/main" val="22633205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GB" b="1"/>
              <a:t>Source:</a:t>
            </a:r>
            <a:br>
              <a:rPr lang="en-GB"/>
            </a:br>
            <a:r>
              <a:rPr lang="en-GB"/>
              <a:t>OW</a:t>
            </a:r>
          </a:p>
          <a:p>
            <a:endParaRPr lang="en-GB"/>
          </a:p>
        </p:txBody>
      </p:sp>
      <p:sp>
        <p:nvSpPr>
          <p:cNvPr id="4" name="Slide Number Placeholder 3"/>
          <p:cNvSpPr>
            <a:spLocks noGrp="1"/>
          </p:cNvSpPr>
          <p:nvPr>
            <p:ph type="sldNum" sz="quarter" idx="5"/>
          </p:nvPr>
        </p:nvSpPr>
        <p:spPr/>
        <p:txBody>
          <a:bodyPr/>
          <a:lstStyle/>
          <a:p>
            <a:pPr defTabSz="933237">
              <a:defRPr/>
            </a:pPr>
            <a:fld id="{7324DA73-AE27-4433-BD53-3E1DB61918F0}" type="slidenum">
              <a:rPr lang="en-GB" smtClean="0">
                <a:solidFill>
                  <a:srgbClr val="000000"/>
                </a:solidFill>
                <a:latin typeface="Calibri"/>
              </a:rPr>
              <a:pPr defTabSz="933237">
                <a:defRPr/>
              </a:pPr>
              <a:t>47</a:t>
            </a:fld>
            <a:endParaRPr lang="en-GB">
              <a:solidFill>
                <a:srgbClr val="000000"/>
              </a:solidFill>
              <a:latin typeface="Calibri"/>
            </a:endParaRPr>
          </a:p>
        </p:txBody>
      </p:sp>
    </p:spTree>
    <p:extLst>
      <p:ext uri="{BB962C8B-B14F-4D97-AF65-F5344CB8AC3E}">
        <p14:creationId xmlns:p14="http://schemas.microsoft.com/office/powerpoint/2010/main" val="29960608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GB" b="1"/>
              <a:t>Source:</a:t>
            </a:r>
            <a:br>
              <a:rPr lang="en-GB"/>
            </a:br>
            <a:r>
              <a:rPr lang="en-GB"/>
              <a:t>OW</a:t>
            </a:r>
          </a:p>
          <a:p>
            <a:endParaRPr lang="en-GB"/>
          </a:p>
        </p:txBody>
      </p:sp>
      <p:sp>
        <p:nvSpPr>
          <p:cNvPr id="4" name="Slide Number Placeholder 3"/>
          <p:cNvSpPr>
            <a:spLocks noGrp="1"/>
          </p:cNvSpPr>
          <p:nvPr>
            <p:ph type="sldNum" sz="quarter" idx="5"/>
          </p:nvPr>
        </p:nvSpPr>
        <p:spPr/>
        <p:txBody>
          <a:bodyPr/>
          <a:lstStyle/>
          <a:p>
            <a:pPr defTabSz="933237">
              <a:defRPr/>
            </a:pPr>
            <a:fld id="{7324DA73-AE27-4433-BD53-3E1DB61918F0}" type="slidenum">
              <a:rPr lang="en-GB" smtClean="0">
                <a:solidFill>
                  <a:srgbClr val="000000"/>
                </a:solidFill>
                <a:latin typeface="Calibri"/>
              </a:rPr>
              <a:pPr defTabSz="933237">
                <a:defRPr/>
              </a:pPr>
              <a:t>48</a:t>
            </a:fld>
            <a:endParaRPr lang="en-GB">
              <a:solidFill>
                <a:srgbClr val="000000"/>
              </a:solidFill>
              <a:latin typeface="Calibri"/>
            </a:endParaRPr>
          </a:p>
        </p:txBody>
      </p:sp>
    </p:spTree>
    <p:extLst>
      <p:ext uri="{BB962C8B-B14F-4D97-AF65-F5344CB8AC3E}">
        <p14:creationId xmlns:p14="http://schemas.microsoft.com/office/powerpoint/2010/main" val="25562676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GB" b="1"/>
              <a:t>Source:</a:t>
            </a:r>
            <a:br>
              <a:rPr lang="en-GB"/>
            </a:br>
            <a:r>
              <a:rPr lang="en-GB"/>
              <a:t>OW</a:t>
            </a:r>
          </a:p>
          <a:p>
            <a:endParaRPr lang="en-GB"/>
          </a:p>
        </p:txBody>
      </p:sp>
      <p:sp>
        <p:nvSpPr>
          <p:cNvPr id="4" name="Slide Number Placeholder 3"/>
          <p:cNvSpPr>
            <a:spLocks noGrp="1"/>
          </p:cNvSpPr>
          <p:nvPr>
            <p:ph type="sldNum" sz="quarter" idx="5"/>
          </p:nvPr>
        </p:nvSpPr>
        <p:spPr/>
        <p:txBody>
          <a:bodyPr/>
          <a:lstStyle/>
          <a:p>
            <a:pPr defTabSz="933237">
              <a:defRPr/>
            </a:pPr>
            <a:fld id="{7324DA73-AE27-4433-BD53-3E1DB61918F0}" type="slidenum">
              <a:rPr lang="en-GB" smtClean="0">
                <a:solidFill>
                  <a:srgbClr val="000000"/>
                </a:solidFill>
                <a:latin typeface="Calibri"/>
              </a:rPr>
              <a:pPr defTabSz="933237">
                <a:defRPr/>
              </a:pPr>
              <a:t>49</a:t>
            </a:fld>
            <a:endParaRPr lang="en-GB">
              <a:solidFill>
                <a:srgbClr val="000000"/>
              </a:solidFill>
              <a:latin typeface="Calibri"/>
            </a:endParaRPr>
          </a:p>
        </p:txBody>
      </p:sp>
    </p:spTree>
    <p:extLst>
      <p:ext uri="{BB962C8B-B14F-4D97-AF65-F5344CB8AC3E}">
        <p14:creationId xmlns:p14="http://schemas.microsoft.com/office/powerpoint/2010/main" val="5394479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0</a:t>
            </a:fld>
            <a:endParaRPr lang="en-GB"/>
          </a:p>
        </p:txBody>
      </p:sp>
    </p:spTree>
    <p:extLst>
      <p:ext uri="{BB962C8B-B14F-4D97-AF65-F5344CB8AC3E}">
        <p14:creationId xmlns:p14="http://schemas.microsoft.com/office/powerpoint/2010/main" val="29006907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1</a:t>
            </a:fld>
            <a:endParaRPr lang="en-GB"/>
          </a:p>
        </p:txBody>
      </p:sp>
    </p:spTree>
    <p:extLst>
      <p:ext uri="{BB962C8B-B14F-4D97-AF65-F5344CB8AC3E}">
        <p14:creationId xmlns:p14="http://schemas.microsoft.com/office/powerpoint/2010/main" val="3229693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22359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2</a:t>
            </a:fld>
            <a:endParaRPr lang="en-GB"/>
          </a:p>
        </p:txBody>
      </p:sp>
    </p:spTree>
    <p:extLst>
      <p:ext uri="{BB962C8B-B14F-4D97-AF65-F5344CB8AC3E}">
        <p14:creationId xmlns:p14="http://schemas.microsoft.com/office/powerpoint/2010/main" val="19201328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3</a:t>
            </a:fld>
            <a:endParaRPr lang="en-GB"/>
          </a:p>
        </p:txBody>
      </p:sp>
    </p:spTree>
    <p:extLst>
      <p:ext uri="{BB962C8B-B14F-4D97-AF65-F5344CB8AC3E}">
        <p14:creationId xmlns:p14="http://schemas.microsoft.com/office/powerpoint/2010/main" val="13265218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4</a:t>
            </a:fld>
            <a:endParaRPr lang="en-GB"/>
          </a:p>
        </p:txBody>
      </p:sp>
    </p:spTree>
    <p:extLst>
      <p:ext uri="{BB962C8B-B14F-4D97-AF65-F5344CB8AC3E}">
        <p14:creationId xmlns:p14="http://schemas.microsoft.com/office/powerpoint/2010/main" val="24391892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5</a:t>
            </a:fld>
            <a:endParaRPr lang="en-GB"/>
          </a:p>
        </p:txBody>
      </p:sp>
    </p:spTree>
    <p:extLst>
      <p:ext uri="{BB962C8B-B14F-4D97-AF65-F5344CB8AC3E}">
        <p14:creationId xmlns:p14="http://schemas.microsoft.com/office/powerpoint/2010/main" val="12597009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6</a:t>
            </a:fld>
            <a:endParaRPr lang="en-GB"/>
          </a:p>
        </p:txBody>
      </p:sp>
    </p:spTree>
    <p:extLst>
      <p:ext uri="{BB962C8B-B14F-4D97-AF65-F5344CB8AC3E}">
        <p14:creationId xmlns:p14="http://schemas.microsoft.com/office/powerpoint/2010/main" val="26193064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7</a:t>
            </a:fld>
            <a:endParaRPr lang="en-GB"/>
          </a:p>
        </p:txBody>
      </p:sp>
    </p:spTree>
    <p:extLst>
      <p:ext uri="{BB962C8B-B14F-4D97-AF65-F5344CB8AC3E}">
        <p14:creationId xmlns:p14="http://schemas.microsoft.com/office/powerpoint/2010/main" val="309632516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8</a:t>
            </a:fld>
            <a:endParaRPr lang="en-GB"/>
          </a:p>
        </p:txBody>
      </p:sp>
    </p:spTree>
    <p:extLst>
      <p:ext uri="{BB962C8B-B14F-4D97-AF65-F5344CB8AC3E}">
        <p14:creationId xmlns:p14="http://schemas.microsoft.com/office/powerpoint/2010/main" val="7167078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9</a:t>
            </a:fld>
            <a:endParaRPr lang="en-GB"/>
          </a:p>
        </p:txBody>
      </p:sp>
    </p:spTree>
    <p:extLst>
      <p:ext uri="{BB962C8B-B14F-4D97-AF65-F5344CB8AC3E}">
        <p14:creationId xmlns:p14="http://schemas.microsoft.com/office/powerpoint/2010/main" val="12618247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0</a:t>
            </a:fld>
            <a:endParaRPr lang="en-GB"/>
          </a:p>
        </p:txBody>
      </p:sp>
    </p:spTree>
    <p:extLst>
      <p:ext uri="{BB962C8B-B14F-4D97-AF65-F5344CB8AC3E}">
        <p14:creationId xmlns:p14="http://schemas.microsoft.com/office/powerpoint/2010/main" val="13583780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1</a:t>
            </a:fld>
            <a:endParaRPr lang="en-GB"/>
          </a:p>
        </p:txBody>
      </p:sp>
    </p:spTree>
    <p:extLst>
      <p:ext uri="{BB962C8B-B14F-4D97-AF65-F5344CB8AC3E}">
        <p14:creationId xmlns:p14="http://schemas.microsoft.com/office/powerpoint/2010/main" val="2094151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a:t>
            </a:fld>
            <a:endParaRPr lang="en-GB"/>
          </a:p>
        </p:txBody>
      </p:sp>
    </p:spTree>
    <p:extLst>
      <p:ext uri="{BB962C8B-B14F-4D97-AF65-F5344CB8AC3E}">
        <p14:creationId xmlns:p14="http://schemas.microsoft.com/office/powerpoint/2010/main" val="8637571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2</a:t>
            </a:fld>
            <a:endParaRPr lang="en-GB"/>
          </a:p>
        </p:txBody>
      </p:sp>
    </p:spTree>
    <p:extLst>
      <p:ext uri="{BB962C8B-B14F-4D97-AF65-F5344CB8AC3E}">
        <p14:creationId xmlns:p14="http://schemas.microsoft.com/office/powerpoint/2010/main" val="17366561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3</a:t>
            </a:fld>
            <a:endParaRPr lang="en-GB"/>
          </a:p>
        </p:txBody>
      </p:sp>
    </p:spTree>
    <p:extLst>
      <p:ext uri="{BB962C8B-B14F-4D97-AF65-F5344CB8AC3E}">
        <p14:creationId xmlns:p14="http://schemas.microsoft.com/office/powerpoint/2010/main" val="38912792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4</a:t>
            </a:fld>
            <a:endParaRPr lang="en-GB"/>
          </a:p>
        </p:txBody>
      </p:sp>
    </p:spTree>
    <p:extLst>
      <p:ext uri="{BB962C8B-B14F-4D97-AF65-F5344CB8AC3E}">
        <p14:creationId xmlns:p14="http://schemas.microsoft.com/office/powerpoint/2010/main" val="28700253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5</a:t>
            </a:fld>
            <a:endParaRPr lang="en-GB"/>
          </a:p>
        </p:txBody>
      </p:sp>
    </p:spTree>
    <p:extLst>
      <p:ext uri="{BB962C8B-B14F-4D97-AF65-F5344CB8AC3E}">
        <p14:creationId xmlns:p14="http://schemas.microsoft.com/office/powerpoint/2010/main" val="517533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6</a:t>
            </a:fld>
            <a:endParaRPr lang="en-GB"/>
          </a:p>
        </p:txBody>
      </p:sp>
    </p:spTree>
    <p:extLst>
      <p:ext uri="{BB962C8B-B14F-4D97-AF65-F5344CB8AC3E}">
        <p14:creationId xmlns:p14="http://schemas.microsoft.com/office/powerpoint/2010/main" val="39331716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7</a:t>
            </a:fld>
            <a:endParaRPr lang="en-GB"/>
          </a:p>
        </p:txBody>
      </p:sp>
    </p:spTree>
    <p:extLst>
      <p:ext uri="{BB962C8B-B14F-4D97-AF65-F5344CB8AC3E}">
        <p14:creationId xmlns:p14="http://schemas.microsoft.com/office/powerpoint/2010/main" val="25575996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8</a:t>
            </a:fld>
            <a:endParaRPr lang="en-GB"/>
          </a:p>
        </p:txBody>
      </p:sp>
    </p:spTree>
    <p:extLst>
      <p:ext uri="{BB962C8B-B14F-4D97-AF65-F5344CB8AC3E}">
        <p14:creationId xmlns:p14="http://schemas.microsoft.com/office/powerpoint/2010/main" val="19120625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9</a:t>
            </a:fld>
            <a:endParaRPr lang="en-GB"/>
          </a:p>
        </p:txBody>
      </p:sp>
    </p:spTree>
    <p:extLst>
      <p:ext uri="{BB962C8B-B14F-4D97-AF65-F5344CB8AC3E}">
        <p14:creationId xmlns:p14="http://schemas.microsoft.com/office/powerpoint/2010/main" val="2336521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71</a:t>
            </a:fld>
            <a:endParaRPr lang="en-GB"/>
          </a:p>
        </p:txBody>
      </p:sp>
    </p:spTree>
    <p:extLst>
      <p:ext uri="{BB962C8B-B14F-4D97-AF65-F5344CB8AC3E}">
        <p14:creationId xmlns:p14="http://schemas.microsoft.com/office/powerpoint/2010/main" val="479821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52462">
              <a:defRPr/>
            </a:pPr>
            <a:fld id="{7324DA73-AE27-4433-BD53-3E1DB61918F0}" type="slidenum">
              <a:rPr lang="en-GB" smtClean="0">
                <a:solidFill>
                  <a:srgbClr val="000000"/>
                </a:solidFill>
                <a:latin typeface="Calibri"/>
              </a:rPr>
              <a:pPr defTabSz="952462">
                <a:defRPr/>
              </a:pPr>
              <a:t>7</a:t>
            </a:fld>
            <a:endParaRPr lang="en-GB">
              <a:solidFill>
                <a:srgbClr val="000000"/>
              </a:solidFill>
              <a:latin typeface="Calibri"/>
            </a:endParaRPr>
          </a:p>
        </p:txBody>
      </p:sp>
    </p:spTree>
    <p:extLst>
      <p:ext uri="{BB962C8B-B14F-4D97-AF65-F5344CB8AC3E}">
        <p14:creationId xmlns:p14="http://schemas.microsoft.com/office/powerpoint/2010/main" val="3239754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Note (from the source):</a:t>
            </a:r>
          </a:p>
          <a:p>
            <a:pPr marL="174982" indent="-174982">
              <a:buFont typeface="Arial" panose="020B0604020202020204" pitchFamily="34" charset="0"/>
              <a:buChar char="•"/>
            </a:pPr>
            <a:r>
              <a:rPr lang="en-GB" b="1">
                <a:latin typeface="+mn-lt"/>
              </a:rPr>
              <a:t>Excel Source file not provided</a:t>
            </a:r>
            <a:endParaRPr lang="en-GB">
              <a:latin typeface="+mn-lt"/>
            </a:endParaRPr>
          </a:p>
          <a:p>
            <a:r>
              <a:rPr lang="en-GB">
                <a:latin typeface="+mn-lt"/>
              </a:rPr>
              <a:t>Data presented here are from a single question in</a:t>
            </a:r>
            <a:r>
              <a:rPr lang="en-GB" baseline="0">
                <a:latin typeface="+mn-lt"/>
              </a:rPr>
              <a:t> </a:t>
            </a:r>
            <a:r>
              <a:rPr lang="en-GB">
                <a:latin typeface="+mn-lt"/>
              </a:rPr>
              <a:t>the WEF’s ‘Executive</a:t>
            </a:r>
            <a:r>
              <a:rPr lang="en-GB" baseline="0">
                <a:latin typeface="+mn-lt"/>
              </a:rPr>
              <a:t> Opinion Survey’. This had responses from </a:t>
            </a:r>
            <a:r>
              <a:rPr lang="en-GB" b="1" baseline="0">
                <a:latin typeface="+mn-lt"/>
              </a:rPr>
              <a:t>12,361 </a:t>
            </a:r>
            <a:r>
              <a:rPr lang="en-GB" baseline="0">
                <a:latin typeface="+mn-lt"/>
              </a:rPr>
              <a:t>business executives from 124 countries around the world who were asked to </a:t>
            </a:r>
            <a:r>
              <a:rPr lang="en-GB" baseline="0">
                <a:highlight>
                  <a:srgbClr val="FFFF00"/>
                </a:highlight>
                <a:latin typeface="+mn-lt"/>
              </a:rPr>
              <a:t>give their opinions on the </a:t>
            </a:r>
            <a:r>
              <a:rPr lang="en-GB" b="1" baseline="0">
                <a:highlight>
                  <a:srgbClr val="FFFF00"/>
                </a:highlight>
                <a:latin typeface="+mn-lt"/>
              </a:rPr>
              <a:t>top ten critical short-term threats to their country, </a:t>
            </a:r>
            <a:r>
              <a:rPr lang="en-GB" b="0" baseline="0">
                <a:highlight>
                  <a:srgbClr val="FFFF00"/>
                </a:highlight>
                <a:latin typeface="+mn-lt"/>
              </a:rPr>
              <a:t>out of a total list of 35 risks. </a:t>
            </a:r>
            <a:r>
              <a:rPr lang="en-GB" b="1" baseline="0"/>
              <a:t>Global shares for each risk are calculated by taking the simple average of all countries’ risk share and are ranked accordingly for this table.  </a:t>
            </a:r>
            <a:r>
              <a:rPr lang="en-GB" b="0" baseline="0"/>
              <a:t>Geographical demarcations are based on WEF’s classification.  </a:t>
            </a:r>
            <a:r>
              <a:rPr lang="en-GB" baseline="0"/>
              <a:t>Note: the Executive Opinion Survey 2022 was conducted from </a:t>
            </a:r>
            <a:r>
              <a:rPr lang="en-GB">
                <a:cs typeface="+mn-cs"/>
              </a:rPr>
              <a:t>May to September 2021. </a:t>
            </a:r>
          </a:p>
          <a:p>
            <a:endParaRPr lang="en-GB" b="1"/>
          </a:p>
          <a:p>
            <a:r>
              <a:rPr lang="en-GB" b="1"/>
              <a:t>Source(s):</a:t>
            </a:r>
            <a:endParaRPr lang="en-GB">
              <a:solidFill>
                <a:schemeClr val="accent1"/>
              </a:solidFill>
            </a:endParaRPr>
          </a:p>
          <a:p>
            <a:pPr marL="174982" indent="-174982" defTabSz="933237">
              <a:buFont typeface="Arial" panose="020B0604020202020204" pitchFamily="34" charset="0"/>
              <a:buChar char="•"/>
              <a:defRPr/>
            </a:pPr>
            <a:r>
              <a:rPr lang="en-GB" b="1"/>
              <a:t>OW IC </a:t>
            </a:r>
            <a:r>
              <a:rPr lang="en-GB" b="0"/>
              <a:t>sent by BD, based on </a:t>
            </a:r>
            <a:r>
              <a:rPr lang="en-GB" b="1">
                <a:latin typeface="MMC Display Condensed" panose="020B0606020203020204" pitchFamily="34" charset="0"/>
                <a:cs typeface="MMC Display Condensed" panose="020B0606020203020204" pitchFamily="34" charset="0"/>
              </a:rPr>
              <a:t>GLOBAL RISK REPORT SEP 2021 - SURVEY RESULT</a:t>
            </a:r>
            <a:endParaRPr lang="en-GB"/>
          </a:p>
        </p:txBody>
      </p:sp>
      <p:sp>
        <p:nvSpPr>
          <p:cNvPr id="4" name="Slide Number Placeholder 3"/>
          <p:cNvSpPr>
            <a:spLocks noGrp="1"/>
          </p:cNvSpPr>
          <p:nvPr>
            <p:ph type="sldNum" sz="quarter" idx="5"/>
          </p:nvPr>
        </p:nvSpPr>
        <p:spPr/>
        <p:txBody>
          <a:bodyPr/>
          <a:lstStyle/>
          <a:p>
            <a:pPr defTabSz="933237">
              <a:defRPr/>
            </a:pPr>
            <a:fld id="{7324DA73-AE27-4433-BD53-3E1DB61918F0}" type="slidenum">
              <a:rPr lang="en-GB" smtClean="0">
                <a:solidFill>
                  <a:srgbClr val="000000"/>
                </a:solidFill>
                <a:latin typeface="Calibri"/>
                <a:cs typeface="+mn-cs"/>
              </a:rPr>
              <a:pPr defTabSz="933237">
                <a:defRPr/>
              </a:pPr>
              <a:t>8</a:t>
            </a:fld>
            <a:endParaRPr lang="en-GB">
              <a:solidFill>
                <a:srgbClr val="000000"/>
              </a:solidFill>
              <a:latin typeface="Calibri"/>
              <a:cs typeface="+mn-cs"/>
            </a:endParaRPr>
          </a:p>
        </p:txBody>
      </p:sp>
    </p:spTree>
    <p:extLst>
      <p:ext uri="{BB962C8B-B14F-4D97-AF65-F5344CB8AC3E}">
        <p14:creationId xmlns:p14="http://schemas.microsoft.com/office/powerpoint/2010/main" val="1168565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pPr/>
              <a:t>9</a:t>
            </a:fld>
            <a:endParaRPr lang="en-GB"/>
          </a:p>
        </p:txBody>
      </p:sp>
    </p:spTree>
    <p:extLst>
      <p:ext uri="{BB962C8B-B14F-4D97-AF65-F5344CB8AC3E}">
        <p14:creationId xmlns:p14="http://schemas.microsoft.com/office/powerpoint/2010/main" val="29035827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svg"/><Relationship Id="rId5" Type="http://schemas.openxmlformats.org/officeDocument/2006/relationships/image" Target="../media/image4.png"/><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GB"/>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a:t>Date</a:t>
            </a:r>
            <a:br>
              <a:rPr lang="en-GB"/>
            </a:br>
            <a:br>
              <a:rPr lang="en-GB"/>
            </a:br>
            <a:r>
              <a:rPr lang="en-GB"/>
              <a:t>Presenter, Location (optional) | Presenter 2, Location 2 (optional) | etc.</a:t>
            </a:r>
          </a:p>
        </p:txBody>
      </p:sp>
      <p:sp>
        <p:nvSpPr>
          <p:cNvPr id="9" name="Endorsement">
            <a:extLst>
              <a:ext uri="{FF2B5EF4-FFF2-40B4-BE49-F238E27FC236}">
                <a16:creationId xmlns:a16="http://schemas.microsoft.com/office/drawing/2014/main" id="{DD80C291-DF21-4E58-A03B-C62353D9FF02}"/>
              </a:ext>
            </a:extLst>
          </p:cNvPr>
          <p:cNvSpPr txBox="1"/>
          <p:nvPr userDrawn="1"/>
        </p:nvSpPr>
        <p:spPr>
          <a:xfrm>
            <a:off x="457200" y="6279282"/>
            <a:ext cx="2476500" cy="153888"/>
          </a:xfrm>
          <a:prstGeom prst="rect">
            <a:avLst/>
          </a:prstGeom>
          <a:noFill/>
        </p:spPr>
        <p:txBody>
          <a:bodyPr wrap="square" lIns="0" tIns="0" rIns="0" bIns="0">
            <a:spAutoFit/>
          </a:bodyPr>
          <a:lstStyle/>
          <a:p>
            <a:r>
              <a:rPr lang="en-GB" sz="1000">
                <a:solidFill>
                  <a:schemeClr val="accent1"/>
                </a:solidFill>
              </a:rPr>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a:t>CLIENT LOGO PLACEHOLDER</a:t>
            </a:r>
            <a:br>
              <a:rPr lang="en-GB"/>
            </a:br>
            <a:r>
              <a:rPr lang="en-GB"/>
              <a:t>Delete box if no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GB" sz="1000" b="1" cap="all">
              <a:solidFill>
                <a:schemeClr val="tx1"/>
              </a:solidFill>
            </a:endParaRPr>
          </a:p>
        </p:txBody>
      </p:sp>
      <p:pic>
        <p:nvPicPr>
          <p:cNvPr id="6" name="DTP_CompanyLogo_112">
            <a:extLst>
              <a:ext uri="{FF2B5EF4-FFF2-40B4-BE49-F238E27FC236}">
                <a16:creationId xmlns:a16="http://schemas.microsoft.com/office/drawing/2014/main" id="{B4477990-A6D9-9E6A-E0D7-619B17D45D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393187"/>
            <a:ext cx="3029712" cy="35204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orient="horz" pos="2523" userDrawn="1">
          <p15:clr>
            <a:srgbClr val="FBAE40"/>
          </p15:clr>
        </p15:guide>
        <p15:guide id="5" orient="horz" pos="880" userDrawn="1">
          <p15:clr>
            <a:srgbClr val="FBAE40"/>
          </p15:clr>
        </p15:guide>
        <p15:guide id="6" orient="horz" pos="2832" userDrawn="1">
          <p15:clr>
            <a:srgbClr val="FBAE40"/>
          </p15:clr>
        </p15:guide>
        <p15:guide id="8" orient="horz" pos="11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2464" userDrawn="1">
          <p15:clr>
            <a:srgbClr val="FBAE40"/>
          </p15:clr>
        </p15:guide>
        <p15:guide id="7" pos="2752" userDrawn="1">
          <p15:clr>
            <a:srgbClr val="FBAE40"/>
          </p15:clr>
        </p15:guide>
        <p15:guide id="9" orient="horz" pos="11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216" userDrawn="1">
          <p15:clr>
            <a:srgbClr val="FBAE40"/>
          </p15:clr>
        </p15:guide>
        <p15:guide id="9" orient="horz" pos="11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5216" userDrawn="1">
          <p15:clr>
            <a:srgbClr val="FBAE40"/>
          </p15:clr>
        </p15:guide>
        <p15:guide id="4" pos="2752" userDrawn="1">
          <p15:clr>
            <a:srgbClr val="FBAE40"/>
          </p15:clr>
        </p15:guide>
        <p15:guide id="5" pos="4928" userDrawn="1">
          <p15:clr>
            <a:srgbClr val="FBAE40"/>
          </p15:clr>
        </p15:guide>
        <p15:guide id="6" pos="246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399032"/>
            <a:ext cx="34543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5216" userDrawn="1">
          <p15:clr>
            <a:srgbClr val="FBAE40"/>
          </p15:clr>
        </p15:guide>
        <p15:guide id="10" pos="2752" userDrawn="1">
          <p15:clr>
            <a:srgbClr val="FBAE40"/>
          </p15:clr>
        </p15:guide>
        <p15:guide id="11" pos="4928" userDrawn="1">
          <p15:clr>
            <a:srgbClr val="FBAE40"/>
          </p15:clr>
        </p15:guide>
        <p15:guide id="12" pos="2464" userDrawn="1">
          <p15:clr>
            <a:srgbClr val="FBAE40"/>
          </p15:clr>
        </p15:guide>
        <p15:guide id="14" orient="horz" pos="1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2464" userDrawn="1">
          <p15:clr>
            <a:srgbClr val="FBAE40"/>
          </p15:clr>
        </p15:guide>
        <p15:guide id="9" pos="2752" userDrawn="1">
          <p15:clr>
            <a:srgbClr val="FBAE40"/>
          </p15:clr>
        </p15:guide>
        <p15:guide id="10" pos="4928" userDrawn="1">
          <p15:clr>
            <a:srgbClr val="FBAE40"/>
          </p15:clr>
        </p15:guide>
        <p15:guide id="11" pos="5216" userDrawn="1">
          <p15:clr>
            <a:srgbClr val="FBAE40"/>
          </p15:clr>
        </p15:guide>
        <p15:guide id="13" orient="horz" pos="1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44550895"/>
      </p:ext>
    </p:extLst>
  </p:cSld>
  <p:clrMapOvr>
    <a:masterClrMapping/>
  </p:clrMapOvr>
  <p:extLst>
    <p:ext uri="{DCECCB84-F9BA-43D5-87BE-67443E8EF086}">
      <p15:sldGuideLst xmlns:p15="http://schemas.microsoft.com/office/powerpoint/2012/main">
        <p15:guide id="5" orient="horz" pos="880" userDrawn="1">
          <p15:clr>
            <a:srgbClr val="FBAE40"/>
          </p15:clr>
        </p15:guide>
        <p15:guide id="10" pos="2136" userDrawn="1">
          <p15:clr>
            <a:srgbClr val="FBAE40"/>
          </p15:clr>
        </p15:guide>
        <p15:guide id="11" pos="3696" userDrawn="1">
          <p15:clr>
            <a:srgbClr val="FBAE40"/>
          </p15:clr>
        </p15:guide>
        <p15:guide id="12" pos="1848" userDrawn="1">
          <p15:clr>
            <a:srgbClr val="FBAE40"/>
          </p15:clr>
        </p15:guide>
        <p15:guide id="13" pos="3984" userDrawn="1">
          <p15:clr>
            <a:srgbClr val="FBAE40"/>
          </p15:clr>
        </p15:guide>
        <p15:guide id="14" pos="5544" userDrawn="1">
          <p15:clr>
            <a:srgbClr val="FBAE40"/>
          </p15:clr>
        </p15:guide>
        <p15:guide id="15" pos="5832" userDrawn="1">
          <p15:clr>
            <a:srgbClr val="FBAE40"/>
          </p15:clr>
        </p15:guide>
        <p15:guide id="17" orient="horz" pos="1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68836729"/>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1480" userDrawn="1">
          <p15:clr>
            <a:srgbClr val="FBAE40"/>
          </p15:clr>
        </p15:guide>
        <p15:guide id="7" pos="1768" userDrawn="1">
          <p15:clr>
            <a:srgbClr val="FBAE40"/>
          </p15:clr>
        </p15:guide>
        <p15:guide id="8" pos="2960" userDrawn="1">
          <p15:clr>
            <a:srgbClr val="FBAE40"/>
          </p15:clr>
        </p15:guide>
        <p15:guide id="9" pos="3248" userDrawn="1">
          <p15:clr>
            <a:srgbClr val="FBAE40"/>
          </p15:clr>
        </p15:guide>
        <p15:guide id="10" pos="4432" userDrawn="1">
          <p15:clr>
            <a:srgbClr val="FBAE40"/>
          </p15:clr>
        </p15:guide>
        <p15:guide id="11" pos="4720" userDrawn="1">
          <p15:clr>
            <a:srgbClr val="FBAE40"/>
          </p15:clr>
        </p15:guide>
        <p15:guide id="12" pos="5912" userDrawn="1">
          <p15:clr>
            <a:srgbClr val="FBAE40"/>
          </p15:clr>
        </p15:guide>
        <p15:guide id="13" pos="6200" userDrawn="1">
          <p15:clr>
            <a:srgbClr val="FBAE40"/>
          </p15:clr>
        </p15:guide>
        <p15:guide id="15" orient="horz" pos="1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0" y="188366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10" pos="3984" userDrawn="1">
          <p15:clr>
            <a:srgbClr val="FBAE40"/>
          </p15:clr>
        </p15:guide>
        <p15:guide id="14" pos="3696" userDrawn="1">
          <p15:clr>
            <a:srgbClr val="FBAE40"/>
          </p15:clr>
        </p15:guide>
        <p15:guide id="15" orient="horz" pos="1184" userDrawn="1">
          <p15:clr>
            <a:srgbClr val="FBAE40"/>
          </p15:clr>
        </p15:guide>
        <p15:guide id="17" orient="horz" pos="2832" userDrawn="1">
          <p15:clr>
            <a:srgbClr val="FBAE40"/>
          </p15:clr>
        </p15:guide>
        <p15:guide id="18" orient="horz" pos="25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2" pos="2752" userDrawn="1">
          <p15:clr>
            <a:srgbClr val="FBAE40"/>
          </p15:clr>
        </p15:guide>
        <p15:guide id="14" pos="5216" userDrawn="1">
          <p15:clr>
            <a:srgbClr val="FBAE40"/>
          </p15:clr>
        </p15:guide>
        <p15:guide id="18" pos="2464" userDrawn="1">
          <p15:clr>
            <a:srgbClr val="FBAE40"/>
          </p15:clr>
        </p15:guide>
        <p15:guide id="20" pos="4928" userDrawn="1">
          <p15:clr>
            <a:srgbClr val="FBAE40"/>
          </p15:clr>
        </p15:guide>
        <p15:guide id="21" orient="horz" pos="2520" userDrawn="1">
          <p15:clr>
            <a:srgbClr val="FBAE40"/>
          </p15:clr>
        </p15:guide>
        <p15:guide id="24" orient="horz" pos="880" userDrawn="1">
          <p15:clr>
            <a:srgbClr val="FBAE40"/>
          </p15:clr>
        </p15:guide>
        <p15:guide id="25" orient="horz" pos="1184" userDrawn="1">
          <p15:clr>
            <a:srgbClr val="FBAE40"/>
          </p15:clr>
        </p15:guide>
        <p15:guide id="27" orient="horz" pos="28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0"/>
            <a:ext cx="2997200" cy="734155"/>
          </a:xfrm>
        </p:spPr>
        <p:txBody>
          <a:bodyPr anchor="b">
            <a:noAutofit/>
          </a:bodyPr>
          <a:lstStyle>
            <a:lvl1pPr algn="ctr">
              <a:defRPr sz="2400"/>
            </a:lvl1pPr>
          </a:lstStyle>
          <a:p>
            <a:r>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400" b="0">
                <a:solidFill>
                  <a:schemeClr val="tx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EBEBEB"/>
          </a:solidFill>
        </p:spPr>
        <p:txBody>
          <a:bodyPr tIns="868680" anchor="ctr"/>
          <a:lstStyle>
            <a:lvl1pPr marL="0" indent="0" algn="ctr">
              <a:buNone/>
              <a:defRPr sz="140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2" pos="2176"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3"/>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bg1"/>
                </a:solidFill>
              </a:defRPr>
            </a:lvl2pPr>
            <a:lvl3pPr marL="0" indent="0">
              <a:spcBef>
                <a:spcPts val="0"/>
              </a:spcBef>
              <a:spcAft>
                <a:spcPts val="0"/>
              </a:spcAft>
              <a:buFont typeface="Arial" panose="020B0604020202020204" pitchFamily="34" charset="0"/>
              <a:buChar char="​"/>
              <a:defRPr sz="2000">
                <a:solidFill>
                  <a:schemeClr val="bg1"/>
                </a:solidFill>
              </a:defRPr>
            </a:lvl3pPr>
            <a:lvl4pPr marL="0" indent="0">
              <a:spcBef>
                <a:spcPts val="0"/>
              </a:spcBef>
              <a:spcAft>
                <a:spcPts val="0"/>
              </a:spcAft>
              <a:buFont typeface="Arial" panose="020B0604020202020204" pitchFamily="34" charset="0"/>
              <a:buChar char="​"/>
              <a:defRPr sz="2000">
                <a:solidFill>
                  <a:schemeClr val="bg1"/>
                </a:solidFill>
              </a:defRPr>
            </a:lvl4pPr>
            <a:lvl5pPr marL="0" indent="0">
              <a:spcBef>
                <a:spcPts val="0"/>
              </a:spcBef>
              <a:spcAft>
                <a:spcPts val="0"/>
              </a:spcAft>
              <a:buFont typeface="Arial" panose="020B0604020202020204" pitchFamily="34" charset="0"/>
              <a:buChar char="​"/>
              <a:defRPr sz="2000">
                <a:solidFill>
                  <a:schemeClr val="bg1"/>
                </a:solidFill>
              </a:defRPr>
            </a:lvl5pPr>
            <a:lvl6pPr marL="0" indent="0">
              <a:spcBef>
                <a:spcPts val="0"/>
              </a:spcBef>
              <a:spcAft>
                <a:spcPts val="0"/>
              </a:spcAft>
              <a:buFont typeface="Arial" panose="020B0604020202020204" pitchFamily="34" charset="0"/>
              <a:buChar char="​"/>
              <a:defRPr sz="2000">
                <a:solidFill>
                  <a:schemeClr val="bg1"/>
                </a:solidFill>
              </a:defRPr>
            </a:lvl6pPr>
            <a:lvl7pPr marL="0" indent="0">
              <a:spcBef>
                <a:spcPts val="0"/>
              </a:spcBef>
              <a:spcAft>
                <a:spcPts val="0"/>
              </a:spcAft>
              <a:buFont typeface="Arial" panose="020B0604020202020204" pitchFamily="34" charset="0"/>
              <a:buChar char="​"/>
              <a:defRPr sz="2000">
                <a:solidFill>
                  <a:schemeClr val="bg1"/>
                </a:solidFill>
              </a:defRPr>
            </a:lvl7pPr>
            <a:lvl8pPr marL="0" indent="0">
              <a:spcBef>
                <a:spcPts val="0"/>
              </a:spcBef>
              <a:spcAft>
                <a:spcPts val="0"/>
              </a:spcAft>
              <a:buFont typeface="Arial" panose="020B0604020202020204" pitchFamily="34" charset="0"/>
              <a:buChar char="​"/>
              <a:defRPr sz="2000">
                <a:solidFill>
                  <a:schemeClr val="bg1"/>
                </a:solidFill>
              </a:defRPr>
            </a:lvl8pPr>
            <a:lvl9pPr marL="0" indent="0">
              <a:spcBef>
                <a:spcPts val="0"/>
              </a:spcBef>
              <a:spcAft>
                <a:spcPts val="0"/>
              </a:spcAft>
              <a:buFont typeface="Arial" panose="020B0604020202020204" pitchFamily="34" charset="0"/>
              <a:buChar char="​"/>
              <a:defRPr sz="2000">
                <a:solidFill>
                  <a:schemeClr val="bg1"/>
                </a:solidFill>
              </a:defRPr>
            </a:lvl9pPr>
          </a:lstStyle>
          <a:p>
            <a:pPr lvl="0"/>
            <a:r>
              <a:rPr lang="en-US"/>
              <a:t>Insert impact statements here (alternatively change background color)</a:t>
            </a:r>
          </a:p>
        </p:txBody>
      </p:sp>
      <p:sp>
        <p:nvSpPr>
          <p:cNvPr id="3" name="Heading Left"/>
          <p:cNvSpPr>
            <a:spLocks noGrp="1"/>
          </p:cNvSpPr>
          <p:nvPr>
            <p:ph type="body" idx="10" hasCustomPrompt="1"/>
          </p:nvPr>
        </p:nvSpPr>
        <p:spPr>
          <a:xfrm>
            <a:off x="4572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p:txBody>
      </p:sp>
      <p:sp>
        <p:nvSpPr>
          <p:cNvPr id="4" name="Content Left"/>
          <p:cNvSpPr>
            <a:spLocks noGrp="1"/>
          </p:cNvSpPr>
          <p:nvPr>
            <p:ph type="body" sz="half" idx="11"/>
          </p:nvPr>
        </p:nvSpPr>
        <p:spPr>
          <a:xfrm>
            <a:off x="457200" y="3063236"/>
            <a:ext cx="3454400" cy="333756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p:txBody>
      </p:sp>
      <p:sp>
        <p:nvSpPr>
          <p:cNvPr id="6" name="Content Middle"/>
          <p:cNvSpPr>
            <a:spLocks noGrp="1"/>
          </p:cNvSpPr>
          <p:nvPr>
            <p:ph type="body" sz="quarter" idx="12"/>
          </p:nvPr>
        </p:nvSpPr>
        <p:spPr>
          <a:xfrm>
            <a:off x="4368799"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p:txBody>
      </p:sp>
      <p:sp>
        <p:nvSpPr>
          <p:cNvPr id="8" name="Content Right"/>
          <p:cNvSpPr>
            <a:spLocks noGrp="1"/>
          </p:cNvSpPr>
          <p:nvPr>
            <p:ph type="body" sz="quarter" idx="14"/>
          </p:nvPr>
        </p:nvSpPr>
        <p:spPr>
          <a:xfrm>
            <a:off x="8280400"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803226806"/>
      </p:ext>
    </p:extLst>
  </p:cSld>
  <p:clrMapOvr>
    <a:masterClrMapping/>
  </p:clrMapOvr>
  <p:extLst>
    <p:ext uri="{DCECCB84-F9BA-43D5-87BE-67443E8EF086}">
      <p15:sldGuideLst xmlns:p15="http://schemas.microsoft.com/office/powerpoint/2012/main">
        <p15:guide id="15" pos="2464" userDrawn="1">
          <p15:clr>
            <a:srgbClr val="FBAE40"/>
          </p15:clr>
        </p15:guide>
        <p15:guide id="16" pos="2752" userDrawn="1">
          <p15:clr>
            <a:srgbClr val="FBAE40"/>
          </p15:clr>
        </p15:guide>
        <p15:guide id="17" pos="4928" userDrawn="1">
          <p15:clr>
            <a:srgbClr val="FBAE40"/>
          </p15:clr>
        </p15:guide>
        <p15:guide id="18" pos="5216" userDrawn="1">
          <p15:clr>
            <a:srgbClr val="FBAE40"/>
          </p15:clr>
        </p15:guide>
        <p15:guide id="20" orient="horz" pos="880" userDrawn="1">
          <p15:clr>
            <a:srgbClr val="FBAE40"/>
          </p15:clr>
        </p15:guide>
        <p15:guide id="21" orient="horz" pos="1560" userDrawn="1">
          <p15:clr>
            <a:srgbClr val="FBAE40"/>
          </p15:clr>
        </p15:guide>
        <p15:guide id="24" orient="horz" pos="17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fr-FR"/>
              <a:t>Contents</a:t>
            </a:r>
            <a:endParaRPr/>
          </a:p>
        </p:txBody>
      </p:sp>
    </p:spTree>
  </p:cSld>
  <p:clrMapOvr>
    <a:masterClrMapping/>
  </p:clrMapOvr>
  <p:extLst>
    <p:ext uri="{DCECCB84-F9BA-43D5-87BE-67443E8EF086}">
      <p15:sldGuideLst xmlns:p15="http://schemas.microsoft.com/office/powerpoint/2012/main">
        <p15:guide id="1" orient="horz" pos="88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2" name="DTP_Confidentiality">
            <a:extLst>
              <a:ext uri="{FF2B5EF4-FFF2-40B4-BE49-F238E27FC236}">
                <a16:creationId xmlns:a16="http://schemas.microsoft.com/office/drawing/2014/main" id="{63B89191-576B-293A-4276-4319F4C2642F}"/>
              </a:ext>
            </a:extLst>
          </p:cNvPr>
          <p:cNvGraphicFramePr>
            <a:graphicFrameLocks noGrp="1"/>
          </p:cNvGraphicFramePr>
          <p:nvPr userDrawn="1">
            <p:extLst>
              <p:ext uri="{D42A27DB-BD31-4B8C-83A1-F6EECF244321}">
                <p14:modId xmlns:p14="http://schemas.microsoft.com/office/powerpoint/2010/main" val="2030527513"/>
              </p:ext>
            </p:extLst>
          </p:nvPr>
        </p:nvGraphicFramePr>
        <p:xfrm>
          <a:off x="457200" y="2598420"/>
          <a:ext cx="9321800" cy="166116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CONFIDENTIALITY</a:t>
                      </a:r>
                    </a:p>
                  </a:txBody>
                  <a:tcPr marL="0" marR="0" marT="0" marB="0"/>
                </a:tc>
                <a:extLst>
                  <a:ext uri="{0D108BD9-81ED-4DB2-BD59-A6C34878D82A}">
                    <a16:rowId xmlns:a16="http://schemas.microsoft.com/office/drawing/2014/main" val="617464070"/>
                  </a:ext>
                </a:extLst>
              </a:tr>
              <a:tr h="1249680">
                <a:tc>
                  <a:txBody>
                    <a:bodyPr/>
                    <a:lstStyle/>
                    <a:p>
                      <a:pPr>
                        <a:spcBef>
                          <a:spcPts val="600"/>
                        </a:spcBef>
                      </a:pPr>
                      <a:r>
                        <a:rPr lang="en-US" sz="1200"/>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0" marR="0" marT="0" marB="0"/>
                </a:tc>
                <a:extLst>
                  <a:ext uri="{0D108BD9-81ED-4DB2-BD59-A6C34878D82A}">
                    <a16:rowId xmlns:a16="http://schemas.microsoft.com/office/drawing/2014/main" val="1945527895"/>
                  </a:ext>
                </a:extLst>
              </a:tr>
            </a:tbl>
          </a:graphicData>
        </a:graphic>
      </p:graphicFrame>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2" name="TextConfOW-S-">
            <a:extLst>
              <a:ext uri="{FF2B5EF4-FFF2-40B4-BE49-F238E27FC236}">
                <a16:creationId xmlns:a16="http://schemas.microsoft.com/office/drawing/2014/main" id="{3A70B77B-25A8-A547-7687-F1AF819BB68D}"/>
              </a:ext>
            </a:extLst>
          </p:cNvPr>
          <p:cNvGraphicFramePr>
            <a:graphicFrameLocks noGrp="1"/>
          </p:cNvGraphicFramePr>
          <p:nvPr userDrawn="1">
            <p:extLst>
              <p:ext uri="{D42A27DB-BD31-4B8C-83A1-F6EECF244321}">
                <p14:modId xmlns:p14="http://schemas.microsoft.com/office/powerpoint/2010/main" val="1554467379"/>
              </p:ext>
            </p:extLst>
          </p:nvPr>
        </p:nvGraphicFramePr>
        <p:xfrm>
          <a:off x="457200" y="1828800"/>
          <a:ext cx="9321800" cy="320040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QUALIFICATIONS, ASSUMPTIONS, AND LIMITING CONDITIONS</a:t>
                      </a:r>
                    </a:p>
                  </a:txBody>
                  <a:tcPr marL="0" marR="0" marT="0" marB="0"/>
                </a:tc>
                <a:extLst>
                  <a:ext uri="{0D108BD9-81ED-4DB2-BD59-A6C34878D82A}">
                    <a16:rowId xmlns:a16="http://schemas.microsoft.com/office/drawing/2014/main" val="617464070"/>
                  </a:ext>
                </a:extLst>
              </a:tr>
              <a:tr h="2788920">
                <a:tc>
                  <a:txBody>
                    <a:bodyPr/>
                    <a:lstStyle/>
                    <a:p>
                      <a:pPr>
                        <a:spcBef>
                          <a:spcPts val="600"/>
                        </a:spcBef>
                      </a:pPr>
                      <a:r>
                        <a:rPr lang="en-US" sz="1200"/>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p>
                  </a:txBody>
                  <a:tcPr marL="0" marR="0" marT="0" marB="0"/>
                </a:tc>
                <a:extLst>
                  <a:ext uri="{0D108BD9-81ED-4DB2-BD59-A6C34878D82A}">
                    <a16:rowId xmlns:a16="http://schemas.microsoft.com/office/drawing/2014/main" val="1945527895"/>
                  </a:ext>
                </a:extLst>
              </a:tr>
            </a:tbl>
          </a:graphicData>
        </a:graphic>
      </p:graphicFrame>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4267200" y="6185356"/>
            <a:ext cx="3657600" cy="215444"/>
          </a:xfrm>
          <a:prstGeom prst="rect">
            <a:avLst/>
          </a:prstGeom>
          <a:noFill/>
        </p:spPr>
        <p:txBody>
          <a:bodyPr wrap="none" lIns="0" tIns="0" rIns="0" bIns="0">
            <a:spAutoFit/>
          </a:bodyPr>
          <a:lstStyle/>
          <a:p>
            <a:pPr algn="ctr"/>
            <a:r>
              <a:rPr lang="en-US" sz="1400">
                <a:solidFill>
                  <a:schemeClr val="accent1"/>
                </a:solidFill>
              </a:rPr>
              <a:t>A business of Marsh McLennan</a:t>
            </a:r>
          </a:p>
        </p:txBody>
      </p:sp>
      <p:pic>
        <p:nvPicPr>
          <p:cNvPr id="4" name="DTP_CompanyLogo_175">
            <a:extLst>
              <a:ext uri="{FF2B5EF4-FFF2-40B4-BE49-F238E27FC236}">
                <a16:creationId xmlns:a16="http://schemas.microsoft.com/office/drawing/2014/main" id="{94097A58-0F4A-F9DA-9129-BFDC172EF8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9038" y="3153965"/>
            <a:ext cx="4733925" cy="550069"/>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Slide Color with Pictur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4513F-F7B2-40D2-81FC-7477ECD16689}"/>
              </a:ext>
            </a:extLst>
          </p:cNvPr>
          <p:cNvGraphicFramePr>
            <a:graphicFrameLocks noChangeAspect="1"/>
          </p:cNvGraphicFramePr>
          <p:nvPr userDrawn="1">
            <p:custDataLst>
              <p:tags r:id="rId1"/>
            </p:custDataLst>
            <p:extLst>
              <p:ext uri="{D42A27DB-BD31-4B8C-83A1-F6EECF244321}">
                <p14:modId xmlns:p14="http://schemas.microsoft.com/office/powerpoint/2010/main" val="3903215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F7A4513F-F7B2-40D2-81FC-7477ECD16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tx1"/>
                </a:solidFill>
                <a:latin typeface="+mj-lt"/>
                <a:ea typeface="+mj-ea"/>
                <a:cs typeface="Calibri" panose="020F0502020204030204" pitchFamily="34" charset="0"/>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9" name="Endorsement">
            <a:extLst>
              <a:ext uri="{FF2B5EF4-FFF2-40B4-BE49-F238E27FC236}">
                <a16:creationId xmlns:a16="http://schemas.microsoft.com/office/drawing/2014/main" id="{A6911E22-FDAE-4ABF-96C7-55697F75705D}"/>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a:cs typeface="Calibri" panose="020F0502020204030204" pitchFamily="34" charset="0"/>
              </a:rPr>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cs typeface="Calibri" panose="020F0502020204030204" pitchFamily="34" charset="0"/>
            </a:endParaRPr>
          </a:p>
        </p:txBody>
      </p:sp>
      <p:pic>
        <p:nvPicPr>
          <p:cNvPr id="15" name="DTP_CompanyLogo_inv_112">
            <a:extLst>
              <a:ext uri="{FF2B5EF4-FFF2-40B4-BE49-F238E27FC236}">
                <a16:creationId xmlns:a16="http://schemas.microsoft.com/office/drawing/2014/main" id="{FD88D4AA-D570-475F-9525-161C0E3906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57200" y="393189"/>
            <a:ext cx="3029712" cy="352044"/>
          </a:xfrm>
          <a:prstGeom prst="rect">
            <a:avLst/>
          </a:prstGeom>
        </p:spPr>
      </p:pic>
      <p:sp>
        <p:nvSpPr>
          <p:cNvPr id="12" name="DummyPlacehoder" hidden="1">
            <a:extLst>
              <a:ext uri="{FF2B5EF4-FFF2-40B4-BE49-F238E27FC236}">
                <a16:creationId xmlns:a16="http://schemas.microsoft.com/office/drawing/2014/main" id="{B6B690F8-664E-4ACE-AA01-8D83EB8A842A}"/>
              </a:ext>
            </a:extLst>
          </p:cNvPr>
          <p:cNvSpPr>
            <a:spLocks noGrp="1"/>
          </p:cNvSpPr>
          <p:nvPr>
            <p:ph type="body" sz="quarter" idx="14" hasCustomPrompt="1"/>
          </p:nvPr>
        </p:nvSpPr>
        <p:spPr>
          <a:xfrm>
            <a:off x="152400" y="152400"/>
            <a:ext cx="0" cy="0"/>
          </a:xfrm>
        </p:spPr>
        <p:txBody>
          <a:bodyPr/>
          <a:lstStyle>
            <a:lvl1pPr marL="0" indent="0">
              <a:buNone/>
              <a:defRPr sz="100">
                <a:latin typeface="+mn-lt"/>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 </a:t>
            </a:r>
          </a:p>
        </p:txBody>
      </p:sp>
    </p:spTree>
    <p:extLst>
      <p:ext uri="{BB962C8B-B14F-4D97-AF65-F5344CB8AC3E}">
        <p14:creationId xmlns:p14="http://schemas.microsoft.com/office/powerpoint/2010/main" val="245174219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5" orient="horz" pos="11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11277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6" orient="horz" pos="11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0" y="384048"/>
            <a:ext cx="7365998"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8"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a:t>Click icon to add picture</a:t>
            </a:r>
            <a:endParaRPr/>
          </a:p>
        </p:txBody>
      </p:sp>
    </p:spTree>
    <p:extLst>
      <p:ext uri="{BB962C8B-B14F-4D97-AF65-F5344CB8AC3E}">
        <p14:creationId xmlns:p14="http://schemas.microsoft.com/office/powerpoint/2010/main" val="734816418"/>
      </p:ext>
    </p:extLst>
  </p:cSld>
  <p:clrMapOvr>
    <a:masterClrMapping/>
  </p:clrMapOvr>
  <p:extLst>
    <p:ext uri="{DCECCB84-F9BA-43D5-87BE-67443E8EF086}">
      <p15:sldGuideLst xmlns:p15="http://schemas.microsoft.com/office/powerpoint/2012/main">
        <p15:guide id="1" orient="horz" pos="880">
          <p15:clr>
            <a:srgbClr val="FBAE40"/>
          </p15:clr>
        </p15:guide>
        <p15:guide id="4" orient="horz" pos="1184">
          <p15:clr>
            <a:srgbClr val="FBAE40"/>
          </p15:clr>
        </p15:guide>
        <p15:guide id="6" pos="4928" userDrawn="1">
          <p15:clr>
            <a:srgbClr val="FBAE40"/>
          </p15:clr>
        </p15:guide>
        <p15:guide id="9" pos="521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9" name="Endorsement">
            <a:extLst>
              <a:ext uri="{FF2B5EF4-FFF2-40B4-BE49-F238E27FC236}">
                <a16:creationId xmlns:a16="http://schemas.microsoft.com/office/drawing/2014/main" id="{A6911E22-FDAE-4ABF-96C7-55697F75705D}"/>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6" name="DTP_CompanyLogo_inv_112">
            <a:extLst>
              <a:ext uri="{FF2B5EF4-FFF2-40B4-BE49-F238E27FC236}">
                <a16:creationId xmlns:a16="http://schemas.microsoft.com/office/drawing/2014/main" id="{687F393C-51C2-B726-15C7-B692DDD4B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393188"/>
            <a:ext cx="3029712" cy="352044"/>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3"/>
            <a:ext cx="8348472" cy="1354217"/>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40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t>Add section title,</a:t>
            </a:r>
            <a:br>
              <a:rPr/>
            </a:br>
            <a:r>
              <a:t>press TAB to format as subtitle</a:t>
            </a:r>
          </a:p>
          <a:p>
            <a:pPr lvl="1"/>
            <a:r>
              <a:t>Section subtitle</a:t>
            </a:r>
          </a:p>
        </p:txBody>
      </p:sp>
      <p:sp>
        <p:nvSpPr>
          <p:cNvPr id="3" name="SectionNumber"/>
          <p:cNvSpPr>
            <a:spLocks noGrp="1"/>
          </p:cNvSpPr>
          <p:nvPr>
            <p:ph type="body" sz="quarter" idx="12" hasCustomPrompt="1"/>
          </p:nvPr>
        </p:nvSpPr>
        <p:spPr>
          <a:xfrm>
            <a:off x="457200" y="2274838"/>
            <a:ext cx="8348472" cy="2308324"/>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9pPr>
          </a:lstStyle>
          <a:p>
            <a:pPr lvl="0"/>
            <a:r>
              <a: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399032"/>
            <a:ext cx="5410199"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3696" userDrawn="1">
          <p15:clr>
            <a:srgbClr val="FBAE40"/>
          </p15:clr>
        </p15:guide>
        <p15:guide id="5" pos="3984"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A0B5FC-BDC4-154B-9442-06CEE63296F1}"/>
              </a:ext>
            </a:extLst>
          </p:cNvPr>
          <p:cNvGraphicFramePr>
            <a:graphicFrameLocks noChangeAspect="1"/>
          </p:cNvGraphicFramePr>
          <p:nvPr userDrawn="1">
            <p:custDataLst>
              <p:tags r:id="rId31"/>
            </p:custDataLst>
            <p:extLst>
              <p:ext uri="{D42A27DB-BD31-4B8C-83A1-F6EECF244321}">
                <p14:modId xmlns:p14="http://schemas.microsoft.com/office/powerpoint/2010/main" val="3337559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25" imgH="425" progId="TCLayout.ActiveDocument.1">
                  <p:embed/>
                </p:oleObj>
              </mc:Choice>
              <mc:Fallback>
                <p:oleObj name="think-cell Slide" r:id="rId32" imgW="425" imgH="425" progId="TCLayout.ActiveDocument.1">
                  <p:embed/>
                  <p:pic>
                    <p:nvPicPr>
                      <p:cNvPr id="10" name="think-cell data - do not delete" hidden="1">
                        <a:extLst>
                          <a:ext uri="{FF2B5EF4-FFF2-40B4-BE49-F238E27FC236}">
                            <a16:creationId xmlns:a16="http://schemas.microsoft.com/office/drawing/2014/main" id="{64A0B5FC-BDC4-154B-9442-06CEE63296F1}"/>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GB"/>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06/12/2023</a:t>
            </a:fld>
            <a:endParaRPr lang="en-GB"/>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GB"/>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a:p>
        </p:txBody>
      </p:sp>
      <p:sp>
        <p:nvSpPr>
          <p:cNvPr id="7" name="SlideNumber"/>
          <p:cNvSpPr txBox="1"/>
          <p:nvPr userDrawn="1"/>
        </p:nvSpPr>
        <p:spPr>
          <a:xfrm>
            <a:off x="11584118" y="6552456"/>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a:t>
            </a:fld>
            <a:endParaRPr lang="en-GB" sz="1000">
              <a:solidFill>
                <a:schemeClr val="tx1"/>
              </a:solidFill>
            </a:endParaRPr>
          </a:p>
        </p:txBody>
      </p:sp>
      <p:sp>
        <p:nvSpPr>
          <p:cNvPr id="8" name="DTP_Copyright"/>
          <p:cNvSpPr txBox="1"/>
          <p:nvPr userDrawn="1"/>
        </p:nvSpPr>
        <p:spPr>
          <a:xfrm>
            <a:off x="457200" y="6567848"/>
            <a:ext cx="702115" cy="123111"/>
          </a:xfrm>
          <a:prstGeom prst="rect">
            <a:avLst/>
          </a:prstGeom>
          <a:noFill/>
        </p:spPr>
        <p:txBody>
          <a:bodyPr wrap="none" lIns="0" tIns="0" rIns="0" bIns="0" rtlCol="0" anchor="ctr" anchorCtr="0">
            <a:spAutoFit/>
          </a:bodyPr>
          <a:lstStyle/>
          <a:p>
            <a:pPr marL="0" indent="0" algn="l" defTabSz="914370" rtl="0" eaLnBrk="1" latinLnBrk="0" hangingPunct="1">
              <a:lnSpc>
                <a:spcPct val="100000"/>
              </a:lnSpc>
              <a:spcBef>
                <a:spcPct val="0"/>
              </a:spcBef>
              <a:spcAft>
                <a:spcPct val="0"/>
              </a:spcAft>
              <a:buFontTx/>
              <a:buNone/>
            </a:pPr>
            <a:r>
              <a:rPr lang="en-GB" sz="800" b="0" i="0" u="none" baseline="0">
                <a:solidFill>
                  <a:schemeClr val="tx1"/>
                </a:solidFill>
                <a:latin typeface="+mn-lt"/>
                <a:ea typeface="+mn-ea"/>
                <a:cs typeface="+mn-cs"/>
              </a:rPr>
              <a:t>© Oliver Wyman</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7" r:id="rId4"/>
    <p:sldLayoutId id="2147483659" r:id="rId5"/>
    <p:sldLayoutId id="2147483689" r:id="rId6"/>
    <p:sldLayoutId id="2147483683" r:id="rId7"/>
    <p:sldLayoutId id="2147483651" r:id="rId8"/>
    <p:sldLayoutId id="2147483652" r:id="rId9"/>
    <p:sldLayoutId id="2147483660" r:id="rId10"/>
    <p:sldLayoutId id="2147483653" r:id="rId11"/>
    <p:sldLayoutId id="2147483658" r:id="rId12"/>
    <p:sldLayoutId id="2147483667" r:id="rId13"/>
    <p:sldLayoutId id="2147483668" r:id="rId14"/>
    <p:sldLayoutId id="2147483665" r:id="rId15"/>
    <p:sldLayoutId id="2147483666" r:id="rId16"/>
    <p:sldLayoutId id="2147483664" r:id="rId17"/>
    <p:sldLayoutId id="2147483686" r:id="rId18"/>
    <p:sldLayoutId id="2147483687" r:id="rId19"/>
    <p:sldLayoutId id="2147483661" r:id="rId20"/>
    <p:sldLayoutId id="2147483672" r:id="rId21"/>
    <p:sldLayoutId id="2147483682" r:id="rId22"/>
    <p:sldLayoutId id="2147483684" r:id="rId23"/>
    <p:sldLayoutId id="2147483670" r:id="rId24"/>
    <p:sldLayoutId id="2147483674" r:id="rId25"/>
    <p:sldLayoutId id="2147483675" r:id="rId26"/>
    <p:sldLayoutId id="2147483655" r:id="rId27"/>
    <p:sldLayoutId id="2147483656" r:id="rId28"/>
    <p:sldLayoutId id="2147483690" r:id="rId29"/>
  </p:sldLayoutIdLst>
  <p:txStyles>
    <p:titleStyle>
      <a:lvl1pPr algn="l" defTabSz="914370" rtl="0" eaLnBrk="1" latinLnBrk="0" hangingPunct="1">
        <a:lnSpc>
          <a:spcPct val="90000"/>
        </a:lnSpc>
        <a:spcBef>
          <a:spcPct val="0"/>
        </a:spcBef>
        <a:buNone/>
        <a:defRPr sz="2600" b="1" kern="0" cap="all" baseline="0">
          <a:solidFill>
            <a:schemeClr val="tx1"/>
          </a:solidFill>
          <a:latin typeface="+mj-lt"/>
          <a:ea typeface="+mj-ea"/>
          <a:cs typeface="+mj-cs"/>
        </a:defRPr>
      </a:lvl1pPr>
    </p:titleStyle>
    <p:body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F26B43"/>
          </p15:clr>
        </p15:guide>
        <p15:guide id="3" pos="288" userDrawn="1">
          <p15:clr>
            <a:srgbClr val="F26B43"/>
          </p15:clr>
        </p15:guide>
        <p15:guide id="4" pos="7392" userDrawn="1">
          <p15:clr>
            <a:srgbClr val="F26B43"/>
          </p15:clr>
        </p15:guide>
        <p15:guide id="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29.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3.bin"/><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slideLayout" Target="../slideLayouts/slideLayout4.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chart" Target="../charts/chart1.xml"/><Relationship Id="rId2" Type="http://schemas.openxmlformats.org/officeDocument/2006/relationships/tags" Target="../tags/tag16.xml"/><Relationship Id="rId16" Type="http://schemas.openxmlformats.org/officeDocument/2006/relationships/image" Target="../media/image6.emf"/><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oleObject" Target="../embeddings/oleObject12.bin"/><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6" Type="http://schemas.openxmlformats.org/officeDocument/2006/relationships/image" Target="../media/image78.png"/><Relationship Id="rId21" Type="http://schemas.openxmlformats.org/officeDocument/2006/relationships/image" Target="../media/image73.svg"/><Relationship Id="rId42" Type="http://schemas.openxmlformats.org/officeDocument/2006/relationships/image" Target="../media/image94.png"/><Relationship Id="rId47" Type="http://schemas.openxmlformats.org/officeDocument/2006/relationships/image" Target="../media/image99.svg"/><Relationship Id="rId63" Type="http://schemas.openxmlformats.org/officeDocument/2006/relationships/image" Target="../media/image115.svg"/><Relationship Id="rId68" Type="http://schemas.openxmlformats.org/officeDocument/2006/relationships/image" Target="../media/image120.png"/><Relationship Id="rId7" Type="http://schemas.openxmlformats.org/officeDocument/2006/relationships/image" Target="../media/image37.png"/><Relationship Id="rId71" Type="http://schemas.openxmlformats.org/officeDocument/2006/relationships/image" Target="../media/image123.svg"/><Relationship Id="rId2" Type="http://schemas.openxmlformats.org/officeDocument/2006/relationships/slideLayout" Target="../slideLayouts/slideLayout3.xml"/><Relationship Id="rId16" Type="http://schemas.openxmlformats.org/officeDocument/2006/relationships/image" Target="../media/image68.png"/><Relationship Id="rId29" Type="http://schemas.openxmlformats.org/officeDocument/2006/relationships/image" Target="../media/image81.svg"/><Relationship Id="rId11" Type="http://schemas.openxmlformats.org/officeDocument/2006/relationships/image" Target="../media/image63.svg"/><Relationship Id="rId24" Type="http://schemas.openxmlformats.org/officeDocument/2006/relationships/image" Target="../media/image76.png"/><Relationship Id="rId32" Type="http://schemas.openxmlformats.org/officeDocument/2006/relationships/image" Target="../media/image84.png"/><Relationship Id="rId37" Type="http://schemas.openxmlformats.org/officeDocument/2006/relationships/image" Target="../media/image89.svg"/><Relationship Id="rId40" Type="http://schemas.openxmlformats.org/officeDocument/2006/relationships/image" Target="../media/image92.png"/><Relationship Id="rId45" Type="http://schemas.openxmlformats.org/officeDocument/2006/relationships/image" Target="../media/image97.svg"/><Relationship Id="rId53" Type="http://schemas.openxmlformats.org/officeDocument/2006/relationships/image" Target="../media/image105.svg"/><Relationship Id="rId58" Type="http://schemas.openxmlformats.org/officeDocument/2006/relationships/image" Target="../media/image110.png"/><Relationship Id="rId66" Type="http://schemas.openxmlformats.org/officeDocument/2006/relationships/image" Target="../media/image118.png"/><Relationship Id="rId5" Type="http://schemas.openxmlformats.org/officeDocument/2006/relationships/image" Target="../media/image6.emf"/><Relationship Id="rId61" Type="http://schemas.openxmlformats.org/officeDocument/2006/relationships/image" Target="../media/image113.svg"/><Relationship Id="rId19" Type="http://schemas.openxmlformats.org/officeDocument/2006/relationships/image" Target="../media/image71.svg"/><Relationship Id="rId14" Type="http://schemas.openxmlformats.org/officeDocument/2006/relationships/image" Target="../media/image66.png"/><Relationship Id="rId22" Type="http://schemas.openxmlformats.org/officeDocument/2006/relationships/image" Target="../media/image74.png"/><Relationship Id="rId27" Type="http://schemas.openxmlformats.org/officeDocument/2006/relationships/image" Target="../media/image79.svg"/><Relationship Id="rId30" Type="http://schemas.openxmlformats.org/officeDocument/2006/relationships/image" Target="../media/image82.png"/><Relationship Id="rId35" Type="http://schemas.openxmlformats.org/officeDocument/2006/relationships/image" Target="../media/image87.svg"/><Relationship Id="rId43" Type="http://schemas.openxmlformats.org/officeDocument/2006/relationships/image" Target="../media/image95.svg"/><Relationship Id="rId48" Type="http://schemas.openxmlformats.org/officeDocument/2006/relationships/image" Target="../media/image100.png"/><Relationship Id="rId56" Type="http://schemas.openxmlformats.org/officeDocument/2006/relationships/image" Target="../media/image108.png"/><Relationship Id="rId64" Type="http://schemas.openxmlformats.org/officeDocument/2006/relationships/image" Target="../media/image116.png"/><Relationship Id="rId69" Type="http://schemas.openxmlformats.org/officeDocument/2006/relationships/image" Target="../media/image121.svg"/><Relationship Id="rId8" Type="http://schemas.openxmlformats.org/officeDocument/2006/relationships/image" Target="../media/image60.png"/><Relationship Id="rId51" Type="http://schemas.openxmlformats.org/officeDocument/2006/relationships/image" Target="../media/image103.svg"/><Relationship Id="rId3" Type="http://schemas.openxmlformats.org/officeDocument/2006/relationships/notesSlide" Target="../notesSlides/notesSlide11.xml"/><Relationship Id="rId12" Type="http://schemas.openxmlformats.org/officeDocument/2006/relationships/image" Target="../media/image64.png"/><Relationship Id="rId17" Type="http://schemas.openxmlformats.org/officeDocument/2006/relationships/image" Target="../media/image69.svg"/><Relationship Id="rId25" Type="http://schemas.openxmlformats.org/officeDocument/2006/relationships/image" Target="../media/image77.svg"/><Relationship Id="rId33" Type="http://schemas.openxmlformats.org/officeDocument/2006/relationships/image" Target="../media/image85.svg"/><Relationship Id="rId38" Type="http://schemas.openxmlformats.org/officeDocument/2006/relationships/image" Target="../media/image90.png"/><Relationship Id="rId46" Type="http://schemas.openxmlformats.org/officeDocument/2006/relationships/image" Target="../media/image98.png"/><Relationship Id="rId59" Type="http://schemas.openxmlformats.org/officeDocument/2006/relationships/image" Target="../media/image111.svg"/><Relationship Id="rId67" Type="http://schemas.openxmlformats.org/officeDocument/2006/relationships/image" Target="../media/image119.svg"/><Relationship Id="rId20" Type="http://schemas.openxmlformats.org/officeDocument/2006/relationships/image" Target="../media/image72.png"/><Relationship Id="rId41" Type="http://schemas.openxmlformats.org/officeDocument/2006/relationships/image" Target="../media/image93.svg"/><Relationship Id="rId54" Type="http://schemas.openxmlformats.org/officeDocument/2006/relationships/image" Target="../media/image106.png"/><Relationship Id="rId62" Type="http://schemas.openxmlformats.org/officeDocument/2006/relationships/image" Target="../media/image114.png"/><Relationship Id="rId70" Type="http://schemas.openxmlformats.org/officeDocument/2006/relationships/image" Target="../media/image122.png"/><Relationship Id="rId1" Type="http://schemas.openxmlformats.org/officeDocument/2006/relationships/tags" Target="../tags/tag27.xml"/><Relationship Id="rId6" Type="http://schemas.openxmlformats.org/officeDocument/2006/relationships/image" Target="../media/image36.png"/><Relationship Id="rId15" Type="http://schemas.openxmlformats.org/officeDocument/2006/relationships/image" Target="../media/image67.svg"/><Relationship Id="rId23" Type="http://schemas.openxmlformats.org/officeDocument/2006/relationships/image" Target="../media/image75.svg"/><Relationship Id="rId28" Type="http://schemas.openxmlformats.org/officeDocument/2006/relationships/image" Target="../media/image80.png"/><Relationship Id="rId36" Type="http://schemas.openxmlformats.org/officeDocument/2006/relationships/image" Target="../media/image88.png"/><Relationship Id="rId49" Type="http://schemas.openxmlformats.org/officeDocument/2006/relationships/image" Target="../media/image101.svg"/><Relationship Id="rId57" Type="http://schemas.openxmlformats.org/officeDocument/2006/relationships/image" Target="../media/image109.svg"/><Relationship Id="rId10" Type="http://schemas.openxmlformats.org/officeDocument/2006/relationships/image" Target="../media/image62.png"/><Relationship Id="rId31" Type="http://schemas.openxmlformats.org/officeDocument/2006/relationships/image" Target="../media/image83.svg"/><Relationship Id="rId44" Type="http://schemas.openxmlformats.org/officeDocument/2006/relationships/image" Target="../media/image96.png"/><Relationship Id="rId52" Type="http://schemas.openxmlformats.org/officeDocument/2006/relationships/image" Target="../media/image104.png"/><Relationship Id="rId60" Type="http://schemas.openxmlformats.org/officeDocument/2006/relationships/image" Target="../media/image112.png"/><Relationship Id="rId65" Type="http://schemas.openxmlformats.org/officeDocument/2006/relationships/image" Target="../media/image117.svg"/><Relationship Id="rId4" Type="http://schemas.openxmlformats.org/officeDocument/2006/relationships/oleObject" Target="../embeddings/oleObject13.bin"/><Relationship Id="rId9" Type="http://schemas.openxmlformats.org/officeDocument/2006/relationships/image" Target="../media/image61.svg"/><Relationship Id="rId13" Type="http://schemas.openxmlformats.org/officeDocument/2006/relationships/image" Target="../media/image65.svg"/><Relationship Id="rId18" Type="http://schemas.openxmlformats.org/officeDocument/2006/relationships/image" Target="../media/image70.png"/><Relationship Id="rId39" Type="http://schemas.openxmlformats.org/officeDocument/2006/relationships/image" Target="../media/image91.svg"/><Relationship Id="rId34" Type="http://schemas.openxmlformats.org/officeDocument/2006/relationships/image" Target="../media/image86.png"/><Relationship Id="rId50" Type="http://schemas.openxmlformats.org/officeDocument/2006/relationships/image" Target="../media/image102.png"/><Relationship Id="rId55" Type="http://schemas.openxmlformats.org/officeDocument/2006/relationships/image" Target="../media/image107.svg"/></Relationships>
</file>

<file path=ppt/slides/_rels/slide12.xml.rels><?xml version="1.0" encoding="UTF-8" standalone="yes"?>
<Relationships xmlns="http://schemas.openxmlformats.org/package/2006/relationships"><Relationship Id="rId26" Type="http://schemas.openxmlformats.org/officeDocument/2006/relationships/image" Target="../media/image144.png"/><Relationship Id="rId21" Type="http://schemas.openxmlformats.org/officeDocument/2006/relationships/image" Target="../media/image139.svg"/><Relationship Id="rId42" Type="http://schemas.openxmlformats.org/officeDocument/2006/relationships/image" Target="../media/image158.png"/><Relationship Id="rId47" Type="http://schemas.openxmlformats.org/officeDocument/2006/relationships/image" Target="../media/image163.svg"/><Relationship Id="rId63" Type="http://schemas.openxmlformats.org/officeDocument/2006/relationships/image" Target="../media/image179.svg"/><Relationship Id="rId68" Type="http://schemas.openxmlformats.org/officeDocument/2006/relationships/image" Target="../media/image184.png"/><Relationship Id="rId2" Type="http://schemas.openxmlformats.org/officeDocument/2006/relationships/slideLayout" Target="../slideLayouts/slideLayout3.xml"/><Relationship Id="rId16" Type="http://schemas.openxmlformats.org/officeDocument/2006/relationships/image" Target="../media/image134.png"/><Relationship Id="rId29" Type="http://schemas.openxmlformats.org/officeDocument/2006/relationships/image" Target="../media/image147.svg"/><Relationship Id="rId11" Type="http://schemas.openxmlformats.org/officeDocument/2006/relationships/image" Target="../media/image129.svg"/><Relationship Id="rId24" Type="http://schemas.openxmlformats.org/officeDocument/2006/relationships/image" Target="../media/image142.png"/><Relationship Id="rId32" Type="http://schemas.openxmlformats.org/officeDocument/2006/relationships/image" Target="../media/image150.png"/><Relationship Id="rId37" Type="http://schemas.openxmlformats.org/officeDocument/2006/relationships/image" Target="../media/image153.svg"/><Relationship Id="rId40" Type="http://schemas.openxmlformats.org/officeDocument/2006/relationships/image" Target="../media/image156.png"/><Relationship Id="rId45" Type="http://schemas.openxmlformats.org/officeDocument/2006/relationships/image" Target="../media/image161.svg"/><Relationship Id="rId53" Type="http://schemas.openxmlformats.org/officeDocument/2006/relationships/image" Target="../media/image169.svg"/><Relationship Id="rId58" Type="http://schemas.openxmlformats.org/officeDocument/2006/relationships/image" Target="../media/image174.png"/><Relationship Id="rId66" Type="http://schemas.openxmlformats.org/officeDocument/2006/relationships/image" Target="../media/image182.png"/><Relationship Id="rId5" Type="http://schemas.openxmlformats.org/officeDocument/2006/relationships/image" Target="../media/image6.emf"/><Relationship Id="rId61" Type="http://schemas.openxmlformats.org/officeDocument/2006/relationships/image" Target="../media/image177.svg"/><Relationship Id="rId19" Type="http://schemas.openxmlformats.org/officeDocument/2006/relationships/image" Target="../media/image137.svg"/><Relationship Id="rId14" Type="http://schemas.openxmlformats.org/officeDocument/2006/relationships/image" Target="../media/image132.png"/><Relationship Id="rId22" Type="http://schemas.openxmlformats.org/officeDocument/2006/relationships/image" Target="../media/image140.png"/><Relationship Id="rId27" Type="http://schemas.openxmlformats.org/officeDocument/2006/relationships/image" Target="../media/image145.svg"/><Relationship Id="rId30" Type="http://schemas.openxmlformats.org/officeDocument/2006/relationships/image" Target="../media/image148.png"/><Relationship Id="rId35" Type="http://schemas.openxmlformats.org/officeDocument/2006/relationships/image" Target="../media/image115.svg"/><Relationship Id="rId43" Type="http://schemas.openxmlformats.org/officeDocument/2006/relationships/image" Target="../media/image159.svg"/><Relationship Id="rId48" Type="http://schemas.openxmlformats.org/officeDocument/2006/relationships/image" Target="../media/image164.png"/><Relationship Id="rId56" Type="http://schemas.openxmlformats.org/officeDocument/2006/relationships/image" Target="../media/image172.png"/><Relationship Id="rId64" Type="http://schemas.openxmlformats.org/officeDocument/2006/relationships/image" Target="../media/image180.png"/><Relationship Id="rId69" Type="http://schemas.openxmlformats.org/officeDocument/2006/relationships/image" Target="../media/image185.svg"/><Relationship Id="rId8" Type="http://schemas.openxmlformats.org/officeDocument/2006/relationships/image" Target="../media/image126.png"/><Relationship Id="rId51" Type="http://schemas.openxmlformats.org/officeDocument/2006/relationships/image" Target="../media/image167.svg"/><Relationship Id="rId72" Type="http://schemas.openxmlformats.org/officeDocument/2006/relationships/image" Target="../media/image36.png"/><Relationship Id="rId3" Type="http://schemas.openxmlformats.org/officeDocument/2006/relationships/notesSlide" Target="../notesSlides/notesSlide12.xml"/><Relationship Id="rId12" Type="http://schemas.openxmlformats.org/officeDocument/2006/relationships/image" Target="../media/image130.png"/><Relationship Id="rId17" Type="http://schemas.openxmlformats.org/officeDocument/2006/relationships/image" Target="../media/image135.svg"/><Relationship Id="rId25" Type="http://schemas.openxmlformats.org/officeDocument/2006/relationships/image" Target="../media/image143.svg"/><Relationship Id="rId33" Type="http://schemas.openxmlformats.org/officeDocument/2006/relationships/image" Target="../media/image151.svg"/><Relationship Id="rId38" Type="http://schemas.openxmlformats.org/officeDocument/2006/relationships/image" Target="../media/image154.png"/><Relationship Id="rId46" Type="http://schemas.openxmlformats.org/officeDocument/2006/relationships/image" Target="../media/image162.png"/><Relationship Id="rId59" Type="http://schemas.openxmlformats.org/officeDocument/2006/relationships/image" Target="../media/image175.svg"/><Relationship Id="rId67" Type="http://schemas.openxmlformats.org/officeDocument/2006/relationships/image" Target="../media/image183.svg"/><Relationship Id="rId20" Type="http://schemas.openxmlformats.org/officeDocument/2006/relationships/image" Target="../media/image138.png"/><Relationship Id="rId41" Type="http://schemas.openxmlformats.org/officeDocument/2006/relationships/image" Target="../media/image157.svg"/><Relationship Id="rId54" Type="http://schemas.openxmlformats.org/officeDocument/2006/relationships/image" Target="../media/image170.png"/><Relationship Id="rId62" Type="http://schemas.openxmlformats.org/officeDocument/2006/relationships/image" Target="../media/image178.png"/><Relationship Id="rId70" Type="http://schemas.openxmlformats.org/officeDocument/2006/relationships/image" Target="../media/image186.png"/><Relationship Id="rId1" Type="http://schemas.openxmlformats.org/officeDocument/2006/relationships/tags" Target="../tags/tag28.xml"/><Relationship Id="rId6" Type="http://schemas.openxmlformats.org/officeDocument/2006/relationships/image" Target="../media/image124.png"/><Relationship Id="rId15" Type="http://schemas.openxmlformats.org/officeDocument/2006/relationships/image" Target="../media/image133.svg"/><Relationship Id="rId23" Type="http://schemas.openxmlformats.org/officeDocument/2006/relationships/image" Target="../media/image141.svg"/><Relationship Id="rId28" Type="http://schemas.openxmlformats.org/officeDocument/2006/relationships/image" Target="../media/image146.png"/><Relationship Id="rId36" Type="http://schemas.openxmlformats.org/officeDocument/2006/relationships/image" Target="../media/image152.png"/><Relationship Id="rId49" Type="http://schemas.openxmlformats.org/officeDocument/2006/relationships/image" Target="../media/image165.svg"/><Relationship Id="rId57" Type="http://schemas.openxmlformats.org/officeDocument/2006/relationships/image" Target="../media/image173.svg"/><Relationship Id="rId10" Type="http://schemas.openxmlformats.org/officeDocument/2006/relationships/image" Target="../media/image128.png"/><Relationship Id="rId31" Type="http://schemas.openxmlformats.org/officeDocument/2006/relationships/image" Target="../media/image149.svg"/><Relationship Id="rId44" Type="http://schemas.openxmlformats.org/officeDocument/2006/relationships/image" Target="../media/image160.png"/><Relationship Id="rId52" Type="http://schemas.openxmlformats.org/officeDocument/2006/relationships/image" Target="../media/image168.png"/><Relationship Id="rId60" Type="http://schemas.openxmlformats.org/officeDocument/2006/relationships/image" Target="../media/image176.png"/><Relationship Id="rId65" Type="http://schemas.openxmlformats.org/officeDocument/2006/relationships/image" Target="../media/image181.svg"/><Relationship Id="rId73" Type="http://schemas.openxmlformats.org/officeDocument/2006/relationships/image" Target="../media/image37.png"/><Relationship Id="rId4" Type="http://schemas.openxmlformats.org/officeDocument/2006/relationships/oleObject" Target="../embeddings/oleObject14.bin"/><Relationship Id="rId9" Type="http://schemas.openxmlformats.org/officeDocument/2006/relationships/image" Target="../media/image127.svg"/><Relationship Id="rId13" Type="http://schemas.openxmlformats.org/officeDocument/2006/relationships/image" Target="../media/image131.svg"/><Relationship Id="rId18" Type="http://schemas.openxmlformats.org/officeDocument/2006/relationships/image" Target="../media/image136.png"/><Relationship Id="rId39" Type="http://schemas.openxmlformats.org/officeDocument/2006/relationships/image" Target="../media/image155.svg"/><Relationship Id="rId34" Type="http://schemas.openxmlformats.org/officeDocument/2006/relationships/image" Target="../media/image114.png"/><Relationship Id="rId50" Type="http://schemas.openxmlformats.org/officeDocument/2006/relationships/image" Target="../media/image166.png"/><Relationship Id="rId55" Type="http://schemas.openxmlformats.org/officeDocument/2006/relationships/image" Target="../media/image171.svg"/><Relationship Id="rId7" Type="http://schemas.openxmlformats.org/officeDocument/2006/relationships/image" Target="../media/image125.svg"/><Relationship Id="rId71" Type="http://schemas.openxmlformats.org/officeDocument/2006/relationships/image" Target="../media/image187.svg"/></Relationships>
</file>

<file path=ppt/slides/_rels/slide13.xml.rels><?xml version="1.0" encoding="UTF-8" standalone="yes"?>
<Relationships xmlns="http://schemas.openxmlformats.org/package/2006/relationships"><Relationship Id="rId8" Type="http://schemas.openxmlformats.org/officeDocument/2006/relationships/image" Target="../media/image189.jpeg"/><Relationship Id="rId3" Type="http://schemas.openxmlformats.org/officeDocument/2006/relationships/tags" Target="../tags/tag31.xml"/><Relationship Id="rId7" Type="http://schemas.openxmlformats.org/officeDocument/2006/relationships/image" Target="../media/image188.emf"/><Relationship Id="rId12" Type="http://schemas.openxmlformats.org/officeDocument/2006/relationships/image" Target="../media/image193.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15.bin"/><Relationship Id="rId11" Type="http://schemas.openxmlformats.org/officeDocument/2006/relationships/image" Target="../media/image192.png"/><Relationship Id="rId5" Type="http://schemas.openxmlformats.org/officeDocument/2006/relationships/notesSlide" Target="../notesSlides/notesSlide13.xml"/><Relationship Id="rId10" Type="http://schemas.openxmlformats.org/officeDocument/2006/relationships/image" Target="../media/image191.png"/><Relationship Id="rId4" Type="http://schemas.openxmlformats.org/officeDocument/2006/relationships/slideLayout" Target="../slideLayouts/slideLayout3.xml"/><Relationship Id="rId9" Type="http://schemas.openxmlformats.org/officeDocument/2006/relationships/image" Target="../media/image190.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32.xml"/><Relationship Id="rId6" Type="http://schemas.openxmlformats.org/officeDocument/2006/relationships/image" Target="../media/image194.jpeg"/><Relationship Id="rId5" Type="http://schemas.openxmlformats.org/officeDocument/2006/relationships/image" Target="../media/image26.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xml"/><Relationship Id="rId1" Type="http://schemas.openxmlformats.org/officeDocument/2006/relationships/tags" Target="../tags/tag33.xml"/><Relationship Id="rId6" Type="http://schemas.openxmlformats.org/officeDocument/2006/relationships/chart" Target="../charts/chart3.xml"/><Relationship Id="rId5" Type="http://schemas.openxmlformats.org/officeDocument/2006/relationships/image" Target="../media/image195.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8" Type="http://schemas.openxmlformats.org/officeDocument/2006/relationships/image" Target="../media/image198.png"/><Relationship Id="rId13" Type="http://schemas.openxmlformats.org/officeDocument/2006/relationships/image" Target="../media/image203.svg"/><Relationship Id="rId3" Type="http://schemas.openxmlformats.org/officeDocument/2006/relationships/notesSlide" Target="../notesSlides/notesSlide17.xml"/><Relationship Id="rId7" Type="http://schemas.openxmlformats.org/officeDocument/2006/relationships/image" Target="../media/image197.svg"/><Relationship Id="rId12" Type="http://schemas.openxmlformats.org/officeDocument/2006/relationships/image" Target="../media/image202.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96.png"/><Relationship Id="rId11" Type="http://schemas.openxmlformats.org/officeDocument/2006/relationships/image" Target="../media/image201.svg"/><Relationship Id="rId5" Type="http://schemas.openxmlformats.org/officeDocument/2006/relationships/image" Target="../media/image6.emf"/><Relationship Id="rId10" Type="http://schemas.openxmlformats.org/officeDocument/2006/relationships/image" Target="../media/image200.png"/><Relationship Id="rId4" Type="http://schemas.openxmlformats.org/officeDocument/2006/relationships/oleObject" Target="../embeddings/oleObject19.bin"/><Relationship Id="rId9" Type="http://schemas.openxmlformats.org/officeDocument/2006/relationships/image" Target="../media/image199.svg"/></Relationships>
</file>

<file path=ppt/slides/_rels/slide18.xml.rels><?xml version="1.0" encoding="UTF-8" standalone="yes"?>
<Relationships xmlns="http://schemas.openxmlformats.org/package/2006/relationships"><Relationship Id="rId8" Type="http://schemas.openxmlformats.org/officeDocument/2006/relationships/image" Target="../media/image209.png"/><Relationship Id="rId13" Type="http://schemas.openxmlformats.org/officeDocument/2006/relationships/image" Target="../media/image214.svg"/><Relationship Id="rId3" Type="http://schemas.openxmlformats.org/officeDocument/2006/relationships/image" Target="../media/image204.png"/><Relationship Id="rId7" Type="http://schemas.openxmlformats.org/officeDocument/2006/relationships/image" Target="../media/image208.svg"/><Relationship Id="rId12" Type="http://schemas.openxmlformats.org/officeDocument/2006/relationships/image" Target="../media/image213.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207.png"/><Relationship Id="rId11" Type="http://schemas.openxmlformats.org/officeDocument/2006/relationships/image" Target="../media/image212.svg"/><Relationship Id="rId5" Type="http://schemas.openxmlformats.org/officeDocument/2006/relationships/image" Target="../media/image206.png"/><Relationship Id="rId10" Type="http://schemas.openxmlformats.org/officeDocument/2006/relationships/image" Target="../media/image211.png"/><Relationship Id="rId4" Type="http://schemas.openxmlformats.org/officeDocument/2006/relationships/image" Target="../media/image205.png"/><Relationship Id="rId9" Type="http://schemas.openxmlformats.org/officeDocument/2006/relationships/image" Target="../media/image210.svg"/><Relationship Id="rId14" Type="http://schemas.openxmlformats.org/officeDocument/2006/relationships/chart" Target="../charts/chart4.xml"/></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2.xml"/><Relationship Id="rId7"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11.jpeg"/><Relationship Id="rId5" Type="http://schemas.openxmlformats.org/officeDocument/2006/relationships/image" Target="../media/image1.emf"/><Relationship Id="rId10" Type="http://schemas.openxmlformats.org/officeDocument/2006/relationships/image" Target="../media/image14.png"/><Relationship Id="rId4" Type="http://schemas.openxmlformats.org/officeDocument/2006/relationships/oleObject" Target="../embeddings/oleObject4.bin"/><Relationship Id="rId9" Type="http://schemas.microsoft.com/office/2007/relationships/hdphoto" Target="../media/hdphoto1.wdp"/></Relationships>
</file>

<file path=ppt/slides/_rels/slide20.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notesSlide" Target="../notesSlides/notesSlide20.xml"/><Relationship Id="rId7" Type="http://schemas.openxmlformats.org/officeDocument/2006/relationships/image" Target="../media/image216.svg"/><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215.png"/><Relationship Id="rId5" Type="http://schemas.openxmlformats.org/officeDocument/2006/relationships/image" Target="../media/image6.emf"/><Relationship Id="rId4" Type="http://schemas.openxmlformats.org/officeDocument/2006/relationships/oleObject" Target="../embeddings/oleObject21.bin"/><Relationship Id="rId9" Type="http://schemas.openxmlformats.org/officeDocument/2006/relationships/image" Target="../media/image218.svg"/></Relationships>
</file>

<file path=ppt/slides/_rels/slide21.xml.rels><?xml version="1.0" encoding="UTF-8" standalone="yes"?>
<Relationships xmlns="http://schemas.openxmlformats.org/package/2006/relationships"><Relationship Id="rId8" Type="http://schemas.openxmlformats.org/officeDocument/2006/relationships/image" Target="../media/image221.png"/><Relationship Id="rId13" Type="http://schemas.openxmlformats.org/officeDocument/2006/relationships/image" Target="../media/image226.svg"/><Relationship Id="rId3" Type="http://schemas.openxmlformats.org/officeDocument/2006/relationships/notesSlide" Target="../notesSlides/notesSlide21.xml"/><Relationship Id="rId7" Type="http://schemas.openxmlformats.org/officeDocument/2006/relationships/image" Target="../media/image220.svg"/><Relationship Id="rId12" Type="http://schemas.openxmlformats.org/officeDocument/2006/relationships/image" Target="../media/image225.png"/><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219.png"/><Relationship Id="rId11" Type="http://schemas.openxmlformats.org/officeDocument/2006/relationships/image" Target="../media/image224.svg"/><Relationship Id="rId5" Type="http://schemas.openxmlformats.org/officeDocument/2006/relationships/image" Target="../media/image6.emf"/><Relationship Id="rId10" Type="http://schemas.openxmlformats.org/officeDocument/2006/relationships/image" Target="../media/image223.png"/><Relationship Id="rId4" Type="http://schemas.openxmlformats.org/officeDocument/2006/relationships/oleObject" Target="../embeddings/oleObject22.bin"/><Relationship Id="rId9" Type="http://schemas.openxmlformats.org/officeDocument/2006/relationships/image" Target="../media/image222.svg"/></Relationships>
</file>

<file path=ppt/slides/_rels/slide22.xml.rels><?xml version="1.0" encoding="UTF-8" standalone="yes"?>
<Relationships xmlns="http://schemas.openxmlformats.org/package/2006/relationships"><Relationship Id="rId8" Type="http://schemas.openxmlformats.org/officeDocument/2006/relationships/image" Target="../media/image228.svg"/><Relationship Id="rId13" Type="http://schemas.openxmlformats.org/officeDocument/2006/relationships/image" Target="../media/image233.png"/><Relationship Id="rId3" Type="http://schemas.openxmlformats.org/officeDocument/2006/relationships/notesSlide" Target="../notesSlides/notesSlide22.xml"/><Relationship Id="rId7" Type="http://schemas.openxmlformats.org/officeDocument/2006/relationships/image" Target="../media/image227.png"/><Relationship Id="rId12" Type="http://schemas.openxmlformats.org/officeDocument/2006/relationships/image" Target="../media/image232.svg"/><Relationship Id="rId2" Type="http://schemas.openxmlformats.org/officeDocument/2006/relationships/slideLayout" Target="../slideLayouts/slideLayout13.xml"/><Relationship Id="rId1" Type="http://schemas.openxmlformats.org/officeDocument/2006/relationships/tags" Target="../tags/tag37.xml"/><Relationship Id="rId6" Type="http://schemas.openxmlformats.org/officeDocument/2006/relationships/image" Target="../media/image6.emf"/><Relationship Id="rId11" Type="http://schemas.openxmlformats.org/officeDocument/2006/relationships/image" Target="../media/image231.png"/><Relationship Id="rId5" Type="http://schemas.openxmlformats.org/officeDocument/2006/relationships/oleObject" Target="../embeddings/oleObject23.bin"/><Relationship Id="rId10" Type="http://schemas.openxmlformats.org/officeDocument/2006/relationships/image" Target="../media/image230.svg"/><Relationship Id="rId4" Type="http://schemas.openxmlformats.org/officeDocument/2006/relationships/chart" Target="../charts/chart6.xml"/><Relationship Id="rId9" Type="http://schemas.openxmlformats.org/officeDocument/2006/relationships/image" Target="../media/image229.png"/><Relationship Id="rId14" Type="http://schemas.openxmlformats.org/officeDocument/2006/relationships/image" Target="../media/image234.svg"/></Relationships>
</file>

<file path=ppt/slides/_rels/slide23.xml.rels><?xml version="1.0" encoding="UTF-8" standalone="yes"?>
<Relationships xmlns="http://schemas.openxmlformats.org/package/2006/relationships"><Relationship Id="rId8" Type="http://schemas.openxmlformats.org/officeDocument/2006/relationships/image" Target="../media/image236.wmf"/><Relationship Id="rId13" Type="http://schemas.openxmlformats.org/officeDocument/2006/relationships/image" Target="../media/image241.wmf"/><Relationship Id="rId3" Type="http://schemas.openxmlformats.org/officeDocument/2006/relationships/notesSlide" Target="../notesSlides/notesSlide23.xml"/><Relationship Id="rId7" Type="http://schemas.openxmlformats.org/officeDocument/2006/relationships/image" Target="../media/image235.wmf"/><Relationship Id="rId12" Type="http://schemas.openxmlformats.org/officeDocument/2006/relationships/image" Target="../media/image240.wmf"/><Relationship Id="rId2" Type="http://schemas.openxmlformats.org/officeDocument/2006/relationships/slideLayout" Target="../slideLayouts/slideLayout10.xml"/><Relationship Id="rId1" Type="http://schemas.openxmlformats.org/officeDocument/2006/relationships/tags" Target="../tags/tag38.xml"/><Relationship Id="rId6" Type="http://schemas.openxmlformats.org/officeDocument/2006/relationships/chart" Target="../charts/chart7.xml"/><Relationship Id="rId11" Type="http://schemas.openxmlformats.org/officeDocument/2006/relationships/image" Target="../media/image239.wmf"/><Relationship Id="rId5" Type="http://schemas.openxmlformats.org/officeDocument/2006/relationships/image" Target="../media/image6.emf"/><Relationship Id="rId10" Type="http://schemas.openxmlformats.org/officeDocument/2006/relationships/image" Target="../media/image238.wmf"/><Relationship Id="rId4" Type="http://schemas.openxmlformats.org/officeDocument/2006/relationships/oleObject" Target="../embeddings/oleObject24.bin"/><Relationship Id="rId9" Type="http://schemas.openxmlformats.org/officeDocument/2006/relationships/image" Target="../media/image237.w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xml"/><Relationship Id="rId1" Type="http://schemas.openxmlformats.org/officeDocument/2006/relationships/tags" Target="../tags/tag39.xml"/><Relationship Id="rId6" Type="http://schemas.openxmlformats.org/officeDocument/2006/relationships/chart" Target="../charts/chart8.xml"/><Relationship Id="rId5" Type="http://schemas.openxmlformats.org/officeDocument/2006/relationships/image" Target="../media/image6.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8" Type="http://schemas.openxmlformats.org/officeDocument/2006/relationships/image" Target="../media/image221.png"/><Relationship Id="rId13" Type="http://schemas.openxmlformats.org/officeDocument/2006/relationships/image" Target="../media/image226.svg"/><Relationship Id="rId3" Type="http://schemas.openxmlformats.org/officeDocument/2006/relationships/notesSlide" Target="../notesSlides/notesSlide25.xml"/><Relationship Id="rId7" Type="http://schemas.openxmlformats.org/officeDocument/2006/relationships/image" Target="../media/image220.svg"/><Relationship Id="rId12" Type="http://schemas.openxmlformats.org/officeDocument/2006/relationships/image" Target="../media/image225.png"/><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219.png"/><Relationship Id="rId11" Type="http://schemas.openxmlformats.org/officeDocument/2006/relationships/image" Target="../media/image224.svg"/><Relationship Id="rId5" Type="http://schemas.openxmlformats.org/officeDocument/2006/relationships/image" Target="../media/image6.emf"/><Relationship Id="rId10" Type="http://schemas.openxmlformats.org/officeDocument/2006/relationships/image" Target="../media/image223.png"/><Relationship Id="rId4" Type="http://schemas.openxmlformats.org/officeDocument/2006/relationships/oleObject" Target="../embeddings/oleObject27.bin"/><Relationship Id="rId9" Type="http://schemas.openxmlformats.org/officeDocument/2006/relationships/image" Target="../media/image222.sv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41.xml"/><Relationship Id="rId6" Type="http://schemas.openxmlformats.org/officeDocument/2006/relationships/chart" Target="../charts/chart9.xml"/><Relationship Id="rId5" Type="http://schemas.openxmlformats.org/officeDocument/2006/relationships/image" Target="../media/image6.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42.xml"/><Relationship Id="rId6" Type="http://schemas.openxmlformats.org/officeDocument/2006/relationships/image" Target="../media/image242.jpeg"/><Relationship Id="rId5" Type="http://schemas.openxmlformats.org/officeDocument/2006/relationships/image" Target="../media/image6.emf"/><Relationship Id="rId4" Type="http://schemas.openxmlformats.org/officeDocument/2006/relationships/oleObject" Target="../embeddings/oleObject29.bin"/></Relationships>
</file>

<file path=ppt/slides/_rels/slide28.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image" Target="../media/image6.emf"/><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oleObject" Target="../embeddings/oleObject30.bin"/><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image" Target="../media/image243.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notesSlide" Target="../notesSlides/notesSlide28.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slideLayout" Target="../slideLayouts/slideLayout11.xml"/><Relationship Id="rId28" Type="http://schemas.openxmlformats.org/officeDocument/2006/relationships/chart" Target="../charts/chart11.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chart" Target="../charts/chart10.xml"/><Relationship Id="rId30" Type="http://schemas.openxmlformats.org/officeDocument/2006/relationships/image" Target="../media/image24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65.xml"/><Relationship Id="rId5" Type="http://schemas.openxmlformats.org/officeDocument/2006/relationships/image" Target="../media/image6.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5.jpeg"/><Relationship Id="rId5" Type="http://schemas.openxmlformats.org/officeDocument/2006/relationships/image" Target="../media/image6.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ags" Target="../tags/tag66.xml"/><Relationship Id="rId6" Type="http://schemas.openxmlformats.org/officeDocument/2006/relationships/image" Target="../media/image245.jpeg"/><Relationship Id="rId5" Type="http://schemas.openxmlformats.org/officeDocument/2006/relationships/image" Target="../media/image26.emf"/><Relationship Id="rId4" Type="http://schemas.openxmlformats.org/officeDocument/2006/relationships/oleObject" Target="../embeddings/oleObject32.bin"/></Relationships>
</file>

<file path=ppt/slides/_rels/slide31.xml.rels><?xml version="1.0" encoding="UTF-8" standalone="yes"?>
<Relationships xmlns="http://schemas.openxmlformats.org/package/2006/relationships"><Relationship Id="rId8" Type="http://schemas.openxmlformats.org/officeDocument/2006/relationships/image" Target="../media/image248.png"/><Relationship Id="rId13" Type="http://schemas.openxmlformats.org/officeDocument/2006/relationships/image" Target="../media/image253.jpeg"/><Relationship Id="rId18" Type="http://schemas.openxmlformats.org/officeDocument/2006/relationships/image" Target="../media/image258.jpeg"/><Relationship Id="rId3" Type="http://schemas.openxmlformats.org/officeDocument/2006/relationships/notesSlide" Target="../notesSlides/notesSlide31.xml"/><Relationship Id="rId7" Type="http://schemas.openxmlformats.org/officeDocument/2006/relationships/image" Target="../media/image247.jpeg"/><Relationship Id="rId12" Type="http://schemas.openxmlformats.org/officeDocument/2006/relationships/image" Target="../media/image252.png"/><Relationship Id="rId17" Type="http://schemas.openxmlformats.org/officeDocument/2006/relationships/image" Target="../media/image257.png"/><Relationship Id="rId2" Type="http://schemas.openxmlformats.org/officeDocument/2006/relationships/slideLayout" Target="../slideLayouts/slideLayout14.xml"/><Relationship Id="rId16" Type="http://schemas.openxmlformats.org/officeDocument/2006/relationships/image" Target="../media/image256.jpeg"/><Relationship Id="rId1" Type="http://schemas.openxmlformats.org/officeDocument/2006/relationships/tags" Target="../tags/tag67.xml"/><Relationship Id="rId6" Type="http://schemas.openxmlformats.org/officeDocument/2006/relationships/image" Target="../media/image246.png"/><Relationship Id="rId11" Type="http://schemas.openxmlformats.org/officeDocument/2006/relationships/image" Target="../media/image251.png"/><Relationship Id="rId5" Type="http://schemas.openxmlformats.org/officeDocument/2006/relationships/image" Target="../media/image6.emf"/><Relationship Id="rId15" Type="http://schemas.openxmlformats.org/officeDocument/2006/relationships/image" Target="../media/image255.png"/><Relationship Id="rId10" Type="http://schemas.openxmlformats.org/officeDocument/2006/relationships/image" Target="../media/image250.png"/><Relationship Id="rId4" Type="http://schemas.openxmlformats.org/officeDocument/2006/relationships/oleObject" Target="../embeddings/oleObject33.bin"/><Relationship Id="rId9" Type="http://schemas.openxmlformats.org/officeDocument/2006/relationships/image" Target="../media/image249.png"/><Relationship Id="rId14" Type="http://schemas.openxmlformats.org/officeDocument/2006/relationships/image" Target="../media/image254.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9.xml"/><Relationship Id="rId1" Type="http://schemas.openxmlformats.org/officeDocument/2006/relationships/tags" Target="../tags/tag68.xml"/><Relationship Id="rId5" Type="http://schemas.openxmlformats.org/officeDocument/2006/relationships/image" Target="../media/image6.emf"/><Relationship Id="rId4" Type="http://schemas.openxmlformats.org/officeDocument/2006/relationships/oleObject" Target="../embeddings/oleObject34.bin"/></Relationships>
</file>

<file path=ppt/slides/_rels/slide33.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image" Target="../media/image6.emf"/><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oleObject" Target="../embeddings/oleObject35.bin"/><Relationship Id="rId2" Type="http://schemas.openxmlformats.org/officeDocument/2006/relationships/tags" Target="../tags/tag70.xml"/><Relationship Id="rId16" Type="http://schemas.openxmlformats.org/officeDocument/2006/relationships/notesSlide" Target="../notesSlides/notesSlide33.xml"/><Relationship Id="rId20" Type="http://schemas.openxmlformats.org/officeDocument/2006/relationships/chart" Target="../charts/chart13.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Layout" Target="../slideLayouts/slideLayout14.xml"/><Relationship Id="rId10" Type="http://schemas.openxmlformats.org/officeDocument/2006/relationships/tags" Target="../tags/tag78.xml"/><Relationship Id="rId19" Type="http://schemas.openxmlformats.org/officeDocument/2006/relationships/chart" Target="../charts/chart12.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s/_rels/slide34.xml.rels><?xml version="1.0" encoding="UTF-8" standalone="yes"?>
<Relationships xmlns="http://schemas.openxmlformats.org/package/2006/relationships"><Relationship Id="rId8" Type="http://schemas.openxmlformats.org/officeDocument/2006/relationships/image" Target="../media/image261.jpeg"/><Relationship Id="rId3" Type="http://schemas.openxmlformats.org/officeDocument/2006/relationships/notesSlide" Target="../notesSlides/notesSlide34.xml"/><Relationship Id="rId7" Type="http://schemas.openxmlformats.org/officeDocument/2006/relationships/image" Target="../media/image260.jpeg"/><Relationship Id="rId12" Type="http://schemas.microsoft.com/office/2007/relationships/hdphoto" Target="../media/hdphoto2.wdp"/><Relationship Id="rId2" Type="http://schemas.openxmlformats.org/officeDocument/2006/relationships/slideLayout" Target="../slideLayouts/slideLayout3.xml"/><Relationship Id="rId1" Type="http://schemas.openxmlformats.org/officeDocument/2006/relationships/tags" Target="../tags/tag83.xml"/><Relationship Id="rId6" Type="http://schemas.openxmlformats.org/officeDocument/2006/relationships/image" Target="../media/image259.jpeg"/><Relationship Id="rId11" Type="http://schemas.openxmlformats.org/officeDocument/2006/relationships/image" Target="../media/image264.png"/><Relationship Id="rId5" Type="http://schemas.openxmlformats.org/officeDocument/2006/relationships/image" Target="../media/image6.emf"/><Relationship Id="rId10" Type="http://schemas.openxmlformats.org/officeDocument/2006/relationships/image" Target="../media/image263.jpeg"/><Relationship Id="rId4" Type="http://schemas.openxmlformats.org/officeDocument/2006/relationships/oleObject" Target="../embeddings/oleObject36.bin"/><Relationship Id="rId9" Type="http://schemas.openxmlformats.org/officeDocument/2006/relationships/image" Target="../media/image262.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84.xml"/><Relationship Id="rId6" Type="http://schemas.openxmlformats.org/officeDocument/2006/relationships/image" Target="../media/image15.jpeg"/><Relationship Id="rId5" Type="http://schemas.openxmlformats.org/officeDocument/2006/relationships/image" Target="../media/image6.emf"/><Relationship Id="rId4" Type="http://schemas.openxmlformats.org/officeDocument/2006/relationships/oleObject" Target="../embeddings/oleObject3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85.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70.svg"/><Relationship Id="rId18" Type="http://schemas.openxmlformats.org/officeDocument/2006/relationships/image" Target="../media/image275.png"/><Relationship Id="rId26" Type="http://schemas.openxmlformats.org/officeDocument/2006/relationships/image" Target="../media/image283.png"/><Relationship Id="rId3" Type="http://schemas.openxmlformats.org/officeDocument/2006/relationships/notesSlide" Target="../notesSlides/notesSlide37.xml"/><Relationship Id="rId21" Type="http://schemas.openxmlformats.org/officeDocument/2006/relationships/image" Target="../media/image278.svg"/><Relationship Id="rId7" Type="http://schemas.openxmlformats.org/officeDocument/2006/relationships/image" Target="../media/image266.svg"/><Relationship Id="rId12" Type="http://schemas.openxmlformats.org/officeDocument/2006/relationships/image" Target="../media/image269.png"/><Relationship Id="rId17" Type="http://schemas.openxmlformats.org/officeDocument/2006/relationships/image" Target="../media/image274.svg"/><Relationship Id="rId25" Type="http://schemas.openxmlformats.org/officeDocument/2006/relationships/image" Target="../media/image282.svg"/><Relationship Id="rId2" Type="http://schemas.openxmlformats.org/officeDocument/2006/relationships/slideLayout" Target="../slideLayouts/slideLayout3.xml"/><Relationship Id="rId16" Type="http://schemas.openxmlformats.org/officeDocument/2006/relationships/image" Target="../media/image273.png"/><Relationship Id="rId20" Type="http://schemas.openxmlformats.org/officeDocument/2006/relationships/image" Target="../media/image277.png"/><Relationship Id="rId1" Type="http://schemas.openxmlformats.org/officeDocument/2006/relationships/tags" Target="../tags/tag86.xml"/><Relationship Id="rId6" Type="http://schemas.openxmlformats.org/officeDocument/2006/relationships/image" Target="../media/image265.png"/><Relationship Id="rId11" Type="http://schemas.openxmlformats.org/officeDocument/2006/relationships/image" Target="../media/image268.svg"/><Relationship Id="rId24" Type="http://schemas.openxmlformats.org/officeDocument/2006/relationships/image" Target="../media/image281.png"/><Relationship Id="rId5" Type="http://schemas.openxmlformats.org/officeDocument/2006/relationships/image" Target="../media/image1.emf"/><Relationship Id="rId15" Type="http://schemas.openxmlformats.org/officeDocument/2006/relationships/image" Target="../media/image272.svg"/><Relationship Id="rId23" Type="http://schemas.openxmlformats.org/officeDocument/2006/relationships/image" Target="../media/image280.svg"/><Relationship Id="rId10" Type="http://schemas.openxmlformats.org/officeDocument/2006/relationships/image" Target="../media/image267.png"/><Relationship Id="rId19" Type="http://schemas.openxmlformats.org/officeDocument/2006/relationships/image" Target="../media/image276.svg"/><Relationship Id="rId4" Type="http://schemas.openxmlformats.org/officeDocument/2006/relationships/oleObject" Target="../embeddings/oleObject39.bin"/><Relationship Id="rId9" Type="http://schemas.openxmlformats.org/officeDocument/2006/relationships/image" Target="../media/image24.svg"/><Relationship Id="rId14" Type="http://schemas.openxmlformats.org/officeDocument/2006/relationships/image" Target="../media/image271.png"/><Relationship Id="rId22" Type="http://schemas.openxmlformats.org/officeDocument/2006/relationships/image" Target="../media/image279.png"/><Relationship Id="rId27" Type="http://schemas.openxmlformats.org/officeDocument/2006/relationships/image" Target="../media/image284.svg"/></Relationships>
</file>

<file path=ppt/slides/_rels/slide38.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70.svg"/><Relationship Id="rId18" Type="http://schemas.openxmlformats.org/officeDocument/2006/relationships/image" Target="../media/image275.png"/><Relationship Id="rId26" Type="http://schemas.openxmlformats.org/officeDocument/2006/relationships/image" Target="../media/image283.png"/><Relationship Id="rId3" Type="http://schemas.openxmlformats.org/officeDocument/2006/relationships/notesSlide" Target="../notesSlides/notesSlide38.xml"/><Relationship Id="rId21" Type="http://schemas.openxmlformats.org/officeDocument/2006/relationships/image" Target="../media/image278.svg"/><Relationship Id="rId7" Type="http://schemas.openxmlformats.org/officeDocument/2006/relationships/image" Target="../media/image266.svg"/><Relationship Id="rId12" Type="http://schemas.openxmlformats.org/officeDocument/2006/relationships/image" Target="../media/image269.png"/><Relationship Id="rId17" Type="http://schemas.openxmlformats.org/officeDocument/2006/relationships/image" Target="../media/image274.svg"/><Relationship Id="rId25" Type="http://schemas.openxmlformats.org/officeDocument/2006/relationships/image" Target="../media/image282.svg"/><Relationship Id="rId2" Type="http://schemas.openxmlformats.org/officeDocument/2006/relationships/slideLayout" Target="../slideLayouts/slideLayout3.xml"/><Relationship Id="rId16" Type="http://schemas.openxmlformats.org/officeDocument/2006/relationships/image" Target="../media/image273.png"/><Relationship Id="rId20" Type="http://schemas.openxmlformats.org/officeDocument/2006/relationships/image" Target="../media/image277.png"/><Relationship Id="rId1" Type="http://schemas.openxmlformats.org/officeDocument/2006/relationships/tags" Target="../tags/tag87.xml"/><Relationship Id="rId6" Type="http://schemas.openxmlformats.org/officeDocument/2006/relationships/image" Target="../media/image265.png"/><Relationship Id="rId11" Type="http://schemas.openxmlformats.org/officeDocument/2006/relationships/image" Target="../media/image268.svg"/><Relationship Id="rId24" Type="http://schemas.openxmlformats.org/officeDocument/2006/relationships/image" Target="../media/image281.png"/><Relationship Id="rId5" Type="http://schemas.openxmlformats.org/officeDocument/2006/relationships/image" Target="../media/image1.emf"/><Relationship Id="rId15" Type="http://schemas.openxmlformats.org/officeDocument/2006/relationships/image" Target="../media/image272.svg"/><Relationship Id="rId23" Type="http://schemas.openxmlformats.org/officeDocument/2006/relationships/image" Target="../media/image280.svg"/><Relationship Id="rId10" Type="http://schemas.openxmlformats.org/officeDocument/2006/relationships/image" Target="../media/image267.png"/><Relationship Id="rId19" Type="http://schemas.openxmlformats.org/officeDocument/2006/relationships/image" Target="../media/image276.svg"/><Relationship Id="rId4" Type="http://schemas.openxmlformats.org/officeDocument/2006/relationships/oleObject" Target="../embeddings/oleObject40.bin"/><Relationship Id="rId9" Type="http://schemas.openxmlformats.org/officeDocument/2006/relationships/image" Target="../media/image24.svg"/><Relationship Id="rId14" Type="http://schemas.openxmlformats.org/officeDocument/2006/relationships/image" Target="../media/image271.png"/><Relationship Id="rId22" Type="http://schemas.openxmlformats.org/officeDocument/2006/relationships/image" Target="../media/image279.png"/><Relationship Id="rId27" Type="http://schemas.openxmlformats.org/officeDocument/2006/relationships/image" Target="../media/image284.sv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88.xml"/><Relationship Id="rId6" Type="http://schemas.openxmlformats.org/officeDocument/2006/relationships/image" Target="../media/image242.jpeg"/><Relationship Id="rId5" Type="http://schemas.openxmlformats.org/officeDocument/2006/relationships/image" Target="../media/image6.emf"/><Relationship Id="rId4" Type="http://schemas.openxmlformats.org/officeDocument/2006/relationships/oleObject" Target="../embeddings/oleObject41.bin"/></Relationships>
</file>

<file path=ppt/slides/_rels/slide4.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notesSlide" Target="../notesSlides/notesSlide4.xml"/><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image" Target="../media/image16.jpeg"/><Relationship Id="rId11" Type="http://schemas.openxmlformats.org/officeDocument/2006/relationships/image" Target="../media/image21.png"/><Relationship Id="rId5" Type="http://schemas.openxmlformats.org/officeDocument/2006/relationships/image" Target="../media/image1.emf"/><Relationship Id="rId10" Type="http://schemas.openxmlformats.org/officeDocument/2006/relationships/image" Target="../media/image20.svg"/><Relationship Id="rId4" Type="http://schemas.openxmlformats.org/officeDocument/2006/relationships/oleObject" Target="../embeddings/oleObject6.bin"/><Relationship Id="rId9" Type="http://schemas.openxmlformats.org/officeDocument/2006/relationships/image" Target="../media/image19.png"/><Relationship Id="rId14" Type="http://schemas.openxmlformats.org/officeDocument/2006/relationships/image" Target="../media/image24.svg"/></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17.xml"/><Relationship Id="rId1" Type="http://schemas.openxmlformats.org/officeDocument/2006/relationships/tags" Target="../tags/tag89.xml"/><Relationship Id="rId5" Type="http://schemas.openxmlformats.org/officeDocument/2006/relationships/image" Target="../media/image286.png"/><Relationship Id="rId4" Type="http://schemas.openxmlformats.org/officeDocument/2006/relationships/image" Target="../media/image285.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286.png"/><Relationship Id="rId2" Type="http://schemas.openxmlformats.org/officeDocument/2006/relationships/slideLayout" Target="../slideLayouts/slideLayout3.xml"/><Relationship Id="rId1" Type="http://schemas.openxmlformats.org/officeDocument/2006/relationships/tags" Target="../tags/tag90.xml"/><Relationship Id="rId6" Type="http://schemas.openxmlformats.org/officeDocument/2006/relationships/image" Target="../media/image287.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7.xml"/><Relationship Id="rId1" Type="http://schemas.openxmlformats.org/officeDocument/2006/relationships/tags" Target="../tags/tag91.xml"/><Relationship Id="rId5" Type="http://schemas.openxmlformats.org/officeDocument/2006/relationships/image" Target="../media/image286.png"/><Relationship Id="rId4" Type="http://schemas.openxmlformats.org/officeDocument/2006/relationships/image" Target="../media/image285.emf"/></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286.png"/><Relationship Id="rId2" Type="http://schemas.openxmlformats.org/officeDocument/2006/relationships/slideLayout" Target="../slideLayouts/slideLayout3.xml"/><Relationship Id="rId1" Type="http://schemas.openxmlformats.org/officeDocument/2006/relationships/tags" Target="../tags/tag92.xml"/><Relationship Id="rId6" Type="http://schemas.openxmlformats.org/officeDocument/2006/relationships/image" Target="../media/image288.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4.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93.xml"/><Relationship Id="rId6" Type="http://schemas.openxmlformats.org/officeDocument/2006/relationships/image" Target="../media/image15.jpeg"/><Relationship Id="rId5" Type="http://schemas.openxmlformats.org/officeDocument/2006/relationships/image" Target="../media/image6.emf"/><Relationship Id="rId4" Type="http://schemas.openxmlformats.org/officeDocument/2006/relationships/oleObject" Target="../embeddings/oleObject46.bin"/></Relationships>
</file>

<file path=ppt/slides/_rels/slide46.xml.rels><?xml version="1.0" encoding="UTF-8" standalone="yes"?>
<Relationships xmlns="http://schemas.openxmlformats.org/package/2006/relationships"><Relationship Id="rId13" Type="http://schemas.openxmlformats.org/officeDocument/2006/relationships/image" Target="../media/image297.png"/><Relationship Id="rId18" Type="http://schemas.openxmlformats.org/officeDocument/2006/relationships/image" Target="../media/image301.svg"/><Relationship Id="rId26" Type="http://schemas.openxmlformats.org/officeDocument/2006/relationships/image" Target="../media/image309.svg"/><Relationship Id="rId39" Type="http://schemas.openxmlformats.org/officeDocument/2006/relationships/image" Target="../media/image322.png"/><Relationship Id="rId21" Type="http://schemas.openxmlformats.org/officeDocument/2006/relationships/image" Target="../media/image304.png"/><Relationship Id="rId34" Type="http://schemas.openxmlformats.org/officeDocument/2006/relationships/image" Target="../media/image317.svg"/><Relationship Id="rId42" Type="http://schemas.openxmlformats.org/officeDocument/2006/relationships/image" Target="../media/image325.svg"/><Relationship Id="rId7" Type="http://schemas.openxmlformats.org/officeDocument/2006/relationships/image" Target="../media/image291.svg"/><Relationship Id="rId2" Type="http://schemas.openxmlformats.org/officeDocument/2006/relationships/slideLayout" Target="../slideLayouts/slideLayout3.xml"/><Relationship Id="rId16" Type="http://schemas.openxmlformats.org/officeDocument/2006/relationships/image" Target="../media/image299.svg"/><Relationship Id="rId29" Type="http://schemas.openxmlformats.org/officeDocument/2006/relationships/image" Target="../media/image312.png"/><Relationship Id="rId1" Type="http://schemas.openxmlformats.org/officeDocument/2006/relationships/tags" Target="../tags/tag94.xml"/><Relationship Id="rId6" Type="http://schemas.openxmlformats.org/officeDocument/2006/relationships/image" Target="../media/image290.png"/><Relationship Id="rId11" Type="http://schemas.openxmlformats.org/officeDocument/2006/relationships/image" Target="../media/image295.jpeg"/><Relationship Id="rId24" Type="http://schemas.openxmlformats.org/officeDocument/2006/relationships/image" Target="../media/image307.svg"/><Relationship Id="rId32" Type="http://schemas.openxmlformats.org/officeDocument/2006/relationships/image" Target="../media/image315.svg"/><Relationship Id="rId37" Type="http://schemas.openxmlformats.org/officeDocument/2006/relationships/image" Target="../media/image320.png"/><Relationship Id="rId40" Type="http://schemas.openxmlformats.org/officeDocument/2006/relationships/image" Target="../media/image323.svg"/><Relationship Id="rId45" Type="http://schemas.openxmlformats.org/officeDocument/2006/relationships/image" Target="../media/image328.png"/><Relationship Id="rId5" Type="http://schemas.openxmlformats.org/officeDocument/2006/relationships/image" Target="../media/image6.emf"/><Relationship Id="rId15" Type="http://schemas.openxmlformats.org/officeDocument/2006/relationships/image" Target="../media/image298.png"/><Relationship Id="rId23" Type="http://schemas.openxmlformats.org/officeDocument/2006/relationships/image" Target="../media/image306.png"/><Relationship Id="rId28" Type="http://schemas.openxmlformats.org/officeDocument/2006/relationships/image" Target="../media/image311.svg"/><Relationship Id="rId36" Type="http://schemas.openxmlformats.org/officeDocument/2006/relationships/image" Target="../media/image319.svg"/><Relationship Id="rId10" Type="http://schemas.openxmlformats.org/officeDocument/2006/relationships/image" Target="../media/image294.jpeg"/><Relationship Id="rId19" Type="http://schemas.openxmlformats.org/officeDocument/2006/relationships/image" Target="../media/image302.png"/><Relationship Id="rId31" Type="http://schemas.openxmlformats.org/officeDocument/2006/relationships/image" Target="../media/image314.png"/><Relationship Id="rId44" Type="http://schemas.openxmlformats.org/officeDocument/2006/relationships/image" Target="../media/image327.svg"/><Relationship Id="rId4" Type="http://schemas.openxmlformats.org/officeDocument/2006/relationships/oleObject" Target="../embeddings/oleObject47.bin"/><Relationship Id="rId9" Type="http://schemas.openxmlformats.org/officeDocument/2006/relationships/image" Target="../media/image293.svg"/><Relationship Id="rId14" Type="http://schemas.microsoft.com/office/2007/relationships/hdphoto" Target="../media/hdphoto3.wdp"/><Relationship Id="rId22" Type="http://schemas.openxmlformats.org/officeDocument/2006/relationships/image" Target="../media/image305.svg"/><Relationship Id="rId27" Type="http://schemas.openxmlformats.org/officeDocument/2006/relationships/image" Target="../media/image310.png"/><Relationship Id="rId30" Type="http://schemas.openxmlformats.org/officeDocument/2006/relationships/image" Target="../media/image313.svg"/><Relationship Id="rId35" Type="http://schemas.openxmlformats.org/officeDocument/2006/relationships/image" Target="../media/image318.png"/><Relationship Id="rId43" Type="http://schemas.openxmlformats.org/officeDocument/2006/relationships/image" Target="../media/image326.png"/><Relationship Id="rId8" Type="http://schemas.openxmlformats.org/officeDocument/2006/relationships/image" Target="../media/image292.png"/><Relationship Id="rId3" Type="http://schemas.openxmlformats.org/officeDocument/2006/relationships/notesSlide" Target="../notesSlides/notesSlide44.xml"/><Relationship Id="rId12" Type="http://schemas.openxmlformats.org/officeDocument/2006/relationships/image" Target="../media/image296.jpeg"/><Relationship Id="rId17" Type="http://schemas.openxmlformats.org/officeDocument/2006/relationships/image" Target="../media/image300.png"/><Relationship Id="rId25" Type="http://schemas.openxmlformats.org/officeDocument/2006/relationships/image" Target="../media/image308.png"/><Relationship Id="rId33" Type="http://schemas.openxmlformats.org/officeDocument/2006/relationships/image" Target="../media/image316.png"/><Relationship Id="rId38" Type="http://schemas.openxmlformats.org/officeDocument/2006/relationships/image" Target="../media/image321.svg"/><Relationship Id="rId46" Type="http://schemas.openxmlformats.org/officeDocument/2006/relationships/image" Target="../media/image329.svg"/><Relationship Id="rId20" Type="http://schemas.openxmlformats.org/officeDocument/2006/relationships/image" Target="../media/image303.svg"/><Relationship Id="rId41" Type="http://schemas.openxmlformats.org/officeDocument/2006/relationships/image" Target="../media/image324.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95.xml"/><Relationship Id="rId5" Type="http://schemas.openxmlformats.org/officeDocument/2006/relationships/image" Target="../media/image6.emf"/><Relationship Id="rId4" Type="http://schemas.openxmlformats.org/officeDocument/2006/relationships/oleObject" Target="../embeddings/oleObject4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96.xml"/><Relationship Id="rId5" Type="http://schemas.openxmlformats.org/officeDocument/2006/relationships/image" Target="../media/image6.emf"/><Relationship Id="rId4" Type="http://schemas.openxmlformats.org/officeDocument/2006/relationships/oleObject" Target="../embeddings/oleObject49.bin"/></Relationships>
</file>

<file path=ppt/slides/_rels/slide49.xml.rels><?xml version="1.0" encoding="UTF-8" standalone="yes"?>
<Relationships xmlns="http://schemas.openxmlformats.org/package/2006/relationships"><Relationship Id="rId13" Type="http://schemas.openxmlformats.org/officeDocument/2006/relationships/image" Target="../media/image297.png"/><Relationship Id="rId18" Type="http://schemas.openxmlformats.org/officeDocument/2006/relationships/image" Target="../media/image301.svg"/><Relationship Id="rId26" Type="http://schemas.openxmlformats.org/officeDocument/2006/relationships/image" Target="../media/image309.svg"/><Relationship Id="rId39" Type="http://schemas.openxmlformats.org/officeDocument/2006/relationships/image" Target="../media/image322.png"/><Relationship Id="rId21" Type="http://schemas.openxmlformats.org/officeDocument/2006/relationships/image" Target="../media/image304.png"/><Relationship Id="rId34" Type="http://schemas.openxmlformats.org/officeDocument/2006/relationships/image" Target="../media/image317.svg"/><Relationship Id="rId42" Type="http://schemas.openxmlformats.org/officeDocument/2006/relationships/image" Target="../media/image325.svg"/><Relationship Id="rId7" Type="http://schemas.openxmlformats.org/officeDocument/2006/relationships/image" Target="../media/image291.svg"/><Relationship Id="rId2" Type="http://schemas.openxmlformats.org/officeDocument/2006/relationships/slideLayout" Target="../slideLayouts/slideLayout3.xml"/><Relationship Id="rId16" Type="http://schemas.openxmlformats.org/officeDocument/2006/relationships/image" Target="../media/image299.svg"/><Relationship Id="rId29" Type="http://schemas.openxmlformats.org/officeDocument/2006/relationships/image" Target="../media/image312.png"/><Relationship Id="rId1" Type="http://schemas.openxmlformats.org/officeDocument/2006/relationships/tags" Target="../tags/tag97.xml"/><Relationship Id="rId6" Type="http://schemas.openxmlformats.org/officeDocument/2006/relationships/image" Target="../media/image290.png"/><Relationship Id="rId11" Type="http://schemas.openxmlformats.org/officeDocument/2006/relationships/image" Target="../media/image295.jpeg"/><Relationship Id="rId24" Type="http://schemas.openxmlformats.org/officeDocument/2006/relationships/image" Target="../media/image307.svg"/><Relationship Id="rId32" Type="http://schemas.openxmlformats.org/officeDocument/2006/relationships/image" Target="../media/image315.svg"/><Relationship Id="rId37" Type="http://schemas.openxmlformats.org/officeDocument/2006/relationships/image" Target="../media/image320.png"/><Relationship Id="rId40" Type="http://schemas.openxmlformats.org/officeDocument/2006/relationships/image" Target="../media/image323.svg"/><Relationship Id="rId45" Type="http://schemas.openxmlformats.org/officeDocument/2006/relationships/image" Target="../media/image328.png"/><Relationship Id="rId5" Type="http://schemas.openxmlformats.org/officeDocument/2006/relationships/image" Target="../media/image6.emf"/><Relationship Id="rId15" Type="http://schemas.openxmlformats.org/officeDocument/2006/relationships/image" Target="../media/image298.png"/><Relationship Id="rId23" Type="http://schemas.openxmlformats.org/officeDocument/2006/relationships/image" Target="../media/image306.png"/><Relationship Id="rId28" Type="http://schemas.openxmlformats.org/officeDocument/2006/relationships/image" Target="../media/image311.svg"/><Relationship Id="rId36" Type="http://schemas.openxmlformats.org/officeDocument/2006/relationships/image" Target="../media/image319.svg"/><Relationship Id="rId10" Type="http://schemas.openxmlformats.org/officeDocument/2006/relationships/image" Target="../media/image294.jpeg"/><Relationship Id="rId19" Type="http://schemas.openxmlformats.org/officeDocument/2006/relationships/image" Target="../media/image302.png"/><Relationship Id="rId31" Type="http://schemas.openxmlformats.org/officeDocument/2006/relationships/image" Target="../media/image314.png"/><Relationship Id="rId44" Type="http://schemas.openxmlformats.org/officeDocument/2006/relationships/image" Target="../media/image327.svg"/><Relationship Id="rId4" Type="http://schemas.openxmlformats.org/officeDocument/2006/relationships/oleObject" Target="../embeddings/oleObject50.bin"/><Relationship Id="rId9" Type="http://schemas.openxmlformats.org/officeDocument/2006/relationships/image" Target="../media/image293.svg"/><Relationship Id="rId14" Type="http://schemas.microsoft.com/office/2007/relationships/hdphoto" Target="../media/hdphoto3.wdp"/><Relationship Id="rId22" Type="http://schemas.openxmlformats.org/officeDocument/2006/relationships/image" Target="../media/image305.svg"/><Relationship Id="rId27" Type="http://schemas.openxmlformats.org/officeDocument/2006/relationships/image" Target="../media/image310.png"/><Relationship Id="rId30" Type="http://schemas.openxmlformats.org/officeDocument/2006/relationships/image" Target="../media/image313.svg"/><Relationship Id="rId35" Type="http://schemas.openxmlformats.org/officeDocument/2006/relationships/image" Target="../media/image318.png"/><Relationship Id="rId43" Type="http://schemas.openxmlformats.org/officeDocument/2006/relationships/image" Target="../media/image326.png"/><Relationship Id="rId8" Type="http://schemas.openxmlformats.org/officeDocument/2006/relationships/image" Target="../media/image292.png"/><Relationship Id="rId3" Type="http://schemas.openxmlformats.org/officeDocument/2006/relationships/notesSlide" Target="../notesSlides/notesSlide47.xml"/><Relationship Id="rId12" Type="http://schemas.openxmlformats.org/officeDocument/2006/relationships/image" Target="../media/image296.jpeg"/><Relationship Id="rId17" Type="http://schemas.openxmlformats.org/officeDocument/2006/relationships/image" Target="../media/image300.png"/><Relationship Id="rId25" Type="http://schemas.openxmlformats.org/officeDocument/2006/relationships/image" Target="../media/image308.png"/><Relationship Id="rId33" Type="http://schemas.openxmlformats.org/officeDocument/2006/relationships/image" Target="../media/image316.png"/><Relationship Id="rId38" Type="http://schemas.openxmlformats.org/officeDocument/2006/relationships/image" Target="../media/image321.svg"/><Relationship Id="rId46" Type="http://schemas.openxmlformats.org/officeDocument/2006/relationships/image" Target="../media/image329.svg"/><Relationship Id="rId20" Type="http://schemas.openxmlformats.org/officeDocument/2006/relationships/image" Target="../media/image303.svg"/><Relationship Id="rId41" Type="http://schemas.openxmlformats.org/officeDocument/2006/relationships/image" Target="../media/image32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15.jpe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4.svg"/><Relationship Id="rId18" Type="http://schemas.openxmlformats.org/officeDocument/2006/relationships/image" Target="../media/image275.png"/><Relationship Id="rId26" Type="http://schemas.openxmlformats.org/officeDocument/2006/relationships/image" Target="../media/image292.png"/><Relationship Id="rId3" Type="http://schemas.openxmlformats.org/officeDocument/2006/relationships/notesSlide" Target="../notesSlides/notesSlide48.xml"/><Relationship Id="rId21" Type="http://schemas.openxmlformats.org/officeDocument/2006/relationships/image" Target="../media/image272.svg"/><Relationship Id="rId7" Type="http://schemas.openxmlformats.org/officeDocument/2006/relationships/image" Target="../media/image331.svg"/><Relationship Id="rId12" Type="http://schemas.openxmlformats.org/officeDocument/2006/relationships/image" Target="../media/image23.png"/><Relationship Id="rId17" Type="http://schemas.openxmlformats.org/officeDocument/2006/relationships/image" Target="../media/image337.svg"/><Relationship Id="rId25" Type="http://schemas.openxmlformats.org/officeDocument/2006/relationships/image" Target="../media/image280.svg"/><Relationship Id="rId2" Type="http://schemas.openxmlformats.org/officeDocument/2006/relationships/slideLayout" Target="../slideLayouts/slideLayout3.xml"/><Relationship Id="rId16" Type="http://schemas.openxmlformats.org/officeDocument/2006/relationships/image" Target="../media/image336.png"/><Relationship Id="rId20" Type="http://schemas.openxmlformats.org/officeDocument/2006/relationships/image" Target="../media/image271.png"/><Relationship Id="rId1" Type="http://schemas.openxmlformats.org/officeDocument/2006/relationships/tags" Target="../tags/tag98.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279.png"/><Relationship Id="rId5" Type="http://schemas.openxmlformats.org/officeDocument/2006/relationships/image" Target="../media/image1.emf"/><Relationship Id="rId15" Type="http://schemas.openxmlformats.org/officeDocument/2006/relationships/image" Target="../media/image22.svg"/><Relationship Id="rId23" Type="http://schemas.openxmlformats.org/officeDocument/2006/relationships/image" Target="../media/image282.svg"/><Relationship Id="rId10" Type="http://schemas.openxmlformats.org/officeDocument/2006/relationships/image" Target="../media/image334.png"/><Relationship Id="rId19" Type="http://schemas.openxmlformats.org/officeDocument/2006/relationships/image" Target="../media/image276.svg"/><Relationship Id="rId4" Type="http://schemas.openxmlformats.org/officeDocument/2006/relationships/oleObject" Target="../embeddings/oleObject51.bin"/><Relationship Id="rId9" Type="http://schemas.openxmlformats.org/officeDocument/2006/relationships/image" Target="../media/image333.svg"/><Relationship Id="rId14" Type="http://schemas.openxmlformats.org/officeDocument/2006/relationships/image" Target="../media/image21.png"/><Relationship Id="rId22" Type="http://schemas.openxmlformats.org/officeDocument/2006/relationships/image" Target="../media/image281.png"/><Relationship Id="rId27" Type="http://schemas.openxmlformats.org/officeDocument/2006/relationships/image" Target="../media/image293.svg"/></Relationships>
</file>

<file path=ppt/slides/_rels/slide51.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78.svg"/><Relationship Id="rId18" Type="http://schemas.openxmlformats.org/officeDocument/2006/relationships/image" Target="../media/image271.png"/><Relationship Id="rId3" Type="http://schemas.openxmlformats.org/officeDocument/2006/relationships/notesSlide" Target="../notesSlides/notesSlide49.xml"/><Relationship Id="rId21" Type="http://schemas.openxmlformats.org/officeDocument/2006/relationships/image" Target="../media/image24.svg"/><Relationship Id="rId7" Type="http://schemas.openxmlformats.org/officeDocument/2006/relationships/image" Target="../media/image331.svg"/><Relationship Id="rId12" Type="http://schemas.openxmlformats.org/officeDocument/2006/relationships/image" Target="../media/image277.png"/><Relationship Id="rId17" Type="http://schemas.openxmlformats.org/officeDocument/2006/relationships/image" Target="../media/image337.svg"/><Relationship Id="rId2" Type="http://schemas.openxmlformats.org/officeDocument/2006/relationships/slideLayout" Target="../slideLayouts/slideLayout3.xml"/><Relationship Id="rId16" Type="http://schemas.openxmlformats.org/officeDocument/2006/relationships/image" Target="../media/image336.png"/><Relationship Id="rId20" Type="http://schemas.openxmlformats.org/officeDocument/2006/relationships/image" Target="../media/image23.png"/><Relationship Id="rId1" Type="http://schemas.openxmlformats.org/officeDocument/2006/relationships/tags" Target="../tags/tag99.xml"/><Relationship Id="rId6" Type="http://schemas.openxmlformats.org/officeDocument/2006/relationships/image" Target="../media/image330.png"/><Relationship Id="rId11" Type="http://schemas.openxmlformats.org/officeDocument/2006/relationships/image" Target="../media/image335.svg"/><Relationship Id="rId5" Type="http://schemas.openxmlformats.org/officeDocument/2006/relationships/image" Target="../media/image1.emf"/><Relationship Id="rId15" Type="http://schemas.openxmlformats.org/officeDocument/2006/relationships/image" Target="../media/image22.svg"/><Relationship Id="rId23" Type="http://schemas.openxmlformats.org/officeDocument/2006/relationships/image" Target="../media/image299.svg"/><Relationship Id="rId10" Type="http://schemas.openxmlformats.org/officeDocument/2006/relationships/image" Target="../media/image334.png"/><Relationship Id="rId19" Type="http://schemas.openxmlformats.org/officeDocument/2006/relationships/image" Target="../media/image272.svg"/><Relationship Id="rId4" Type="http://schemas.openxmlformats.org/officeDocument/2006/relationships/oleObject" Target="../embeddings/oleObject52.bin"/><Relationship Id="rId9" Type="http://schemas.openxmlformats.org/officeDocument/2006/relationships/image" Target="../media/image333.svg"/><Relationship Id="rId14" Type="http://schemas.openxmlformats.org/officeDocument/2006/relationships/image" Target="../media/image21.png"/><Relationship Id="rId22" Type="http://schemas.openxmlformats.org/officeDocument/2006/relationships/image" Target="../media/image298.png"/></Relationships>
</file>

<file path=ppt/slides/_rels/slide52.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4.svg"/><Relationship Id="rId18" Type="http://schemas.openxmlformats.org/officeDocument/2006/relationships/image" Target="../media/image283.png"/><Relationship Id="rId26" Type="http://schemas.openxmlformats.org/officeDocument/2006/relationships/image" Target="../media/image340.png"/><Relationship Id="rId3" Type="http://schemas.openxmlformats.org/officeDocument/2006/relationships/notesSlide" Target="../notesSlides/notesSlide50.xml"/><Relationship Id="rId21" Type="http://schemas.openxmlformats.org/officeDocument/2006/relationships/image" Target="../media/image268.svg"/><Relationship Id="rId7" Type="http://schemas.openxmlformats.org/officeDocument/2006/relationships/image" Target="../media/image331.svg"/><Relationship Id="rId12" Type="http://schemas.openxmlformats.org/officeDocument/2006/relationships/image" Target="../media/image23.png"/><Relationship Id="rId17" Type="http://schemas.openxmlformats.org/officeDocument/2006/relationships/image" Target="../media/image337.svg"/><Relationship Id="rId25" Type="http://schemas.openxmlformats.org/officeDocument/2006/relationships/image" Target="../media/image339.svg"/><Relationship Id="rId2" Type="http://schemas.openxmlformats.org/officeDocument/2006/relationships/slideLayout" Target="../slideLayouts/slideLayout3.xml"/><Relationship Id="rId16" Type="http://schemas.openxmlformats.org/officeDocument/2006/relationships/image" Target="../media/image336.png"/><Relationship Id="rId20" Type="http://schemas.openxmlformats.org/officeDocument/2006/relationships/image" Target="../media/image267.png"/><Relationship Id="rId1" Type="http://schemas.openxmlformats.org/officeDocument/2006/relationships/tags" Target="../tags/tag100.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338.png"/><Relationship Id="rId5" Type="http://schemas.openxmlformats.org/officeDocument/2006/relationships/image" Target="../media/image1.emf"/><Relationship Id="rId15" Type="http://schemas.openxmlformats.org/officeDocument/2006/relationships/image" Target="../media/image22.svg"/><Relationship Id="rId23" Type="http://schemas.openxmlformats.org/officeDocument/2006/relationships/image" Target="../media/image301.svg"/><Relationship Id="rId28" Type="http://schemas.openxmlformats.org/officeDocument/2006/relationships/image" Target="../media/image342.svg"/><Relationship Id="rId10" Type="http://schemas.openxmlformats.org/officeDocument/2006/relationships/image" Target="../media/image334.png"/><Relationship Id="rId19" Type="http://schemas.openxmlformats.org/officeDocument/2006/relationships/image" Target="../media/image284.svg"/><Relationship Id="rId4" Type="http://schemas.openxmlformats.org/officeDocument/2006/relationships/oleObject" Target="../embeddings/oleObject53.bin"/><Relationship Id="rId9" Type="http://schemas.openxmlformats.org/officeDocument/2006/relationships/image" Target="../media/image333.svg"/><Relationship Id="rId14" Type="http://schemas.openxmlformats.org/officeDocument/2006/relationships/image" Target="../media/image21.png"/><Relationship Id="rId22" Type="http://schemas.openxmlformats.org/officeDocument/2006/relationships/image" Target="../media/image300.png"/><Relationship Id="rId27" Type="http://schemas.openxmlformats.org/officeDocument/2006/relationships/image" Target="../media/image341.png"/></Relationships>
</file>

<file path=ppt/slides/_rels/slide53.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78.svg"/><Relationship Id="rId18" Type="http://schemas.openxmlformats.org/officeDocument/2006/relationships/image" Target="../media/image336.png"/><Relationship Id="rId3" Type="http://schemas.openxmlformats.org/officeDocument/2006/relationships/notesSlide" Target="../notesSlides/notesSlide51.xml"/><Relationship Id="rId21" Type="http://schemas.openxmlformats.org/officeDocument/2006/relationships/image" Target="../media/image284.svg"/><Relationship Id="rId7" Type="http://schemas.openxmlformats.org/officeDocument/2006/relationships/image" Target="../media/image331.svg"/><Relationship Id="rId12" Type="http://schemas.openxmlformats.org/officeDocument/2006/relationships/image" Target="../media/image277.png"/><Relationship Id="rId17" Type="http://schemas.openxmlformats.org/officeDocument/2006/relationships/image" Target="../media/image22.svg"/><Relationship Id="rId2" Type="http://schemas.openxmlformats.org/officeDocument/2006/relationships/slideLayout" Target="../slideLayouts/slideLayout3.xml"/><Relationship Id="rId16" Type="http://schemas.openxmlformats.org/officeDocument/2006/relationships/image" Target="../media/image21.png"/><Relationship Id="rId20" Type="http://schemas.openxmlformats.org/officeDocument/2006/relationships/image" Target="../media/image283.png"/><Relationship Id="rId1" Type="http://schemas.openxmlformats.org/officeDocument/2006/relationships/tags" Target="../tags/tag101.xml"/><Relationship Id="rId6" Type="http://schemas.openxmlformats.org/officeDocument/2006/relationships/image" Target="../media/image330.png"/><Relationship Id="rId11" Type="http://schemas.openxmlformats.org/officeDocument/2006/relationships/image" Target="../media/image335.svg"/><Relationship Id="rId5" Type="http://schemas.openxmlformats.org/officeDocument/2006/relationships/image" Target="../media/image1.emf"/><Relationship Id="rId15" Type="http://schemas.openxmlformats.org/officeDocument/2006/relationships/image" Target="../media/image344.png"/><Relationship Id="rId23" Type="http://schemas.openxmlformats.org/officeDocument/2006/relationships/image" Target="../media/image303.svg"/><Relationship Id="rId10" Type="http://schemas.openxmlformats.org/officeDocument/2006/relationships/image" Target="../media/image334.png"/><Relationship Id="rId19" Type="http://schemas.openxmlformats.org/officeDocument/2006/relationships/image" Target="../media/image337.svg"/><Relationship Id="rId4" Type="http://schemas.openxmlformats.org/officeDocument/2006/relationships/oleObject" Target="../embeddings/oleObject54.bin"/><Relationship Id="rId9" Type="http://schemas.openxmlformats.org/officeDocument/2006/relationships/image" Target="../media/image333.svg"/><Relationship Id="rId14" Type="http://schemas.openxmlformats.org/officeDocument/2006/relationships/image" Target="../media/image343.png"/><Relationship Id="rId22" Type="http://schemas.openxmlformats.org/officeDocument/2006/relationships/image" Target="../media/image302.png"/></Relationships>
</file>

<file path=ppt/slides/_rels/slide54.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78.svg"/><Relationship Id="rId18" Type="http://schemas.openxmlformats.org/officeDocument/2006/relationships/image" Target="../media/image271.png"/><Relationship Id="rId3" Type="http://schemas.openxmlformats.org/officeDocument/2006/relationships/notesSlide" Target="../notesSlides/notesSlide52.xml"/><Relationship Id="rId21" Type="http://schemas.openxmlformats.org/officeDocument/2006/relationships/image" Target="../media/image270.svg"/><Relationship Id="rId7" Type="http://schemas.openxmlformats.org/officeDocument/2006/relationships/image" Target="../media/image331.svg"/><Relationship Id="rId12" Type="http://schemas.openxmlformats.org/officeDocument/2006/relationships/image" Target="../media/image277.png"/><Relationship Id="rId17" Type="http://schemas.openxmlformats.org/officeDocument/2006/relationships/image" Target="../media/image337.svg"/><Relationship Id="rId2" Type="http://schemas.openxmlformats.org/officeDocument/2006/relationships/slideLayout" Target="../slideLayouts/slideLayout3.xml"/><Relationship Id="rId16" Type="http://schemas.openxmlformats.org/officeDocument/2006/relationships/image" Target="../media/image336.png"/><Relationship Id="rId20" Type="http://schemas.openxmlformats.org/officeDocument/2006/relationships/image" Target="../media/image269.png"/><Relationship Id="rId1" Type="http://schemas.openxmlformats.org/officeDocument/2006/relationships/tags" Target="../tags/tag102.xml"/><Relationship Id="rId6" Type="http://schemas.openxmlformats.org/officeDocument/2006/relationships/image" Target="../media/image330.png"/><Relationship Id="rId11" Type="http://schemas.openxmlformats.org/officeDocument/2006/relationships/image" Target="../media/image335.svg"/><Relationship Id="rId5" Type="http://schemas.openxmlformats.org/officeDocument/2006/relationships/image" Target="../media/image1.emf"/><Relationship Id="rId15" Type="http://schemas.openxmlformats.org/officeDocument/2006/relationships/image" Target="../media/image22.svg"/><Relationship Id="rId23" Type="http://schemas.openxmlformats.org/officeDocument/2006/relationships/image" Target="../media/image305.svg"/><Relationship Id="rId10" Type="http://schemas.openxmlformats.org/officeDocument/2006/relationships/image" Target="../media/image334.png"/><Relationship Id="rId19" Type="http://schemas.openxmlformats.org/officeDocument/2006/relationships/image" Target="../media/image272.svg"/><Relationship Id="rId4" Type="http://schemas.openxmlformats.org/officeDocument/2006/relationships/oleObject" Target="../embeddings/oleObject55.bin"/><Relationship Id="rId9" Type="http://schemas.openxmlformats.org/officeDocument/2006/relationships/image" Target="../media/image333.svg"/><Relationship Id="rId14" Type="http://schemas.openxmlformats.org/officeDocument/2006/relationships/image" Target="../media/image21.png"/><Relationship Id="rId22" Type="http://schemas.openxmlformats.org/officeDocument/2006/relationships/image" Target="../media/image304.png"/></Relationships>
</file>

<file path=ppt/slides/_rels/slide55.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78.svg"/><Relationship Id="rId18" Type="http://schemas.openxmlformats.org/officeDocument/2006/relationships/image" Target="../media/image306.png"/><Relationship Id="rId3" Type="http://schemas.openxmlformats.org/officeDocument/2006/relationships/notesSlide" Target="../notesSlides/notesSlide53.xml"/><Relationship Id="rId21" Type="http://schemas.openxmlformats.org/officeDocument/2006/relationships/image" Target="../media/image346.svg"/><Relationship Id="rId7" Type="http://schemas.openxmlformats.org/officeDocument/2006/relationships/image" Target="../media/image331.svg"/><Relationship Id="rId12" Type="http://schemas.openxmlformats.org/officeDocument/2006/relationships/image" Target="../media/image277.png"/><Relationship Id="rId17" Type="http://schemas.openxmlformats.org/officeDocument/2006/relationships/image" Target="../media/image337.svg"/><Relationship Id="rId2" Type="http://schemas.openxmlformats.org/officeDocument/2006/relationships/slideLayout" Target="../slideLayouts/slideLayout3.xml"/><Relationship Id="rId16" Type="http://schemas.openxmlformats.org/officeDocument/2006/relationships/image" Target="../media/image336.png"/><Relationship Id="rId20" Type="http://schemas.openxmlformats.org/officeDocument/2006/relationships/image" Target="../media/image345.png"/><Relationship Id="rId1" Type="http://schemas.openxmlformats.org/officeDocument/2006/relationships/tags" Target="../tags/tag103.xml"/><Relationship Id="rId6" Type="http://schemas.openxmlformats.org/officeDocument/2006/relationships/image" Target="../media/image330.png"/><Relationship Id="rId11" Type="http://schemas.openxmlformats.org/officeDocument/2006/relationships/image" Target="../media/image335.svg"/><Relationship Id="rId5" Type="http://schemas.openxmlformats.org/officeDocument/2006/relationships/image" Target="../media/image1.emf"/><Relationship Id="rId15" Type="http://schemas.openxmlformats.org/officeDocument/2006/relationships/image" Target="../media/image22.svg"/><Relationship Id="rId10" Type="http://schemas.openxmlformats.org/officeDocument/2006/relationships/image" Target="../media/image334.png"/><Relationship Id="rId19" Type="http://schemas.openxmlformats.org/officeDocument/2006/relationships/image" Target="../media/image307.svg"/><Relationship Id="rId4" Type="http://schemas.openxmlformats.org/officeDocument/2006/relationships/oleObject" Target="../embeddings/oleObject56.bin"/><Relationship Id="rId9" Type="http://schemas.openxmlformats.org/officeDocument/2006/relationships/image" Target="../media/image333.svg"/><Relationship Id="rId14" Type="http://schemas.openxmlformats.org/officeDocument/2006/relationships/image" Target="../media/image21.png"/></Relationships>
</file>

<file path=ppt/slides/_rels/slide56.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72.svg"/><Relationship Id="rId18" Type="http://schemas.openxmlformats.org/officeDocument/2006/relationships/image" Target="../media/image269.png"/><Relationship Id="rId3" Type="http://schemas.openxmlformats.org/officeDocument/2006/relationships/notesSlide" Target="../notesSlides/notesSlide54.xml"/><Relationship Id="rId21" Type="http://schemas.openxmlformats.org/officeDocument/2006/relationships/image" Target="../media/image309.svg"/><Relationship Id="rId7" Type="http://schemas.openxmlformats.org/officeDocument/2006/relationships/image" Target="../media/image331.svg"/><Relationship Id="rId12" Type="http://schemas.openxmlformats.org/officeDocument/2006/relationships/image" Target="../media/image271.png"/><Relationship Id="rId17" Type="http://schemas.openxmlformats.org/officeDocument/2006/relationships/image" Target="../media/image337.svg"/><Relationship Id="rId2" Type="http://schemas.openxmlformats.org/officeDocument/2006/relationships/slideLayout" Target="../slideLayouts/slideLayout3.xml"/><Relationship Id="rId16" Type="http://schemas.openxmlformats.org/officeDocument/2006/relationships/image" Target="../media/image336.png"/><Relationship Id="rId20" Type="http://schemas.openxmlformats.org/officeDocument/2006/relationships/image" Target="../media/image308.png"/><Relationship Id="rId1" Type="http://schemas.openxmlformats.org/officeDocument/2006/relationships/tags" Target="../tags/tag104.xml"/><Relationship Id="rId6" Type="http://schemas.openxmlformats.org/officeDocument/2006/relationships/image" Target="../media/image330.png"/><Relationship Id="rId11" Type="http://schemas.openxmlformats.org/officeDocument/2006/relationships/image" Target="../media/image335.svg"/><Relationship Id="rId5" Type="http://schemas.openxmlformats.org/officeDocument/2006/relationships/image" Target="../media/image1.emf"/><Relationship Id="rId15" Type="http://schemas.openxmlformats.org/officeDocument/2006/relationships/image" Target="../media/image22.svg"/><Relationship Id="rId10" Type="http://schemas.openxmlformats.org/officeDocument/2006/relationships/image" Target="../media/image334.png"/><Relationship Id="rId19" Type="http://schemas.openxmlformats.org/officeDocument/2006/relationships/image" Target="../media/image270.svg"/><Relationship Id="rId4" Type="http://schemas.openxmlformats.org/officeDocument/2006/relationships/oleObject" Target="../embeddings/oleObject57.bin"/><Relationship Id="rId9" Type="http://schemas.openxmlformats.org/officeDocument/2006/relationships/image" Target="../media/image333.svg"/><Relationship Id="rId14" Type="http://schemas.openxmlformats.org/officeDocument/2006/relationships/image" Target="../media/image21.png"/></Relationships>
</file>

<file path=ppt/slides/_rels/slide57.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72.svg"/><Relationship Id="rId18" Type="http://schemas.openxmlformats.org/officeDocument/2006/relationships/image" Target="../media/image269.png"/><Relationship Id="rId3" Type="http://schemas.openxmlformats.org/officeDocument/2006/relationships/notesSlide" Target="../notesSlides/notesSlide55.xml"/><Relationship Id="rId21" Type="http://schemas.openxmlformats.org/officeDocument/2006/relationships/image" Target="../media/image311.svg"/><Relationship Id="rId7" Type="http://schemas.openxmlformats.org/officeDocument/2006/relationships/image" Target="../media/image331.svg"/><Relationship Id="rId12" Type="http://schemas.openxmlformats.org/officeDocument/2006/relationships/image" Target="../media/image271.png"/><Relationship Id="rId17" Type="http://schemas.openxmlformats.org/officeDocument/2006/relationships/image" Target="../media/image337.svg"/><Relationship Id="rId2" Type="http://schemas.openxmlformats.org/officeDocument/2006/relationships/slideLayout" Target="../slideLayouts/slideLayout3.xml"/><Relationship Id="rId16" Type="http://schemas.openxmlformats.org/officeDocument/2006/relationships/image" Target="../media/image336.png"/><Relationship Id="rId20" Type="http://schemas.openxmlformats.org/officeDocument/2006/relationships/image" Target="../media/image310.png"/><Relationship Id="rId1" Type="http://schemas.openxmlformats.org/officeDocument/2006/relationships/tags" Target="../tags/tag105.xml"/><Relationship Id="rId6" Type="http://schemas.openxmlformats.org/officeDocument/2006/relationships/image" Target="../media/image330.png"/><Relationship Id="rId11" Type="http://schemas.openxmlformats.org/officeDocument/2006/relationships/image" Target="../media/image335.svg"/><Relationship Id="rId5" Type="http://schemas.openxmlformats.org/officeDocument/2006/relationships/image" Target="../media/image1.emf"/><Relationship Id="rId15" Type="http://schemas.openxmlformats.org/officeDocument/2006/relationships/image" Target="../media/image22.svg"/><Relationship Id="rId10" Type="http://schemas.openxmlformats.org/officeDocument/2006/relationships/image" Target="../media/image334.png"/><Relationship Id="rId19" Type="http://schemas.openxmlformats.org/officeDocument/2006/relationships/image" Target="../media/image270.svg"/><Relationship Id="rId4" Type="http://schemas.openxmlformats.org/officeDocument/2006/relationships/oleObject" Target="../embeddings/oleObject58.bin"/><Relationship Id="rId9" Type="http://schemas.openxmlformats.org/officeDocument/2006/relationships/image" Target="../media/image333.svg"/><Relationship Id="rId14" Type="http://schemas.openxmlformats.org/officeDocument/2006/relationships/image" Target="../media/image21.png"/><Relationship Id="rId22" Type="http://schemas.openxmlformats.org/officeDocument/2006/relationships/image" Target="../media/image347.png"/></Relationships>
</file>

<file path=ppt/slides/_rels/slide58.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2.svg"/><Relationship Id="rId18" Type="http://schemas.openxmlformats.org/officeDocument/2006/relationships/image" Target="../media/image269.png"/><Relationship Id="rId26" Type="http://schemas.openxmlformats.org/officeDocument/2006/relationships/image" Target="../media/image312.png"/><Relationship Id="rId3" Type="http://schemas.openxmlformats.org/officeDocument/2006/relationships/notesSlide" Target="../notesSlides/notesSlide56.xml"/><Relationship Id="rId21" Type="http://schemas.openxmlformats.org/officeDocument/2006/relationships/image" Target="../media/image266.svg"/><Relationship Id="rId7" Type="http://schemas.openxmlformats.org/officeDocument/2006/relationships/image" Target="../media/image331.svg"/><Relationship Id="rId12" Type="http://schemas.openxmlformats.org/officeDocument/2006/relationships/image" Target="../media/image21.png"/><Relationship Id="rId17" Type="http://schemas.openxmlformats.org/officeDocument/2006/relationships/image" Target="../media/image24.svg"/><Relationship Id="rId25" Type="http://schemas.openxmlformats.org/officeDocument/2006/relationships/image" Target="../media/image349.svg"/><Relationship Id="rId2" Type="http://schemas.openxmlformats.org/officeDocument/2006/relationships/slideLayout" Target="../slideLayouts/slideLayout3.xml"/><Relationship Id="rId16" Type="http://schemas.openxmlformats.org/officeDocument/2006/relationships/image" Target="../media/image23.png"/><Relationship Id="rId20" Type="http://schemas.openxmlformats.org/officeDocument/2006/relationships/image" Target="../media/image265.png"/><Relationship Id="rId1" Type="http://schemas.openxmlformats.org/officeDocument/2006/relationships/tags" Target="../tags/tag106.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348.png"/><Relationship Id="rId5" Type="http://schemas.openxmlformats.org/officeDocument/2006/relationships/image" Target="../media/image1.emf"/><Relationship Id="rId15" Type="http://schemas.openxmlformats.org/officeDocument/2006/relationships/image" Target="../media/image337.svg"/><Relationship Id="rId23" Type="http://schemas.openxmlformats.org/officeDocument/2006/relationships/image" Target="../media/image272.svg"/><Relationship Id="rId10" Type="http://schemas.openxmlformats.org/officeDocument/2006/relationships/image" Target="../media/image334.png"/><Relationship Id="rId19" Type="http://schemas.openxmlformats.org/officeDocument/2006/relationships/image" Target="../media/image270.svg"/><Relationship Id="rId4" Type="http://schemas.openxmlformats.org/officeDocument/2006/relationships/oleObject" Target="../embeddings/oleObject59.bin"/><Relationship Id="rId9" Type="http://schemas.openxmlformats.org/officeDocument/2006/relationships/image" Target="../media/image333.svg"/><Relationship Id="rId14" Type="http://schemas.openxmlformats.org/officeDocument/2006/relationships/image" Target="../media/image336.png"/><Relationship Id="rId22" Type="http://schemas.openxmlformats.org/officeDocument/2006/relationships/image" Target="../media/image271.png"/><Relationship Id="rId27" Type="http://schemas.openxmlformats.org/officeDocument/2006/relationships/image" Target="../media/image313.svg"/></Relationships>
</file>

<file path=ppt/slides/_rels/slide59.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2.svg"/><Relationship Id="rId18" Type="http://schemas.openxmlformats.org/officeDocument/2006/relationships/image" Target="../media/image273.png"/><Relationship Id="rId3" Type="http://schemas.openxmlformats.org/officeDocument/2006/relationships/notesSlide" Target="../notesSlides/notesSlide57.xml"/><Relationship Id="rId21" Type="http://schemas.openxmlformats.org/officeDocument/2006/relationships/image" Target="../media/image314.png"/><Relationship Id="rId7" Type="http://schemas.openxmlformats.org/officeDocument/2006/relationships/image" Target="../media/image331.svg"/><Relationship Id="rId12" Type="http://schemas.openxmlformats.org/officeDocument/2006/relationships/image" Target="../media/image21.png"/><Relationship Id="rId17" Type="http://schemas.openxmlformats.org/officeDocument/2006/relationships/image" Target="../media/image278.svg"/><Relationship Id="rId2" Type="http://schemas.openxmlformats.org/officeDocument/2006/relationships/slideLayout" Target="../slideLayouts/slideLayout3.xml"/><Relationship Id="rId16" Type="http://schemas.openxmlformats.org/officeDocument/2006/relationships/image" Target="../media/image277.png"/><Relationship Id="rId20" Type="http://schemas.openxmlformats.org/officeDocument/2006/relationships/image" Target="../media/image350.png"/><Relationship Id="rId1" Type="http://schemas.openxmlformats.org/officeDocument/2006/relationships/tags" Target="../tags/tag107.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352.svg"/><Relationship Id="rId5" Type="http://schemas.openxmlformats.org/officeDocument/2006/relationships/image" Target="../media/image1.emf"/><Relationship Id="rId15" Type="http://schemas.openxmlformats.org/officeDocument/2006/relationships/image" Target="../media/image337.svg"/><Relationship Id="rId23" Type="http://schemas.openxmlformats.org/officeDocument/2006/relationships/image" Target="../media/image351.png"/><Relationship Id="rId10" Type="http://schemas.openxmlformats.org/officeDocument/2006/relationships/image" Target="../media/image334.png"/><Relationship Id="rId19" Type="http://schemas.openxmlformats.org/officeDocument/2006/relationships/image" Target="../media/image274.svg"/><Relationship Id="rId4" Type="http://schemas.openxmlformats.org/officeDocument/2006/relationships/oleObject" Target="../embeddings/oleObject60.bin"/><Relationship Id="rId9" Type="http://schemas.openxmlformats.org/officeDocument/2006/relationships/image" Target="../media/image333.svg"/><Relationship Id="rId14" Type="http://schemas.openxmlformats.org/officeDocument/2006/relationships/image" Target="../media/image336.png"/><Relationship Id="rId22" Type="http://schemas.openxmlformats.org/officeDocument/2006/relationships/image" Target="../media/image315.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25.jpe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0.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2.svg"/><Relationship Id="rId18" Type="http://schemas.openxmlformats.org/officeDocument/2006/relationships/image" Target="../media/image283.png"/><Relationship Id="rId26" Type="http://schemas.openxmlformats.org/officeDocument/2006/relationships/image" Target="../media/image355.png"/><Relationship Id="rId3" Type="http://schemas.openxmlformats.org/officeDocument/2006/relationships/notesSlide" Target="../notesSlides/notesSlide58.xml"/><Relationship Id="rId21" Type="http://schemas.openxmlformats.org/officeDocument/2006/relationships/image" Target="../media/image266.svg"/><Relationship Id="rId7" Type="http://schemas.openxmlformats.org/officeDocument/2006/relationships/image" Target="../media/image331.svg"/><Relationship Id="rId12" Type="http://schemas.openxmlformats.org/officeDocument/2006/relationships/image" Target="../media/image21.png"/><Relationship Id="rId17" Type="http://schemas.openxmlformats.org/officeDocument/2006/relationships/image" Target="../media/image24.svg"/><Relationship Id="rId25" Type="http://schemas.openxmlformats.org/officeDocument/2006/relationships/image" Target="../media/image354.svg"/><Relationship Id="rId2" Type="http://schemas.openxmlformats.org/officeDocument/2006/relationships/slideLayout" Target="../slideLayouts/slideLayout3.xml"/><Relationship Id="rId16" Type="http://schemas.openxmlformats.org/officeDocument/2006/relationships/image" Target="../media/image23.png"/><Relationship Id="rId20" Type="http://schemas.openxmlformats.org/officeDocument/2006/relationships/image" Target="../media/image265.png"/><Relationship Id="rId29" Type="http://schemas.openxmlformats.org/officeDocument/2006/relationships/image" Target="../media/image317.svg"/><Relationship Id="rId1" Type="http://schemas.openxmlformats.org/officeDocument/2006/relationships/tags" Target="../tags/tag108.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353.png"/><Relationship Id="rId5" Type="http://schemas.openxmlformats.org/officeDocument/2006/relationships/image" Target="../media/image1.emf"/><Relationship Id="rId15" Type="http://schemas.openxmlformats.org/officeDocument/2006/relationships/image" Target="../media/image337.svg"/><Relationship Id="rId23" Type="http://schemas.openxmlformats.org/officeDocument/2006/relationships/image" Target="../media/image276.svg"/><Relationship Id="rId28" Type="http://schemas.openxmlformats.org/officeDocument/2006/relationships/image" Target="../media/image316.png"/><Relationship Id="rId10" Type="http://schemas.openxmlformats.org/officeDocument/2006/relationships/image" Target="../media/image334.png"/><Relationship Id="rId19" Type="http://schemas.openxmlformats.org/officeDocument/2006/relationships/image" Target="../media/image284.svg"/><Relationship Id="rId4" Type="http://schemas.openxmlformats.org/officeDocument/2006/relationships/oleObject" Target="../embeddings/oleObject61.bin"/><Relationship Id="rId9" Type="http://schemas.openxmlformats.org/officeDocument/2006/relationships/image" Target="../media/image333.svg"/><Relationship Id="rId14" Type="http://schemas.openxmlformats.org/officeDocument/2006/relationships/image" Target="../media/image336.png"/><Relationship Id="rId22" Type="http://schemas.openxmlformats.org/officeDocument/2006/relationships/image" Target="../media/image275.png"/><Relationship Id="rId27" Type="http://schemas.openxmlformats.org/officeDocument/2006/relationships/image" Target="../media/image356.svg"/></Relationships>
</file>

<file path=ppt/slides/_rels/slide61.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2.svg"/><Relationship Id="rId18" Type="http://schemas.openxmlformats.org/officeDocument/2006/relationships/image" Target="../media/image318.png"/><Relationship Id="rId3" Type="http://schemas.openxmlformats.org/officeDocument/2006/relationships/notesSlide" Target="../notesSlides/notesSlide59.xml"/><Relationship Id="rId21" Type="http://schemas.openxmlformats.org/officeDocument/2006/relationships/image" Target="../media/image352.svg"/><Relationship Id="rId7" Type="http://schemas.openxmlformats.org/officeDocument/2006/relationships/image" Target="../media/image331.svg"/><Relationship Id="rId12" Type="http://schemas.openxmlformats.org/officeDocument/2006/relationships/image" Target="../media/image21.png"/><Relationship Id="rId17" Type="http://schemas.openxmlformats.org/officeDocument/2006/relationships/image" Target="../media/image278.svg"/><Relationship Id="rId2" Type="http://schemas.openxmlformats.org/officeDocument/2006/relationships/slideLayout" Target="../slideLayouts/slideLayout3.xml"/><Relationship Id="rId16" Type="http://schemas.openxmlformats.org/officeDocument/2006/relationships/image" Target="../media/image277.png"/><Relationship Id="rId20" Type="http://schemas.openxmlformats.org/officeDocument/2006/relationships/image" Target="../media/image351.png"/><Relationship Id="rId1" Type="http://schemas.openxmlformats.org/officeDocument/2006/relationships/tags" Target="../tags/tag109.xml"/><Relationship Id="rId6" Type="http://schemas.openxmlformats.org/officeDocument/2006/relationships/image" Target="../media/image330.png"/><Relationship Id="rId11" Type="http://schemas.openxmlformats.org/officeDocument/2006/relationships/image" Target="../media/image335.svg"/><Relationship Id="rId5" Type="http://schemas.openxmlformats.org/officeDocument/2006/relationships/image" Target="../media/image1.emf"/><Relationship Id="rId15" Type="http://schemas.openxmlformats.org/officeDocument/2006/relationships/image" Target="../media/image337.svg"/><Relationship Id="rId10" Type="http://schemas.openxmlformats.org/officeDocument/2006/relationships/image" Target="../media/image334.png"/><Relationship Id="rId19" Type="http://schemas.openxmlformats.org/officeDocument/2006/relationships/image" Target="../media/image319.svg"/><Relationship Id="rId4" Type="http://schemas.openxmlformats.org/officeDocument/2006/relationships/oleObject" Target="../embeddings/oleObject62.bin"/><Relationship Id="rId9" Type="http://schemas.openxmlformats.org/officeDocument/2006/relationships/image" Target="../media/image333.svg"/><Relationship Id="rId14" Type="http://schemas.openxmlformats.org/officeDocument/2006/relationships/image" Target="../media/image336.png"/></Relationships>
</file>

<file path=ppt/slides/_rels/slide62.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2.svg"/><Relationship Id="rId18" Type="http://schemas.openxmlformats.org/officeDocument/2006/relationships/image" Target="../media/image281.png"/><Relationship Id="rId26" Type="http://schemas.openxmlformats.org/officeDocument/2006/relationships/image" Target="../media/image357.png"/><Relationship Id="rId3" Type="http://schemas.openxmlformats.org/officeDocument/2006/relationships/notesSlide" Target="../notesSlides/notesSlide60.xml"/><Relationship Id="rId21" Type="http://schemas.openxmlformats.org/officeDocument/2006/relationships/image" Target="../media/image284.svg"/><Relationship Id="rId7" Type="http://schemas.openxmlformats.org/officeDocument/2006/relationships/image" Target="../media/image331.svg"/><Relationship Id="rId12" Type="http://schemas.openxmlformats.org/officeDocument/2006/relationships/image" Target="../media/image21.png"/><Relationship Id="rId17" Type="http://schemas.openxmlformats.org/officeDocument/2006/relationships/image" Target="../media/image278.svg"/><Relationship Id="rId25" Type="http://schemas.openxmlformats.org/officeDocument/2006/relationships/image" Target="../media/image321.svg"/><Relationship Id="rId2" Type="http://schemas.openxmlformats.org/officeDocument/2006/relationships/slideLayout" Target="../slideLayouts/slideLayout3.xml"/><Relationship Id="rId16" Type="http://schemas.openxmlformats.org/officeDocument/2006/relationships/image" Target="../media/image277.png"/><Relationship Id="rId20" Type="http://schemas.openxmlformats.org/officeDocument/2006/relationships/image" Target="../media/image283.png"/><Relationship Id="rId1" Type="http://schemas.openxmlformats.org/officeDocument/2006/relationships/tags" Target="../tags/tag110.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320.png"/><Relationship Id="rId5" Type="http://schemas.openxmlformats.org/officeDocument/2006/relationships/image" Target="../media/image1.emf"/><Relationship Id="rId15" Type="http://schemas.openxmlformats.org/officeDocument/2006/relationships/image" Target="../media/image337.svg"/><Relationship Id="rId23" Type="http://schemas.openxmlformats.org/officeDocument/2006/relationships/image" Target="../media/image339.svg"/><Relationship Id="rId10" Type="http://schemas.openxmlformats.org/officeDocument/2006/relationships/image" Target="../media/image334.png"/><Relationship Id="rId19" Type="http://schemas.openxmlformats.org/officeDocument/2006/relationships/image" Target="../media/image282.svg"/><Relationship Id="rId4" Type="http://schemas.openxmlformats.org/officeDocument/2006/relationships/oleObject" Target="../embeddings/oleObject63.bin"/><Relationship Id="rId9" Type="http://schemas.openxmlformats.org/officeDocument/2006/relationships/image" Target="../media/image333.svg"/><Relationship Id="rId14" Type="http://schemas.openxmlformats.org/officeDocument/2006/relationships/image" Target="../media/image336.png"/><Relationship Id="rId22" Type="http://schemas.openxmlformats.org/officeDocument/2006/relationships/image" Target="../media/image338.png"/><Relationship Id="rId27" Type="http://schemas.openxmlformats.org/officeDocument/2006/relationships/image" Target="../media/image358.svg"/></Relationships>
</file>

<file path=ppt/slides/_rels/slide63.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2.svg"/><Relationship Id="rId18" Type="http://schemas.openxmlformats.org/officeDocument/2006/relationships/image" Target="../media/image271.png"/><Relationship Id="rId26" Type="http://schemas.openxmlformats.org/officeDocument/2006/relationships/image" Target="../media/image359.jpeg"/><Relationship Id="rId3" Type="http://schemas.openxmlformats.org/officeDocument/2006/relationships/notesSlide" Target="../notesSlides/notesSlide61.xml"/><Relationship Id="rId21" Type="http://schemas.openxmlformats.org/officeDocument/2006/relationships/image" Target="../media/image274.svg"/><Relationship Id="rId7" Type="http://schemas.openxmlformats.org/officeDocument/2006/relationships/image" Target="../media/image331.svg"/><Relationship Id="rId12" Type="http://schemas.openxmlformats.org/officeDocument/2006/relationships/image" Target="../media/image21.png"/><Relationship Id="rId17" Type="http://schemas.openxmlformats.org/officeDocument/2006/relationships/image" Target="../media/image278.svg"/><Relationship Id="rId25" Type="http://schemas.openxmlformats.org/officeDocument/2006/relationships/image" Target="../media/image323.svg"/><Relationship Id="rId2" Type="http://schemas.openxmlformats.org/officeDocument/2006/relationships/slideLayout" Target="../slideLayouts/slideLayout3.xml"/><Relationship Id="rId16" Type="http://schemas.openxmlformats.org/officeDocument/2006/relationships/image" Target="../media/image277.png"/><Relationship Id="rId20" Type="http://schemas.openxmlformats.org/officeDocument/2006/relationships/image" Target="../media/image273.png"/><Relationship Id="rId1" Type="http://schemas.openxmlformats.org/officeDocument/2006/relationships/tags" Target="../tags/tag111.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322.png"/><Relationship Id="rId5" Type="http://schemas.openxmlformats.org/officeDocument/2006/relationships/image" Target="../media/image1.emf"/><Relationship Id="rId15" Type="http://schemas.openxmlformats.org/officeDocument/2006/relationships/image" Target="../media/image337.svg"/><Relationship Id="rId23" Type="http://schemas.openxmlformats.org/officeDocument/2006/relationships/image" Target="../media/image270.svg"/><Relationship Id="rId10" Type="http://schemas.openxmlformats.org/officeDocument/2006/relationships/image" Target="../media/image334.png"/><Relationship Id="rId19" Type="http://schemas.openxmlformats.org/officeDocument/2006/relationships/image" Target="../media/image272.svg"/><Relationship Id="rId4" Type="http://schemas.openxmlformats.org/officeDocument/2006/relationships/oleObject" Target="../embeddings/oleObject64.bin"/><Relationship Id="rId9" Type="http://schemas.openxmlformats.org/officeDocument/2006/relationships/image" Target="../media/image333.svg"/><Relationship Id="rId14" Type="http://schemas.openxmlformats.org/officeDocument/2006/relationships/image" Target="../media/image336.png"/><Relationship Id="rId22" Type="http://schemas.openxmlformats.org/officeDocument/2006/relationships/image" Target="../media/image269.png"/></Relationships>
</file>

<file path=ppt/slides/_rels/slide64.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2.svg"/><Relationship Id="rId18" Type="http://schemas.openxmlformats.org/officeDocument/2006/relationships/image" Target="../media/image271.png"/><Relationship Id="rId26" Type="http://schemas.openxmlformats.org/officeDocument/2006/relationships/image" Target="../media/image360.png"/><Relationship Id="rId3" Type="http://schemas.openxmlformats.org/officeDocument/2006/relationships/notesSlide" Target="../notesSlides/notesSlide62.xml"/><Relationship Id="rId21" Type="http://schemas.openxmlformats.org/officeDocument/2006/relationships/image" Target="../media/image274.svg"/><Relationship Id="rId7" Type="http://schemas.openxmlformats.org/officeDocument/2006/relationships/image" Target="../media/image331.svg"/><Relationship Id="rId12" Type="http://schemas.openxmlformats.org/officeDocument/2006/relationships/image" Target="../media/image21.png"/><Relationship Id="rId17" Type="http://schemas.openxmlformats.org/officeDocument/2006/relationships/image" Target="../media/image278.svg"/><Relationship Id="rId25" Type="http://schemas.openxmlformats.org/officeDocument/2006/relationships/image" Target="../media/image325.svg"/><Relationship Id="rId2" Type="http://schemas.openxmlformats.org/officeDocument/2006/relationships/slideLayout" Target="../slideLayouts/slideLayout3.xml"/><Relationship Id="rId16" Type="http://schemas.openxmlformats.org/officeDocument/2006/relationships/image" Target="../media/image277.png"/><Relationship Id="rId20" Type="http://schemas.openxmlformats.org/officeDocument/2006/relationships/image" Target="../media/image273.png"/><Relationship Id="rId1" Type="http://schemas.openxmlformats.org/officeDocument/2006/relationships/tags" Target="../tags/tag112.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324.png"/><Relationship Id="rId5" Type="http://schemas.openxmlformats.org/officeDocument/2006/relationships/image" Target="../media/image1.emf"/><Relationship Id="rId15" Type="http://schemas.openxmlformats.org/officeDocument/2006/relationships/image" Target="../media/image337.svg"/><Relationship Id="rId23" Type="http://schemas.openxmlformats.org/officeDocument/2006/relationships/image" Target="../media/image270.svg"/><Relationship Id="rId10" Type="http://schemas.openxmlformats.org/officeDocument/2006/relationships/image" Target="../media/image334.png"/><Relationship Id="rId19" Type="http://schemas.openxmlformats.org/officeDocument/2006/relationships/image" Target="../media/image272.svg"/><Relationship Id="rId4" Type="http://schemas.openxmlformats.org/officeDocument/2006/relationships/oleObject" Target="../embeddings/oleObject65.bin"/><Relationship Id="rId9" Type="http://schemas.openxmlformats.org/officeDocument/2006/relationships/image" Target="../media/image333.svg"/><Relationship Id="rId14" Type="http://schemas.openxmlformats.org/officeDocument/2006/relationships/image" Target="../media/image336.png"/><Relationship Id="rId22" Type="http://schemas.openxmlformats.org/officeDocument/2006/relationships/image" Target="../media/image269.png"/><Relationship Id="rId27" Type="http://schemas.openxmlformats.org/officeDocument/2006/relationships/image" Target="../media/image361.svg"/></Relationships>
</file>

<file path=ppt/slides/_rels/slide65.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2.svg"/><Relationship Id="rId18" Type="http://schemas.openxmlformats.org/officeDocument/2006/relationships/image" Target="../media/image283.png"/><Relationship Id="rId3" Type="http://schemas.openxmlformats.org/officeDocument/2006/relationships/notesSlide" Target="../notesSlides/notesSlide63.xml"/><Relationship Id="rId21" Type="http://schemas.openxmlformats.org/officeDocument/2006/relationships/image" Target="../media/image327.svg"/><Relationship Id="rId7" Type="http://schemas.openxmlformats.org/officeDocument/2006/relationships/image" Target="../media/image331.svg"/><Relationship Id="rId12" Type="http://schemas.openxmlformats.org/officeDocument/2006/relationships/image" Target="../media/image21.png"/><Relationship Id="rId17" Type="http://schemas.openxmlformats.org/officeDocument/2006/relationships/image" Target="../media/image274.svg"/><Relationship Id="rId2" Type="http://schemas.openxmlformats.org/officeDocument/2006/relationships/slideLayout" Target="../slideLayouts/slideLayout3.xml"/><Relationship Id="rId16" Type="http://schemas.openxmlformats.org/officeDocument/2006/relationships/image" Target="../media/image273.png"/><Relationship Id="rId20" Type="http://schemas.openxmlformats.org/officeDocument/2006/relationships/image" Target="../media/image326.png"/><Relationship Id="rId1" Type="http://schemas.openxmlformats.org/officeDocument/2006/relationships/tags" Target="../tags/tag113.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364.png"/><Relationship Id="rId5" Type="http://schemas.openxmlformats.org/officeDocument/2006/relationships/image" Target="../media/image1.emf"/><Relationship Id="rId15" Type="http://schemas.openxmlformats.org/officeDocument/2006/relationships/image" Target="../media/image337.svg"/><Relationship Id="rId23" Type="http://schemas.openxmlformats.org/officeDocument/2006/relationships/image" Target="../media/image363.svg"/><Relationship Id="rId10" Type="http://schemas.openxmlformats.org/officeDocument/2006/relationships/image" Target="../media/image334.png"/><Relationship Id="rId19" Type="http://schemas.openxmlformats.org/officeDocument/2006/relationships/image" Target="../media/image284.svg"/><Relationship Id="rId4" Type="http://schemas.openxmlformats.org/officeDocument/2006/relationships/oleObject" Target="../embeddings/oleObject66.bin"/><Relationship Id="rId9" Type="http://schemas.openxmlformats.org/officeDocument/2006/relationships/image" Target="../media/image333.svg"/><Relationship Id="rId14" Type="http://schemas.openxmlformats.org/officeDocument/2006/relationships/image" Target="../media/image336.png"/><Relationship Id="rId22" Type="http://schemas.openxmlformats.org/officeDocument/2006/relationships/image" Target="../media/image362.png"/></Relationships>
</file>

<file path=ppt/slides/_rels/slide66.xml.rels><?xml version="1.0" encoding="UTF-8" standalone="yes"?>
<Relationships xmlns="http://schemas.openxmlformats.org/package/2006/relationships"><Relationship Id="rId8" Type="http://schemas.openxmlformats.org/officeDocument/2006/relationships/image" Target="../media/image332.png"/><Relationship Id="rId13" Type="http://schemas.openxmlformats.org/officeDocument/2006/relationships/image" Target="../media/image22.svg"/><Relationship Id="rId18" Type="http://schemas.openxmlformats.org/officeDocument/2006/relationships/image" Target="../media/image275.png"/><Relationship Id="rId26" Type="http://schemas.openxmlformats.org/officeDocument/2006/relationships/image" Target="../media/image328.png"/><Relationship Id="rId3" Type="http://schemas.openxmlformats.org/officeDocument/2006/relationships/notesSlide" Target="../notesSlides/notesSlide64.xml"/><Relationship Id="rId21" Type="http://schemas.openxmlformats.org/officeDocument/2006/relationships/image" Target="../media/image266.svg"/><Relationship Id="rId7" Type="http://schemas.openxmlformats.org/officeDocument/2006/relationships/image" Target="../media/image331.svg"/><Relationship Id="rId12" Type="http://schemas.openxmlformats.org/officeDocument/2006/relationships/image" Target="../media/image21.png"/><Relationship Id="rId17" Type="http://schemas.openxmlformats.org/officeDocument/2006/relationships/image" Target="../media/image24.svg"/><Relationship Id="rId25" Type="http://schemas.openxmlformats.org/officeDocument/2006/relationships/image" Target="../media/image284.svg"/><Relationship Id="rId2" Type="http://schemas.openxmlformats.org/officeDocument/2006/relationships/slideLayout" Target="../slideLayouts/slideLayout3.xml"/><Relationship Id="rId16" Type="http://schemas.openxmlformats.org/officeDocument/2006/relationships/image" Target="../media/image23.png"/><Relationship Id="rId20" Type="http://schemas.openxmlformats.org/officeDocument/2006/relationships/image" Target="../media/image265.png"/><Relationship Id="rId1" Type="http://schemas.openxmlformats.org/officeDocument/2006/relationships/tags" Target="../tags/tag114.xml"/><Relationship Id="rId6" Type="http://schemas.openxmlformats.org/officeDocument/2006/relationships/image" Target="../media/image330.png"/><Relationship Id="rId11" Type="http://schemas.openxmlformats.org/officeDocument/2006/relationships/image" Target="../media/image335.svg"/><Relationship Id="rId24" Type="http://schemas.openxmlformats.org/officeDocument/2006/relationships/image" Target="../media/image283.png"/><Relationship Id="rId5" Type="http://schemas.openxmlformats.org/officeDocument/2006/relationships/image" Target="../media/image1.emf"/><Relationship Id="rId15" Type="http://schemas.openxmlformats.org/officeDocument/2006/relationships/image" Target="../media/image337.svg"/><Relationship Id="rId23" Type="http://schemas.openxmlformats.org/officeDocument/2006/relationships/image" Target="../media/image272.svg"/><Relationship Id="rId10" Type="http://schemas.openxmlformats.org/officeDocument/2006/relationships/image" Target="../media/image334.png"/><Relationship Id="rId19" Type="http://schemas.openxmlformats.org/officeDocument/2006/relationships/image" Target="../media/image276.svg"/><Relationship Id="rId4" Type="http://schemas.openxmlformats.org/officeDocument/2006/relationships/oleObject" Target="../embeddings/oleObject67.bin"/><Relationship Id="rId9" Type="http://schemas.openxmlformats.org/officeDocument/2006/relationships/image" Target="../media/image333.svg"/><Relationship Id="rId14" Type="http://schemas.openxmlformats.org/officeDocument/2006/relationships/image" Target="../media/image336.png"/><Relationship Id="rId22" Type="http://schemas.openxmlformats.org/officeDocument/2006/relationships/image" Target="../media/image271.png"/><Relationship Id="rId27" Type="http://schemas.openxmlformats.org/officeDocument/2006/relationships/image" Target="../media/image329.sv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8.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68.xml.rels><?xml version="1.0" encoding="UTF-8" standalone="yes"?>
<Relationships xmlns="http://schemas.openxmlformats.org/package/2006/relationships"><Relationship Id="rId8" Type="http://schemas.openxmlformats.org/officeDocument/2006/relationships/image" Target="../media/image277.png"/><Relationship Id="rId13" Type="http://schemas.openxmlformats.org/officeDocument/2006/relationships/image" Target="../media/image282.svg"/><Relationship Id="rId18" Type="http://schemas.openxmlformats.org/officeDocument/2006/relationships/image" Target="../media/image267.png"/><Relationship Id="rId26" Type="http://schemas.openxmlformats.org/officeDocument/2006/relationships/image" Target="../media/image283.png"/><Relationship Id="rId3" Type="http://schemas.openxmlformats.org/officeDocument/2006/relationships/notesSlide" Target="../notesSlides/notesSlide66.xml"/><Relationship Id="rId21" Type="http://schemas.openxmlformats.org/officeDocument/2006/relationships/image" Target="../media/image270.svg"/><Relationship Id="rId7" Type="http://schemas.openxmlformats.org/officeDocument/2006/relationships/image" Target="../media/image276.svg"/><Relationship Id="rId12" Type="http://schemas.openxmlformats.org/officeDocument/2006/relationships/image" Target="../media/image281.png"/><Relationship Id="rId17" Type="http://schemas.openxmlformats.org/officeDocument/2006/relationships/image" Target="../media/image24.svg"/><Relationship Id="rId25" Type="http://schemas.openxmlformats.org/officeDocument/2006/relationships/image" Target="../media/image274.svg"/><Relationship Id="rId2" Type="http://schemas.openxmlformats.org/officeDocument/2006/relationships/slideLayout" Target="../slideLayouts/slideLayout3.xml"/><Relationship Id="rId16" Type="http://schemas.openxmlformats.org/officeDocument/2006/relationships/image" Target="../media/image23.png"/><Relationship Id="rId20" Type="http://schemas.openxmlformats.org/officeDocument/2006/relationships/image" Target="../media/image269.png"/><Relationship Id="rId1" Type="http://schemas.openxmlformats.org/officeDocument/2006/relationships/tags" Target="../tags/tag116.xml"/><Relationship Id="rId6" Type="http://schemas.openxmlformats.org/officeDocument/2006/relationships/image" Target="../media/image275.png"/><Relationship Id="rId11" Type="http://schemas.openxmlformats.org/officeDocument/2006/relationships/image" Target="../media/image280.svg"/><Relationship Id="rId24" Type="http://schemas.openxmlformats.org/officeDocument/2006/relationships/image" Target="../media/image273.png"/><Relationship Id="rId5" Type="http://schemas.openxmlformats.org/officeDocument/2006/relationships/image" Target="../media/image1.emf"/><Relationship Id="rId15" Type="http://schemas.openxmlformats.org/officeDocument/2006/relationships/image" Target="../media/image266.svg"/><Relationship Id="rId23" Type="http://schemas.openxmlformats.org/officeDocument/2006/relationships/image" Target="../media/image272.svg"/><Relationship Id="rId10" Type="http://schemas.openxmlformats.org/officeDocument/2006/relationships/image" Target="../media/image279.png"/><Relationship Id="rId19" Type="http://schemas.openxmlformats.org/officeDocument/2006/relationships/image" Target="../media/image268.svg"/><Relationship Id="rId4" Type="http://schemas.openxmlformats.org/officeDocument/2006/relationships/oleObject" Target="../embeddings/oleObject69.bin"/><Relationship Id="rId9" Type="http://schemas.openxmlformats.org/officeDocument/2006/relationships/image" Target="../media/image278.svg"/><Relationship Id="rId14" Type="http://schemas.openxmlformats.org/officeDocument/2006/relationships/image" Target="../media/image265.png"/><Relationship Id="rId22" Type="http://schemas.openxmlformats.org/officeDocument/2006/relationships/image" Target="../media/image271.png"/><Relationship Id="rId27" Type="http://schemas.openxmlformats.org/officeDocument/2006/relationships/image" Target="../media/image284.sv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9.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1.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70.svg"/><Relationship Id="rId18" Type="http://schemas.openxmlformats.org/officeDocument/2006/relationships/image" Target="../media/image275.png"/><Relationship Id="rId26" Type="http://schemas.openxmlformats.org/officeDocument/2006/relationships/image" Target="../media/image283.png"/><Relationship Id="rId3" Type="http://schemas.openxmlformats.org/officeDocument/2006/relationships/notesSlide" Target="../notesSlides/notesSlide68.xml"/><Relationship Id="rId21" Type="http://schemas.openxmlformats.org/officeDocument/2006/relationships/image" Target="../media/image278.svg"/><Relationship Id="rId7" Type="http://schemas.openxmlformats.org/officeDocument/2006/relationships/image" Target="../media/image266.svg"/><Relationship Id="rId12" Type="http://schemas.openxmlformats.org/officeDocument/2006/relationships/image" Target="../media/image269.png"/><Relationship Id="rId17" Type="http://schemas.openxmlformats.org/officeDocument/2006/relationships/image" Target="../media/image274.svg"/><Relationship Id="rId25" Type="http://schemas.openxmlformats.org/officeDocument/2006/relationships/image" Target="../media/image282.svg"/><Relationship Id="rId2" Type="http://schemas.openxmlformats.org/officeDocument/2006/relationships/slideLayout" Target="../slideLayouts/slideLayout3.xml"/><Relationship Id="rId16" Type="http://schemas.openxmlformats.org/officeDocument/2006/relationships/image" Target="../media/image273.png"/><Relationship Id="rId20" Type="http://schemas.openxmlformats.org/officeDocument/2006/relationships/image" Target="../media/image277.png"/><Relationship Id="rId1" Type="http://schemas.openxmlformats.org/officeDocument/2006/relationships/tags" Target="../tags/tag117.xml"/><Relationship Id="rId6" Type="http://schemas.openxmlformats.org/officeDocument/2006/relationships/image" Target="../media/image265.png"/><Relationship Id="rId11" Type="http://schemas.openxmlformats.org/officeDocument/2006/relationships/image" Target="../media/image268.svg"/><Relationship Id="rId24" Type="http://schemas.openxmlformats.org/officeDocument/2006/relationships/image" Target="../media/image281.png"/><Relationship Id="rId5" Type="http://schemas.openxmlformats.org/officeDocument/2006/relationships/image" Target="../media/image1.emf"/><Relationship Id="rId15" Type="http://schemas.openxmlformats.org/officeDocument/2006/relationships/image" Target="../media/image272.svg"/><Relationship Id="rId23" Type="http://schemas.openxmlformats.org/officeDocument/2006/relationships/image" Target="../media/image280.svg"/><Relationship Id="rId10" Type="http://schemas.openxmlformats.org/officeDocument/2006/relationships/image" Target="../media/image267.png"/><Relationship Id="rId19" Type="http://schemas.openxmlformats.org/officeDocument/2006/relationships/image" Target="../media/image276.svg"/><Relationship Id="rId4" Type="http://schemas.openxmlformats.org/officeDocument/2006/relationships/oleObject" Target="../embeddings/oleObject70.bin"/><Relationship Id="rId9" Type="http://schemas.openxmlformats.org/officeDocument/2006/relationships/image" Target="../media/image24.svg"/><Relationship Id="rId14" Type="http://schemas.openxmlformats.org/officeDocument/2006/relationships/image" Target="../media/image271.png"/><Relationship Id="rId22" Type="http://schemas.openxmlformats.org/officeDocument/2006/relationships/image" Target="../media/image279.png"/><Relationship Id="rId27" Type="http://schemas.openxmlformats.org/officeDocument/2006/relationships/image" Target="../media/image284.svg"/></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tags" Target="../tags/tag13.xml"/><Relationship Id="rId7" Type="http://schemas.openxmlformats.org/officeDocument/2006/relationships/image" Target="../media/image28.emf"/><Relationship Id="rId12" Type="http://schemas.openxmlformats.org/officeDocument/2006/relationships/image" Target="../media/image33.png"/><Relationship Id="rId2" Type="http://schemas.openxmlformats.org/officeDocument/2006/relationships/tags" Target="../tags/tag12.xml"/><Relationship Id="rId16" Type="http://schemas.openxmlformats.org/officeDocument/2006/relationships/image" Target="../media/image37.png"/><Relationship Id="rId1" Type="http://schemas.openxmlformats.org/officeDocument/2006/relationships/tags" Target="../tags/tag11.xml"/><Relationship Id="rId6" Type="http://schemas.openxmlformats.org/officeDocument/2006/relationships/oleObject" Target="../embeddings/oleObject10.bin"/><Relationship Id="rId11" Type="http://schemas.openxmlformats.org/officeDocument/2006/relationships/image" Target="../media/image32.svg"/><Relationship Id="rId5" Type="http://schemas.openxmlformats.org/officeDocument/2006/relationships/notesSlide" Target="../notesSlides/notesSlide8.xml"/><Relationship Id="rId15" Type="http://schemas.openxmlformats.org/officeDocument/2006/relationships/image" Target="../media/image36.png"/><Relationship Id="rId10" Type="http://schemas.openxmlformats.org/officeDocument/2006/relationships/image" Target="../media/image31.png"/><Relationship Id="rId4" Type="http://schemas.openxmlformats.org/officeDocument/2006/relationships/slideLayout" Target="../slideLayouts/slideLayout3.xml"/><Relationship Id="rId9" Type="http://schemas.openxmlformats.org/officeDocument/2006/relationships/image" Target="../media/image30.svg"/><Relationship Id="rId14"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18" Type="http://schemas.openxmlformats.org/officeDocument/2006/relationships/image" Target="../media/image50.png"/><Relationship Id="rId26" Type="http://schemas.openxmlformats.org/officeDocument/2006/relationships/image" Target="../media/image58.png"/><Relationship Id="rId3" Type="http://schemas.openxmlformats.org/officeDocument/2006/relationships/notesSlide" Target="../notesSlides/notesSlide9.xml"/><Relationship Id="rId21" Type="http://schemas.openxmlformats.org/officeDocument/2006/relationships/image" Target="../media/image53.svg"/><Relationship Id="rId7" Type="http://schemas.openxmlformats.org/officeDocument/2006/relationships/image" Target="../media/image39.svg"/><Relationship Id="rId12" Type="http://schemas.openxmlformats.org/officeDocument/2006/relationships/image" Target="../media/image44.png"/><Relationship Id="rId17" Type="http://schemas.openxmlformats.org/officeDocument/2006/relationships/image" Target="../media/image49.svg"/><Relationship Id="rId25" Type="http://schemas.openxmlformats.org/officeDocument/2006/relationships/image" Target="../media/image57.svg"/><Relationship Id="rId2" Type="http://schemas.openxmlformats.org/officeDocument/2006/relationships/slideLayout" Target="../slideLayouts/slideLayout3.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tags" Target="../tags/tag14.xml"/><Relationship Id="rId6" Type="http://schemas.openxmlformats.org/officeDocument/2006/relationships/image" Target="../media/image38.png"/><Relationship Id="rId11" Type="http://schemas.openxmlformats.org/officeDocument/2006/relationships/image" Target="../media/image43.svg"/><Relationship Id="rId24" Type="http://schemas.openxmlformats.org/officeDocument/2006/relationships/image" Target="../media/image56.png"/><Relationship Id="rId5" Type="http://schemas.openxmlformats.org/officeDocument/2006/relationships/image" Target="../media/image6.emf"/><Relationship Id="rId15" Type="http://schemas.openxmlformats.org/officeDocument/2006/relationships/image" Target="../media/image47.svg"/><Relationship Id="rId23" Type="http://schemas.openxmlformats.org/officeDocument/2006/relationships/image" Target="../media/image55.svg"/><Relationship Id="rId10" Type="http://schemas.openxmlformats.org/officeDocument/2006/relationships/image" Target="../media/image42.png"/><Relationship Id="rId19" Type="http://schemas.openxmlformats.org/officeDocument/2006/relationships/image" Target="../media/image51.svg"/><Relationship Id="rId4" Type="http://schemas.openxmlformats.org/officeDocument/2006/relationships/oleObject" Target="../embeddings/oleObject11.bin"/><Relationship Id="rId9" Type="http://schemas.openxmlformats.org/officeDocument/2006/relationships/image" Target="../media/image41.svg"/><Relationship Id="rId14" Type="http://schemas.openxmlformats.org/officeDocument/2006/relationships/image" Target="../media/image46.png"/><Relationship Id="rId22" Type="http://schemas.openxmlformats.org/officeDocument/2006/relationships/image" Target="../media/image54.png"/><Relationship Id="rId27" Type="http://schemas.openxmlformats.org/officeDocument/2006/relationships/image" Target="../media/image5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48593E-9950-43D7-8192-5A9DE44074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7" name="Object 6" hidden="1">
                        <a:extLst>
                          <a:ext uri="{FF2B5EF4-FFF2-40B4-BE49-F238E27FC236}">
                            <a16:creationId xmlns:a16="http://schemas.microsoft.com/office/drawing/2014/main" id="{C348593E-9950-43D7-8192-5A9DE44074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picture containing water&#10;&#10;Description automatically generated">
            <a:extLst>
              <a:ext uri="{FF2B5EF4-FFF2-40B4-BE49-F238E27FC236}">
                <a16:creationId xmlns:a16="http://schemas.microsoft.com/office/drawing/2014/main" id="{4B293742-285F-B637-D5D1-5CA79E5E208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20" name="Title">
            <a:extLst>
              <a:ext uri="{FF2B5EF4-FFF2-40B4-BE49-F238E27FC236}">
                <a16:creationId xmlns:a16="http://schemas.microsoft.com/office/drawing/2014/main" id="{81526E88-FDBA-4371-81E6-8CE68A09EB78}"/>
              </a:ext>
            </a:extLst>
          </p:cNvPr>
          <p:cNvSpPr txBox="1">
            <a:spLocks/>
          </p:cNvSpPr>
          <p:nvPr/>
        </p:nvSpPr>
        <p:spPr>
          <a:xfrm>
            <a:off x="457200" y="1505438"/>
            <a:ext cx="9321800" cy="3464153"/>
          </a:xfrm>
          <a:prstGeom prst="rect">
            <a:avLst/>
          </a:prstGeom>
        </p:spPr>
        <p:txBody>
          <a:bodyPr vert="horz" lIns="0" tIns="0" rIns="0" bIns="0" rtlCol="0" anchor="b">
            <a:spAutoFit/>
          </a:bodyPr>
          <a:lstStyle>
            <a:lvl1pPr marL="0" indent="0" algn="l" defTabSz="914370" rtl="0" eaLnBrk="1" fontAlgn="base" latinLnBrk="0" hangingPunct="1">
              <a:lnSpc>
                <a:spcPct val="85000"/>
              </a:lnSpc>
              <a:spcBef>
                <a:spcPts val="0"/>
              </a:spcBef>
              <a:spcAft>
                <a:spcPts val="0"/>
              </a:spcAft>
              <a:buFont typeface="Arial" panose="020B0604020202020204" pitchFamily="34" charset="0"/>
              <a:buChar char="​"/>
              <a:defRPr sz="7200" b="1" kern="0">
                <a:solidFill>
                  <a:schemeClr val="bg2"/>
                </a:solidFill>
                <a:latin typeface="+mj-lt"/>
                <a:ea typeface="+mj-ea"/>
                <a:cs typeface="+mj-cs"/>
              </a:defRPr>
            </a:lvl1pPr>
            <a:lvl2pPr marL="0" indent="0" algn="l" defTabSz="914370" rtl="0" eaLnBrk="1" fontAlgn="base" latinLnBrk="0" hangingPunct="1">
              <a:lnSpc>
                <a:spcPct val="100000"/>
              </a:lnSpc>
              <a:spcBef>
                <a:spcPts val="0"/>
              </a:spcBef>
              <a:spcAft>
                <a:spcPts val="0"/>
              </a:spcAft>
              <a:buFont typeface="Arial" panose="020B0604020202020204" pitchFamily="34" charset="0"/>
              <a:buChar char="​"/>
              <a:defRPr sz="2000" kern="0">
                <a:solidFill>
                  <a:schemeClr val="tx1"/>
                </a:solidFill>
                <a:latin typeface="+mn-lt"/>
                <a:ea typeface="+mn-ea"/>
                <a:cs typeface="+mn-cs"/>
              </a:defRPr>
            </a:lvl2pPr>
            <a:lvl3pPr marL="0" indent="0" algn="l" defTabSz="914370" rtl="0" eaLnBrk="1" latinLnBrk="0" hangingPunct="1">
              <a:lnSpc>
                <a:spcPct val="100000"/>
              </a:lnSpc>
              <a:spcBef>
                <a:spcPts val="0"/>
              </a:spcBef>
              <a:spcAft>
                <a:spcPts val="0"/>
              </a:spcAft>
              <a:buFont typeface="Arial" panose="020B0604020202020204" pitchFamily="34" charset="0"/>
              <a:buChar char="​"/>
              <a:defRPr sz="2000" kern="0">
                <a:solidFill>
                  <a:schemeClr val="tx1"/>
                </a:solidFill>
                <a:latin typeface="+mn-lt"/>
                <a:ea typeface="+mn-ea"/>
                <a:cs typeface="+mn-cs"/>
              </a:defRPr>
            </a:lvl3pPr>
            <a:lvl4pPr marL="0" indent="0" algn="l" defTabSz="914370" rtl="0" eaLnBrk="1" latinLnBrk="0" hangingPunct="1">
              <a:lnSpc>
                <a:spcPct val="100000"/>
              </a:lnSpc>
              <a:spcBef>
                <a:spcPts val="0"/>
              </a:spcBef>
              <a:spcAft>
                <a:spcPts val="0"/>
              </a:spcAft>
              <a:buFont typeface="Arial" panose="020B0604020202020204" pitchFamily="34" charset="0"/>
              <a:buChar char="​"/>
              <a:defRPr sz="2000" kern="0">
                <a:solidFill>
                  <a:schemeClr val="tx1"/>
                </a:solidFill>
                <a:latin typeface="+mn-lt"/>
                <a:ea typeface="+mn-ea"/>
                <a:cs typeface="+mn-cs"/>
              </a:defRPr>
            </a:lvl4pPr>
            <a:lvl5pPr marL="0" indent="0" algn="l" defTabSz="914370" rtl="0" eaLnBrk="1" latinLnBrk="0" hangingPunct="1">
              <a:lnSpc>
                <a:spcPct val="100000"/>
              </a:lnSpc>
              <a:spcBef>
                <a:spcPts val="0"/>
              </a:spcBef>
              <a:spcAft>
                <a:spcPts val="0"/>
              </a:spcAft>
              <a:buFont typeface="Arial" panose="020B0604020202020204" pitchFamily="34" charset="0"/>
              <a:buChar char="​"/>
              <a:defRPr sz="2000" kern="0">
                <a:solidFill>
                  <a:schemeClr val="tx1"/>
                </a:solidFill>
                <a:latin typeface="+mn-lt"/>
                <a:ea typeface="+mn-ea"/>
                <a:cs typeface="+mn-cs"/>
              </a:defRPr>
            </a:lvl5pPr>
            <a:lvl6pPr marL="0" indent="0" algn="l" defTabSz="914370" rtl="0" eaLnBrk="1" latinLnBrk="0" hangingPunct="1">
              <a:lnSpc>
                <a:spcPct val="100000"/>
              </a:lnSpc>
              <a:spcBef>
                <a:spcPts val="0"/>
              </a:spcBef>
              <a:spcAft>
                <a:spcPts val="0"/>
              </a:spcAft>
              <a:buFont typeface="Arial" panose="020B0604020202020204" pitchFamily="34" charset="0"/>
              <a:buChar char="​"/>
              <a:defRPr sz="2000" kern="0">
                <a:solidFill>
                  <a:schemeClr val="tx1"/>
                </a:solidFill>
                <a:latin typeface="+mn-lt"/>
                <a:ea typeface="+mn-ea"/>
                <a:cs typeface="+mn-cs"/>
              </a:defRPr>
            </a:lvl6pPr>
            <a:lvl7pPr marL="0" indent="0" algn="l" defTabSz="914370" rtl="0" eaLnBrk="1" latinLnBrk="0" hangingPunct="1">
              <a:lnSpc>
                <a:spcPct val="100000"/>
              </a:lnSpc>
              <a:spcBef>
                <a:spcPts val="0"/>
              </a:spcBef>
              <a:spcAft>
                <a:spcPts val="0"/>
              </a:spcAft>
              <a:buFont typeface="Arial" panose="020B0604020202020204" pitchFamily="34" charset="0"/>
              <a:buChar char="​"/>
              <a:defRPr sz="2000" kern="0">
                <a:solidFill>
                  <a:schemeClr val="tx1"/>
                </a:solidFill>
                <a:latin typeface="+mn-lt"/>
                <a:ea typeface="+mn-ea"/>
                <a:cs typeface="+mn-cs"/>
              </a:defRPr>
            </a:lvl7pPr>
            <a:lvl8pPr marL="0" indent="0" algn="l" defTabSz="914370" rtl="0" eaLnBrk="1" latinLnBrk="0" hangingPunct="1">
              <a:lnSpc>
                <a:spcPct val="100000"/>
              </a:lnSpc>
              <a:spcBef>
                <a:spcPts val="0"/>
              </a:spcBef>
              <a:spcAft>
                <a:spcPts val="0"/>
              </a:spcAft>
              <a:buFont typeface="Arial" panose="020B0604020202020204" pitchFamily="34" charset="0"/>
              <a:buChar char="​"/>
              <a:defRPr sz="2000" kern="0">
                <a:solidFill>
                  <a:schemeClr val="tx1"/>
                </a:solidFill>
                <a:latin typeface="+mn-lt"/>
                <a:ea typeface="+mn-ea"/>
                <a:cs typeface="+mn-cs"/>
              </a:defRPr>
            </a:lvl8pPr>
            <a:lvl9pPr marL="0" indent="0" algn="l" defTabSz="914370" rtl="0" eaLnBrk="1" latinLnBrk="0" hangingPunct="1">
              <a:lnSpc>
                <a:spcPct val="100000"/>
              </a:lnSpc>
              <a:spcBef>
                <a:spcPts val="0"/>
              </a:spcBef>
              <a:spcAft>
                <a:spcPts val="0"/>
              </a:spcAft>
              <a:buFont typeface="Arial" panose="020B0604020202020204" pitchFamily="34" charset="0"/>
              <a:buChar char="​"/>
              <a:defRPr sz="2000" kern="0">
                <a:solidFill>
                  <a:schemeClr val="tx1"/>
                </a:solidFill>
                <a:latin typeface="+mn-lt"/>
                <a:ea typeface="+mn-ea"/>
                <a:cs typeface="+mn-cs"/>
              </a:defRPr>
            </a:lvl9pPr>
          </a:lstStyle>
          <a:p>
            <a:pPr>
              <a:buNone/>
            </a:pPr>
            <a:r>
              <a:rPr lang="en-GB" sz="6600">
                <a:solidFill>
                  <a:schemeClr val="tx1"/>
                </a:solidFill>
                <a:cs typeface="Calibri" panose="020F0502020204030204" pitchFamily="34" charset="0"/>
              </a:rPr>
              <a:t>Leading in </a:t>
            </a:r>
          </a:p>
          <a:p>
            <a:pPr>
              <a:buNone/>
            </a:pPr>
            <a:r>
              <a:rPr lang="en-GB" sz="6600">
                <a:solidFill>
                  <a:schemeClr val="tx1"/>
                </a:solidFill>
                <a:cs typeface="Calibri" panose="020F0502020204030204" pitchFamily="34" charset="0"/>
              </a:rPr>
              <a:t>Permacrisis</a:t>
            </a:r>
          </a:p>
          <a:p>
            <a:pPr>
              <a:buNone/>
            </a:pPr>
            <a:r>
              <a:rPr lang="en-GB" sz="3600">
                <a:solidFill>
                  <a:schemeClr val="tx1"/>
                </a:solidFill>
                <a:cs typeface="Calibri" panose="020F0502020204030204" pitchFamily="34" charset="0"/>
              </a:rPr>
              <a:t>Leadership Workshop</a:t>
            </a:r>
            <a:r>
              <a:rPr lang="en-GB" sz="6600">
                <a:solidFill>
                  <a:schemeClr val="tx1"/>
                </a:solidFill>
                <a:cs typeface="Calibri" panose="020F0502020204030204" pitchFamily="34" charset="0"/>
              </a:rPr>
              <a:t> </a:t>
            </a:r>
          </a:p>
          <a:p>
            <a:pPr>
              <a:buNone/>
            </a:pPr>
            <a:endParaRPr lang="en-GB" sz="6600">
              <a:solidFill>
                <a:schemeClr val="tx1"/>
              </a:solidFill>
              <a:cs typeface="Calibri" panose="020F0502020204030204" pitchFamily="34" charset="0"/>
            </a:endParaRPr>
          </a:p>
        </p:txBody>
      </p:sp>
      <p:sp>
        <p:nvSpPr>
          <p:cNvPr id="21" name="Subtitle">
            <a:extLst>
              <a:ext uri="{FF2B5EF4-FFF2-40B4-BE49-F238E27FC236}">
                <a16:creationId xmlns:a16="http://schemas.microsoft.com/office/drawing/2014/main" id="{ECB6BC5C-B101-4E64-9B69-1C356F673ACD}"/>
              </a:ext>
            </a:extLst>
          </p:cNvPr>
          <p:cNvSpPr txBox="1">
            <a:spLocks/>
          </p:cNvSpPr>
          <p:nvPr/>
        </p:nvSpPr>
        <p:spPr>
          <a:xfrm>
            <a:off x="457200" y="4912197"/>
            <a:ext cx="9321800" cy="307777"/>
          </a:xfrm>
          <a:prstGeom prst="rect">
            <a:avLst/>
          </a:prstGeom>
        </p:spPr>
        <p:txBody>
          <a:bodyPr vert="horz" lIns="0" tIns="0" rIns="0" bIns="0" rtlCol="0">
            <a:spAutoFit/>
          </a:bodyPr>
          <a:lstStyle>
            <a:lvl1pPr marL="0" indent="0" algn="l" defTabSz="914370" rtl="0" eaLnBrk="1" latinLnBrk="0" hangingPunct="1">
              <a:spcBef>
                <a:spcPts val="0"/>
              </a:spcBef>
              <a:spcAft>
                <a:spcPts val="0"/>
              </a:spcAft>
              <a:buFont typeface="Arial" panose="020B0604020202020204" pitchFamily="34" charset="0"/>
              <a:buChar char="​"/>
              <a:defRPr sz="2000" kern="0">
                <a:solidFill>
                  <a:schemeClr val="bg2"/>
                </a:solidFill>
                <a:latin typeface="+mn-lt"/>
                <a:ea typeface="+mn-ea"/>
                <a:cs typeface="+mn-cs"/>
              </a:defRPr>
            </a:lvl1pPr>
            <a:lvl2pPr marL="0" indent="0" algn="l" defTabSz="914370" rtl="0" eaLnBrk="1" latinLnBrk="0" hangingPunct="1">
              <a:spcBef>
                <a:spcPts val="0"/>
              </a:spcBef>
              <a:spcAft>
                <a:spcPts val="0"/>
              </a:spcAft>
              <a:buFont typeface="Arial" panose="020B0604020202020204" pitchFamily="34" charset="0"/>
              <a:buChar char="​"/>
              <a:defRPr sz="2000" kern="0">
                <a:solidFill>
                  <a:schemeClr val="tx1"/>
                </a:solidFill>
                <a:latin typeface="+mn-lt"/>
                <a:ea typeface="+mn-ea"/>
                <a:cs typeface="+mn-cs"/>
              </a:defRPr>
            </a:lvl2pPr>
            <a:lvl3pPr marL="0" indent="0" algn="l" defTabSz="914370" rtl="0" eaLnBrk="1" latinLnBrk="0" hangingPunct="1">
              <a:spcBef>
                <a:spcPts val="0"/>
              </a:spcBef>
              <a:spcAft>
                <a:spcPts val="0"/>
              </a:spcAft>
              <a:buFont typeface="Arial" panose="020B0604020202020204" pitchFamily="34" charset="0"/>
              <a:buChar char="​"/>
              <a:defRPr sz="2000" kern="0">
                <a:solidFill>
                  <a:schemeClr val="tx1"/>
                </a:solidFill>
                <a:latin typeface="+mn-lt"/>
                <a:ea typeface="+mn-ea"/>
                <a:cs typeface="+mn-cs"/>
              </a:defRPr>
            </a:lvl3pPr>
            <a:lvl4pPr marL="0" indent="0" algn="l" defTabSz="914370" rtl="0" eaLnBrk="1" latinLnBrk="0" hangingPunct="1">
              <a:spcBef>
                <a:spcPts val="0"/>
              </a:spcBef>
              <a:spcAft>
                <a:spcPts val="0"/>
              </a:spcAft>
              <a:buFont typeface="Arial" panose="020B0604020202020204" pitchFamily="34" charset="0"/>
              <a:buChar char="​"/>
              <a:defRPr sz="2000" kern="0">
                <a:solidFill>
                  <a:schemeClr val="tx1"/>
                </a:solidFill>
                <a:latin typeface="+mn-lt"/>
                <a:ea typeface="+mn-ea"/>
                <a:cs typeface="+mn-cs"/>
              </a:defRPr>
            </a:lvl4pPr>
            <a:lvl5pPr marL="0" indent="0" algn="l" defTabSz="914370" rtl="0" eaLnBrk="1" latinLnBrk="0" hangingPunct="1">
              <a:spcBef>
                <a:spcPts val="0"/>
              </a:spcBef>
              <a:spcAft>
                <a:spcPts val="0"/>
              </a:spcAft>
              <a:buFont typeface="Arial" panose="020B0604020202020204" pitchFamily="34" charset="0"/>
              <a:buChar char="​"/>
              <a:defRPr sz="2000" kern="0">
                <a:solidFill>
                  <a:schemeClr val="tx1"/>
                </a:solidFill>
                <a:latin typeface="+mn-lt"/>
                <a:ea typeface="+mn-ea"/>
                <a:cs typeface="+mn-cs"/>
              </a:defRPr>
            </a:lvl5pPr>
            <a:lvl6pPr marL="0" indent="0" algn="l" defTabSz="914370" rtl="0" eaLnBrk="1" latinLnBrk="0" hangingPunct="1">
              <a:spcBef>
                <a:spcPts val="0"/>
              </a:spcBef>
              <a:spcAft>
                <a:spcPts val="0"/>
              </a:spcAft>
              <a:buFont typeface="Arial" panose="020B0604020202020204" pitchFamily="34" charset="0"/>
              <a:buChar char="​"/>
              <a:defRPr sz="2000" kern="0">
                <a:solidFill>
                  <a:schemeClr val="tx1"/>
                </a:solidFill>
                <a:latin typeface="+mn-lt"/>
                <a:ea typeface="+mn-ea"/>
                <a:cs typeface="+mn-cs"/>
              </a:defRPr>
            </a:lvl6pPr>
            <a:lvl7pPr marL="0" indent="0" algn="l" defTabSz="914370" rtl="0" eaLnBrk="1" latinLnBrk="0" hangingPunct="1">
              <a:spcBef>
                <a:spcPts val="0"/>
              </a:spcBef>
              <a:spcAft>
                <a:spcPts val="0"/>
              </a:spcAft>
              <a:buFont typeface="Arial" panose="020B0604020202020204" pitchFamily="34" charset="0"/>
              <a:buChar char="​"/>
              <a:defRPr sz="2000" kern="0">
                <a:solidFill>
                  <a:schemeClr val="tx1"/>
                </a:solidFill>
                <a:latin typeface="+mn-lt"/>
                <a:ea typeface="+mn-ea"/>
                <a:cs typeface="+mn-cs"/>
              </a:defRPr>
            </a:lvl7pPr>
            <a:lvl8pPr marL="0" indent="0" algn="l" defTabSz="914370" rtl="0" eaLnBrk="1" latinLnBrk="0" hangingPunct="1">
              <a:spcBef>
                <a:spcPts val="0"/>
              </a:spcBef>
              <a:spcAft>
                <a:spcPts val="0"/>
              </a:spcAft>
              <a:buFont typeface="Arial" panose="020B0604020202020204" pitchFamily="34" charset="0"/>
              <a:buChar char="​"/>
              <a:defRPr sz="2000" kern="0">
                <a:solidFill>
                  <a:schemeClr val="tx1"/>
                </a:solidFill>
                <a:latin typeface="+mn-lt"/>
                <a:ea typeface="+mn-ea"/>
                <a:cs typeface="+mn-cs"/>
              </a:defRPr>
            </a:lvl8pPr>
            <a:lvl9pPr marL="0" indent="0" algn="l" defTabSz="914370" rtl="0" eaLnBrk="1" latinLnBrk="0" hangingPunct="1">
              <a:spcBef>
                <a:spcPts val="0"/>
              </a:spcBef>
              <a:spcAft>
                <a:spcPts val="0"/>
              </a:spcAft>
              <a:buFont typeface="Arial" panose="020B0604020202020204" pitchFamily="34" charset="0"/>
              <a:buChar char="​"/>
              <a:defRPr sz="2000" kern="0">
                <a:solidFill>
                  <a:schemeClr val="tx1"/>
                </a:solidFill>
                <a:latin typeface="+mn-lt"/>
                <a:ea typeface="+mn-ea"/>
                <a:cs typeface="+mn-cs"/>
              </a:defRPr>
            </a:lvl9pPr>
          </a:lstStyle>
          <a:p>
            <a:r>
              <a:rPr lang="en-GB">
                <a:solidFill>
                  <a:schemeClr val="tx1"/>
                </a:solidFill>
                <a:cs typeface="Calibri" panose="020F0502020204030204" pitchFamily="34" charset="0"/>
              </a:rPr>
              <a:t>Singapore – December 6</a:t>
            </a:r>
            <a:r>
              <a:rPr lang="en-GB" baseline="30000">
                <a:solidFill>
                  <a:schemeClr val="tx1"/>
                </a:solidFill>
                <a:cs typeface="Calibri" panose="020F0502020204030204" pitchFamily="34" charset="0"/>
              </a:rPr>
              <a:t>th</a:t>
            </a:r>
            <a:r>
              <a:rPr lang="en-GB">
                <a:solidFill>
                  <a:schemeClr val="tx1"/>
                </a:solidFill>
                <a:cs typeface="Calibri" panose="020F0502020204030204" pitchFamily="34" charset="0"/>
              </a:rPr>
              <a:t>, 2023</a:t>
            </a:r>
          </a:p>
        </p:txBody>
      </p:sp>
      <p:sp>
        <p:nvSpPr>
          <p:cNvPr id="23" name="Endorsement">
            <a:extLst>
              <a:ext uri="{FF2B5EF4-FFF2-40B4-BE49-F238E27FC236}">
                <a16:creationId xmlns:a16="http://schemas.microsoft.com/office/drawing/2014/main" id="{A7C4A177-2CA7-44E0-9DF2-3BE33290D3BE}"/>
              </a:ext>
            </a:extLst>
          </p:cNvPr>
          <p:cNvSpPr txBox="1"/>
          <p:nvPr/>
        </p:nvSpPr>
        <p:spPr>
          <a:xfrm>
            <a:off x="457200" y="6279282"/>
            <a:ext cx="2476500" cy="153888"/>
          </a:xfrm>
          <a:prstGeom prst="rect">
            <a:avLst/>
          </a:prstGeom>
          <a:noFill/>
        </p:spPr>
        <p:txBody>
          <a:bodyPr wrap="square" lIns="0" tIns="0" rIns="0" bIns="0">
            <a:spAutoFit/>
          </a:bodyPr>
          <a:lstStyle/>
          <a:p>
            <a:r>
              <a:rPr lang="en-GB" sz="1000">
                <a:cs typeface="Calibri" panose="020F0502020204030204" pitchFamily="34" charset="0"/>
              </a:rPr>
              <a:t>A business of Marsh McLennan</a:t>
            </a:r>
          </a:p>
        </p:txBody>
      </p:sp>
      <p:sp>
        <p:nvSpPr>
          <p:cNvPr id="25" name="DTP_Attribute">
            <a:extLst>
              <a:ext uri="{FF2B5EF4-FFF2-40B4-BE49-F238E27FC236}">
                <a16:creationId xmlns:a16="http://schemas.microsoft.com/office/drawing/2014/main" id="{3F050F24-E3F1-472F-830D-D0AA16270272}"/>
              </a:ext>
            </a:extLst>
          </p:cNvPr>
          <p:cNvSpPr txBox="1"/>
          <p:nvPr/>
        </p:nvSpPr>
        <p:spPr>
          <a:xfrm>
            <a:off x="457200" y="6552456"/>
            <a:ext cx="65" cy="153888"/>
          </a:xfrm>
          <a:prstGeom prst="rect">
            <a:avLst/>
          </a:prstGeom>
          <a:noFill/>
        </p:spPr>
        <p:txBody>
          <a:bodyPr wrap="none" lIns="0" tIns="0" rIns="0" bIns="0" rtlCol="0" anchor="b">
            <a:spAutoFit/>
          </a:bodyPr>
          <a:lstStyle/>
          <a:p>
            <a:endParaRPr lang="en-GB" sz="1000" b="1" cap="all">
              <a:cs typeface="Calibri" panose="020F0502020204030204" pitchFamily="34" charset="0"/>
            </a:endParaRPr>
          </a:p>
        </p:txBody>
      </p:sp>
      <p:pic>
        <p:nvPicPr>
          <p:cNvPr id="28" name="DTP_CompanyLogo_112">
            <a:extLst>
              <a:ext uri="{FF2B5EF4-FFF2-40B4-BE49-F238E27FC236}">
                <a16:creationId xmlns:a16="http://schemas.microsoft.com/office/drawing/2014/main" id="{72E405BA-B3BD-4E0D-BA58-E37FE5FA90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7200" y="393187"/>
            <a:ext cx="3029712" cy="352044"/>
          </a:xfrm>
          <a:prstGeom prst="rect">
            <a:avLst/>
          </a:prstGeom>
        </p:spPr>
      </p:pic>
      <p:pic>
        <p:nvPicPr>
          <p:cNvPr id="4" name="Picture 12">
            <a:extLst>
              <a:ext uri="{FF2B5EF4-FFF2-40B4-BE49-F238E27FC236}">
                <a16:creationId xmlns:a16="http://schemas.microsoft.com/office/drawing/2014/main" id="{67147034-2378-DA2B-8724-9B4BAD68009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559825" y="310023"/>
            <a:ext cx="2270977" cy="687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99524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B36011EB-6B0D-4BA5-A41D-25E3019ECA18}"/>
              </a:ext>
            </a:extLst>
          </p:cNvPr>
          <p:cNvGraphicFramePr>
            <a:graphicFrameLocks noChangeAspect="1"/>
          </p:cNvGraphicFramePr>
          <p:nvPr>
            <p:custDataLst>
              <p:tags r:id="rId1"/>
            </p:custDataLst>
            <p:extLst>
              <p:ext uri="{D42A27DB-BD31-4B8C-83A1-F6EECF244321}">
                <p14:modId xmlns:p14="http://schemas.microsoft.com/office/powerpoint/2010/main" val="1704480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27" name="Object 26" hidden="1">
                        <a:extLst>
                          <a:ext uri="{FF2B5EF4-FFF2-40B4-BE49-F238E27FC236}">
                            <a16:creationId xmlns:a16="http://schemas.microsoft.com/office/drawing/2014/main" id="{B36011EB-6B0D-4BA5-A41D-25E3019ECA1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graphicFrame>
        <p:nvGraphicFramePr>
          <p:cNvPr id="8" name="Chart 7">
            <a:extLst>
              <a:ext uri="{FF2B5EF4-FFF2-40B4-BE49-F238E27FC236}">
                <a16:creationId xmlns:a16="http://schemas.microsoft.com/office/drawing/2014/main" id="{F8E9AA79-D64D-E727-4136-8EE7F352801A}"/>
              </a:ext>
            </a:extLst>
          </p:cNvPr>
          <p:cNvGraphicFramePr/>
          <p:nvPr>
            <p:custDataLst>
              <p:tags r:id="rId2"/>
            </p:custDataLst>
            <p:extLst>
              <p:ext uri="{D42A27DB-BD31-4B8C-83A1-F6EECF244321}">
                <p14:modId xmlns:p14="http://schemas.microsoft.com/office/powerpoint/2010/main" val="1213130711"/>
              </p:ext>
            </p:extLst>
          </p:nvPr>
        </p:nvGraphicFramePr>
        <p:xfrm>
          <a:off x="733425" y="2592388"/>
          <a:ext cx="7210425" cy="3176587"/>
        </p:xfrm>
        <a:graphic>
          <a:graphicData uri="http://schemas.openxmlformats.org/drawingml/2006/chart">
            <c:chart xmlns:c="http://schemas.openxmlformats.org/drawingml/2006/chart" xmlns:r="http://schemas.openxmlformats.org/officeDocument/2006/relationships" r:id="rId17"/>
          </a:graphicData>
        </a:graphic>
      </p:graphicFrame>
      <p:sp>
        <p:nvSpPr>
          <p:cNvPr id="436" name="BodyText">
            <a:extLst>
              <a:ext uri="{FF2B5EF4-FFF2-40B4-BE49-F238E27FC236}">
                <a16:creationId xmlns:a16="http://schemas.microsoft.com/office/drawing/2014/main" id="{E0C3A5E5-B8E5-4371-A21A-1235EBC957F7}"/>
              </a:ext>
            </a:extLst>
          </p:cNvPr>
          <p:cNvSpPr>
            <a:spLocks noGrp="1"/>
          </p:cNvSpPr>
          <p:nvPr>
            <p:custDataLst>
              <p:tags r:id="rId3"/>
            </p:custDataLst>
          </p:nvPr>
        </p:nvSpPr>
        <p:spPr bwMode="gray">
          <a:xfrm>
            <a:off x="660400" y="5737225"/>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43BD3DDE-12FC-410C-AAAB-7B3570C810BD}" type="datetime'''''''''''1''''''''''''''''''''9''''''''''6''0'''''''''''">
              <a:rPr lang="en-GB" altLang="en-US" sz="1200" smtClean="0">
                <a:effectLst/>
                <a:cs typeface="Calibri" panose="020F0502020204030204" pitchFamily="34" charset="0"/>
              </a:rPr>
              <a:pPr marL="0" indent="0" algn="ctr">
                <a:spcBef>
                  <a:spcPct val="0"/>
                </a:spcBef>
                <a:spcAft>
                  <a:spcPct val="0"/>
                </a:spcAft>
                <a:buNone/>
              </a:pPr>
              <a:t>1960</a:t>
            </a:fld>
            <a:endParaRPr lang="en-GB" sz="1200">
              <a:cs typeface="Calibri" panose="020F0502020204030204" pitchFamily="34" charset="0"/>
            </a:endParaRPr>
          </a:p>
        </p:txBody>
      </p:sp>
      <p:sp>
        <p:nvSpPr>
          <p:cNvPr id="438" name="BodyText">
            <a:extLst>
              <a:ext uri="{FF2B5EF4-FFF2-40B4-BE49-F238E27FC236}">
                <a16:creationId xmlns:a16="http://schemas.microsoft.com/office/drawing/2014/main" id="{1D1D8045-B8CE-4CA7-A160-C8774D9644BD}"/>
              </a:ext>
            </a:extLst>
          </p:cNvPr>
          <p:cNvSpPr>
            <a:spLocks noGrp="1"/>
          </p:cNvSpPr>
          <p:nvPr>
            <p:custDataLst>
              <p:tags r:id="rId4"/>
            </p:custDataLst>
          </p:nvPr>
        </p:nvSpPr>
        <p:spPr bwMode="gray">
          <a:xfrm>
            <a:off x="1744663" y="5737225"/>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BC56608B-32C6-42E0-9CFA-E901675728F1}" type="datetime'''''''''''''''''1''''''''''''''9''''''''''''''''''''70'''''''">
              <a:rPr lang="en-GB" altLang="en-US" sz="1200" smtClean="0">
                <a:effectLst/>
                <a:cs typeface="Calibri" panose="020F0502020204030204" pitchFamily="34" charset="0"/>
              </a:rPr>
              <a:pPr marL="0" indent="0" algn="ctr">
                <a:spcBef>
                  <a:spcPct val="0"/>
                </a:spcBef>
                <a:spcAft>
                  <a:spcPct val="0"/>
                </a:spcAft>
                <a:buNone/>
              </a:pPr>
              <a:t>1970</a:t>
            </a:fld>
            <a:endParaRPr lang="en-GB" sz="1200">
              <a:cs typeface="Calibri" panose="020F0502020204030204" pitchFamily="34" charset="0"/>
            </a:endParaRPr>
          </a:p>
        </p:txBody>
      </p:sp>
      <p:sp>
        <p:nvSpPr>
          <p:cNvPr id="440" name="BodyText">
            <a:extLst>
              <a:ext uri="{FF2B5EF4-FFF2-40B4-BE49-F238E27FC236}">
                <a16:creationId xmlns:a16="http://schemas.microsoft.com/office/drawing/2014/main" id="{02C0226D-F566-463B-83AC-8977DC218AD9}"/>
              </a:ext>
            </a:extLst>
          </p:cNvPr>
          <p:cNvSpPr>
            <a:spLocks noGrp="1"/>
          </p:cNvSpPr>
          <p:nvPr>
            <p:custDataLst>
              <p:tags r:id="rId5"/>
            </p:custDataLst>
          </p:nvPr>
        </p:nvSpPr>
        <p:spPr bwMode="gray">
          <a:xfrm>
            <a:off x="2827338" y="5737225"/>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D5698EB0-3BF2-44CE-96AF-30528C32BC9F}" type="datetime'''''''''''''''''''''''''''1''9''80'''''">
              <a:rPr lang="en-GB" altLang="en-US" sz="1200" smtClean="0">
                <a:effectLst/>
                <a:cs typeface="Calibri" panose="020F0502020204030204" pitchFamily="34" charset="0"/>
              </a:rPr>
              <a:pPr marL="0" indent="0" algn="ctr">
                <a:spcBef>
                  <a:spcPct val="0"/>
                </a:spcBef>
                <a:spcAft>
                  <a:spcPct val="0"/>
                </a:spcAft>
                <a:buNone/>
              </a:pPr>
              <a:t>1980</a:t>
            </a:fld>
            <a:endParaRPr lang="en-GB" sz="1200">
              <a:cs typeface="Calibri" panose="020F0502020204030204" pitchFamily="34" charset="0"/>
            </a:endParaRPr>
          </a:p>
        </p:txBody>
      </p:sp>
      <p:sp>
        <p:nvSpPr>
          <p:cNvPr id="442" name="BodyText">
            <a:extLst>
              <a:ext uri="{FF2B5EF4-FFF2-40B4-BE49-F238E27FC236}">
                <a16:creationId xmlns:a16="http://schemas.microsoft.com/office/drawing/2014/main" id="{B77DE855-F37C-4C0C-862B-19D111F80ED2}"/>
              </a:ext>
            </a:extLst>
          </p:cNvPr>
          <p:cNvSpPr>
            <a:spLocks noGrp="1"/>
          </p:cNvSpPr>
          <p:nvPr>
            <p:custDataLst>
              <p:tags r:id="rId6"/>
            </p:custDataLst>
          </p:nvPr>
        </p:nvSpPr>
        <p:spPr bwMode="gray">
          <a:xfrm>
            <a:off x="3911600" y="5737225"/>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664C0FF4-0567-420E-8CE9-4288CB6C991B}" type="datetime'''''''''1''''''''''''''''''''''''9''''''''''''''''''''''''90'">
              <a:rPr lang="en-GB" altLang="en-US" sz="1200" smtClean="0">
                <a:effectLst/>
                <a:cs typeface="Calibri" panose="020F0502020204030204" pitchFamily="34" charset="0"/>
              </a:rPr>
              <a:pPr marL="0" indent="0" algn="ctr">
                <a:spcBef>
                  <a:spcPct val="0"/>
                </a:spcBef>
                <a:spcAft>
                  <a:spcPct val="0"/>
                </a:spcAft>
                <a:buNone/>
              </a:pPr>
              <a:t>1990</a:t>
            </a:fld>
            <a:endParaRPr lang="en-GB" sz="1200">
              <a:cs typeface="Calibri" panose="020F0502020204030204" pitchFamily="34" charset="0"/>
            </a:endParaRPr>
          </a:p>
        </p:txBody>
      </p:sp>
      <p:sp>
        <p:nvSpPr>
          <p:cNvPr id="444" name="BodyText">
            <a:extLst>
              <a:ext uri="{FF2B5EF4-FFF2-40B4-BE49-F238E27FC236}">
                <a16:creationId xmlns:a16="http://schemas.microsoft.com/office/drawing/2014/main" id="{41C1750C-4FCC-4C46-A311-B17152FA50AE}"/>
              </a:ext>
            </a:extLst>
          </p:cNvPr>
          <p:cNvSpPr>
            <a:spLocks noGrp="1"/>
          </p:cNvSpPr>
          <p:nvPr>
            <p:custDataLst>
              <p:tags r:id="rId7"/>
            </p:custDataLst>
          </p:nvPr>
        </p:nvSpPr>
        <p:spPr bwMode="gray">
          <a:xfrm>
            <a:off x="4995863" y="5737225"/>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98845BAB-AF64-412A-AD24-150F4F8639E1}" type="datetime'''''''''''2''0''''''''''''''''''''''''''''0''''''0'''''">
              <a:rPr lang="en-GB" altLang="en-US" sz="1200" smtClean="0">
                <a:effectLst/>
                <a:cs typeface="Calibri" panose="020F0502020204030204" pitchFamily="34" charset="0"/>
              </a:rPr>
              <a:pPr marL="0" indent="0" algn="ctr">
                <a:spcBef>
                  <a:spcPct val="0"/>
                </a:spcBef>
                <a:spcAft>
                  <a:spcPct val="0"/>
                </a:spcAft>
                <a:buNone/>
              </a:pPr>
              <a:t>2000</a:t>
            </a:fld>
            <a:endParaRPr lang="en-GB" sz="1200">
              <a:cs typeface="Calibri" panose="020F0502020204030204" pitchFamily="34" charset="0"/>
            </a:endParaRPr>
          </a:p>
        </p:txBody>
      </p:sp>
      <p:sp>
        <p:nvSpPr>
          <p:cNvPr id="446" name="BodyText">
            <a:extLst>
              <a:ext uri="{FF2B5EF4-FFF2-40B4-BE49-F238E27FC236}">
                <a16:creationId xmlns:a16="http://schemas.microsoft.com/office/drawing/2014/main" id="{A5EA2E65-74D4-4F6D-9A32-03625890849A}"/>
              </a:ext>
            </a:extLst>
          </p:cNvPr>
          <p:cNvSpPr>
            <a:spLocks noGrp="1"/>
          </p:cNvSpPr>
          <p:nvPr>
            <p:custDataLst>
              <p:tags r:id="rId8"/>
            </p:custDataLst>
          </p:nvPr>
        </p:nvSpPr>
        <p:spPr bwMode="gray">
          <a:xfrm>
            <a:off x="6080125" y="5737225"/>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549F59A8-0309-4A8C-9764-EF668F8E6618}" type="datetime'''''''''''''''''''''''''2''''''''''''''0''''''''''''1''0'">
              <a:rPr lang="en-GB" altLang="en-US" sz="1200" smtClean="0">
                <a:effectLst/>
                <a:cs typeface="Calibri" panose="020F0502020204030204" pitchFamily="34" charset="0"/>
              </a:rPr>
              <a:pPr marL="0" indent="0" algn="ctr">
                <a:spcBef>
                  <a:spcPct val="0"/>
                </a:spcBef>
                <a:spcAft>
                  <a:spcPct val="0"/>
                </a:spcAft>
                <a:buNone/>
              </a:pPr>
              <a:t>2010</a:t>
            </a:fld>
            <a:endParaRPr lang="en-GB" sz="1200">
              <a:cs typeface="Calibri" panose="020F0502020204030204" pitchFamily="34" charset="0"/>
            </a:endParaRPr>
          </a:p>
        </p:txBody>
      </p:sp>
      <p:sp>
        <p:nvSpPr>
          <p:cNvPr id="448" name="BodyText">
            <a:extLst>
              <a:ext uri="{FF2B5EF4-FFF2-40B4-BE49-F238E27FC236}">
                <a16:creationId xmlns:a16="http://schemas.microsoft.com/office/drawing/2014/main" id="{A88211D7-6FA3-4B40-BA95-353B47330D34}"/>
              </a:ext>
            </a:extLst>
          </p:cNvPr>
          <p:cNvSpPr>
            <a:spLocks noGrp="1"/>
          </p:cNvSpPr>
          <p:nvPr>
            <p:custDataLst>
              <p:tags r:id="rId9"/>
            </p:custDataLst>
          </p:nvPr>
        </p:nvSpPr>
        <p:spPr bwMode="gray">
          <a:xfrm>
            <a:off x="7162800" y="5737225"/>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E91D9226-868E-4D58-85FF-C08763D90261}" type="datetime'''''2''''''''''''''''0''''2''''''''''''''''''''''0'''''''''''">
              <a:rPr lang="en-GB" altLang="en-US" sz="1200" smtClean="0">
                <a:effectLst/>
                <a:cs typeface="Calibri" panose="020F0502020204030204" pitchFamily="34" charset="0"/>
              </a:rPr>
              <a:pPr marL="0" indent="0" algn="ctr">
                <a:spcBef>
                  <a:spcPct val="0"/>
                </a:spcBef>
                <a:spcAft>
                  <a:spcPct val="0"/>
                </a:spcAft>
                <a:buNone/>
              </a:pPr>
              <a:t>2020</a:t>
            </a:fld>
            <a:endParaRPr lang="en-GB" sz="1200">
              <a:cs typeface="Calibri" panose="020F0502020204030204" pitchFamily="34" charset="0"/>
            </a:endParaRPr>
          </a:p>
        </p:txBody>
      </p:sp>
      <p:sp>
        <p:nvSpPr>
          <p:cNvPr id="11" name="BodyText">
            <a:extLst>
              <a:ext uri="{FF2B5EF4-FFF2-40B4-BE49-F238E27FC236}">
                <a16:creationId xmlns:a16="http://schemas.microsoft.com/office/drawing/2014/main" id="{3271CF9D-5D0C-4EE6-8619-FDBB7483897E}"/>
              </a:ext>
            </a:extLst>
          </p:cNvPr>
          <p:cNvSpPr>
            <a:spLocks noGrp="1"/>
          </p:cNvSpPr>
          <p:nvPr>
            <p:custDataLst>
              <p:tags r:id="rId10"/>
            </p:custDataLst>
          </p:nvPr>
        </p:nvSpPr>
        <p:spPr bwMode="gray">
          <a:xfrm>
            <a:off x="636588" y="5595938"/>
            <a:ext cx="77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17038C27-797D-45EE-A374-A61F8972C9C6}" type="datetime'0'''''''''''''''''''''''''''''''''''''''''''''''''''''''">
              <a:rPr lang="en-GB" altLang="en-US" sz="1200" smtClean="0">
                <a:cs typeface="Calibri" panose="020F0502020204030204" pitchFamily="34" charset="0"/>
              </a:rPr>
              <a:pPr marL="0" indent="0" algn="r">
                <a:spcBef>
                  <a:spcPct val="0"/>
                </a:spcBef>
                <a:spcAft>
                  <a:spcPct val="0"/>
                </a:spcAft>
                <a:buNone/>
              </a:pPr>
              <a:t>0</a:t>
            </a:fld>
            <a:endParaRPr lang="en-GB" sz="1200">
              <a:cs typeface="Calibri" panose="020F0502020204030204" pitchFamily="34" charset="0"/>
            </a:endParaRPr>
          </a:p>
        </p:txBody>
      </p:sp>
      <p:sp>
        <p:nvSpPr>
          <p:cNvPr id="17" name="BodyText">
            <a:extLst>
              <a:ext uri="{FF2B5EF4-FFF2-40B4-BE49-F238E27FC236}">
                <a16:creationId xmlns:a16="http://schemas.microsoft.com/office/drawing/2014/main" id="{BB63B457-3D0D-4F36-A01F-A05089FEACB1}"/>
              </a:ext>
            </a:extLst>
          </p:cNvPr>
          <p:cNvSpPr>
            <a:spLocks noGrp="1"/>
          </p:cNvSpPr>
          <p:nvPr>
            <p:custDataLst>
              <p:tags r:id="rId11"/>
            </p:custDataLst>
          </p:nvPr>
        </p:nvSpPr>
        <p:spPr bwMode="gray">
          <a:xfrm>
            <a:off x="558801" y="4592638"/>
            <a:ext cx="155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A2279398-E68F-436C-928F-A2B01ACD60AE}" type="datetime'2''''''''''''''''''''''''''''''''0'''''''''''''''''''''''''''">
              <a:rPr lang="en-GB" altLang="en-US" sz="1200" smtClean="0">
                <a:cs typeface="Calibri" panose="020F0502020204030204" pitchFamily="34" charset="0"/>
              </a:rPr>
              <a:pPr marL="0" indent="0" algn="r">
                <a:spcBef>
                  <a:spcPct val="0"/>
                </a:spcBef>
                <a:spcAft>
                  <a:spcPct val="0"/>
                </a:spcAft>
                <a:buNone/>
              </a:pPr>
              <a:t>20</a:t>
            </a:fld>
            <a:endParaRPr lang="en-GB" sz="1200">
              <a:cs typeface="Calibri" panose="020F0502020204030204" pitchFamily="34" charset="0"/>
            </a:endParaRPr>
          </a:p>
        </p:txBody>
      </p:sp>
      <p:sp>
        <p:nvSpPr>
          <p:cNvPr id="19" name="BodyText">
            <a:extLst>
              <a:ext uri="{FF2B5EF4-FFF2-40B4-BE49-F238E27FC236}">
                <a16:creationId xmlns:a16="http://schemas.microsoft.com/office/drawing/2014/main" id="{2A8F0274-D261-4894-97AD-8F2DB20D8AC2}"/>
              </a:ext>
            </a:extLst>
          </p:cNvPr>
          <p:cNvSpPr>
            <a:spLocks noGrp="1"/>
          </p:cNvSpPr>
          <p:nvPr>
            <p:custDataLst>
              <p:tags r:id="rId12"/>
            </p:custDataLst>
          </p:nvPr>
        </p:nvSpPr>
        <p:spPr bwMode="gray">
          <a:xfrm>
            <a:off x="558801" y="3587750"/>
            <a:ext cx="155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ABA8E715-C9E2-44BE-A10A-2D78CF6EF6CA}" type="datetime'''''''''''''''''''''''''''''4''''''''''''''''''0'''''''''''">
              <a:rPr lang="en-GB" altLang="en-US" sz="1200" smtClean="0">
                <a:cs typeface="Calibri" panose="020F0502020204030204" pitchFamily="34" charset="0"/>
              </a:rPr>
              <a:pPr marL="0" indent="0" algn="r">
                <a:spcBef>
                  <a:spcPct val="0"/>
                </a:spcBef>
                <a:spcAft>
                  <a:spcPct val="0"/>
                </a:spcAft>
                <a:buNone/>
              </a:pPr>
              <a:t>40</a:t>
            </a:fld>
            <a:endParaRPr lang="en-GB" sz="1200">
              <a:cs typeface="Calibri" panose="020F0502020204030204" pitchFamily="34" charset="0"/>
            </a:endParaRPr>
          </a:p>
        </p:txBody>
      </p:sp>
      <p:sp>
        <p:nvSpPr>
          <p:cNvPr id="15" name="Title 14">
            <a:extLst>
              <a:ext uri="{FF2B5EF4-FFF2-40B4-BE49-F238E27FC236}">
                <a16:creationId xmlns:a16="http://schemas.microsoft.com/office/drawing/2014/main" id="{80D75419-9211-4AF8-81A7-76F8070E97E8}"/>
              </a:ext>
            </a:extLst>
          </p:cNvPr>
          <p:cNvSpPr>
            <a:spLocks noGrp="1"/>
          </p:cNvSpPr>
          <p:nvPr>
            <p:ph type="title"/>
          </p:nvPr>
        </p:nvSpPr>
        <p:spPr/>
        <p:txBody>
          <a:bodyPr vert="horz"/>
          <a:lstStyle/>
          <a:p>
            <a:r>
              <a:rPr lang="en-GB">
                <a:cs typeface="Calibri" panose="020F0502020204030204" pitchFamily="34" charset="0"/>
              </a:rPr>
              <a:t>We are entering the time of constant Uncertainty</a:t>
            </a:r>
          </a:p>
          <a:p>
            <a:endParaRPr lang="en-GB"/>
          </a:p>
        </p:txBody>
      </p:sp>
      <p:sp>
        <p:nvSpPr>
          <p:cNvPr id="3" name="Text Placeholder 2">
            <a:extLst>
              <a:ext uri="{FF2B5EF4-FFF2-40B4-BE49-F238E27FC236}">
                <a16:creationId xmlns:a16="http://schemas.microsoft.com/office/drawing/2014/main" id="{57EE5634-1F41-4C1E-A1C8-2DB24D32288E}"/>
              </a:ext>
            </a:extLst>
          </p:cNvPr>
          <p:cNvSpPr>
            <a:spLocks noGrp="1"/>
          </p:cNvSpPr>
          <p:nvPr>
            <p:ph type="body" idx="10"/>
          </p:nvPr>
        </p:nvSpPr>
        <p:spPr/>
        <p:txBody>
          <a:bodyPr/>
          <a:lstStyle/>
          <a:p>
            <a:r>
              <a:rPr lang="en-GB" sz="1600">
                <a:cs typeface="Calibri" panose="020F0502020204030204" pitchFamily="34" charset="0"/>
              </a:rPr>
              <a:t>IMF Uncertainty index keeps rising</a:t>
            </a:r>
          </a:p>
          <a:p>
            <a:r>
              <a:rPr lang="en-GB" sz="1600" b="0">
                <a:cs typeface="Calibri" panose="020F0502020204030204" pitchFamily="34" charset="0"/>
              </a:rPr>
              <a:t>Thousands points</a:t>
            </a:r>
          </a:p>
        </p:txBody>
      </p:sp>
      <p:sp>
        <p:nvSpPr>
          <p:cNvPr id="484" name="Footnote">
            <a:extLst>
              <a:ext uri="{FF2B5EF4-FFF2-40B4-BE49-F238E27FC236}">
                <a16:creationId xmlns:a16="http://schemas.microsoft.com/office/drawing/2014/main" id="{58F512E9-5BCE-46F7-9B8E-A299FCECA1A2}"/>
              </a:ext>
            </a:extLst>
          </p:cNvPr>
          <p:cNvSpPr/>
          <p:nvPr/>
        </p:nvSpPr>
        <p:spPr>
          <a:xfrm>
            <a:off x="447648" y="6294300"/>
            <a:ext cx="4337712" cy="123111"/>
          </a:xfrm>
          <a:prstGeom prst="rect">
            <a:avLst/>
          </a:prstGeom>
        </p:spPr>
        <p:txBody>
          <a:bodyPr vert="horz" wrap="square" lIns="0" tIns="0" rIns="0" bIns="0" rtlCol="0" anchor="b" anchorCtr="0">
            <a:spAutoFit/>
          </a:bodyPr>
          <a:lstStyle/>
          <a:p>
            <a:pPr defTabSz="914370"/>
            <a:r>
              <a:rPr lang="en-GB" sz="800" kern="0">
                <a:cs typeface="Calibri" panose="020F0502020204030204" pitchFamily="34" charset="0"/>
              </a:rPr>
              <a:t>1. 2019 PwC crisis survey for firms with &gt;5000 employees | Sources: IMF, PwC, Oliver Wyman analysis </a:t>
            </a:r>
          </a:p>
        </p:txBody>
      </p:sp>
      <p:sp>
        <p:nvSpPr>
          <p:cNvPr id="10" name="Rectangle 9">
            <a:extLst>
              <a:ext uri="{FF2B5EF4-FFF2-40B4-BE49-F238E27FC236}">
                <a16:creationId xmlns:a16="http://schemas.microsoft.com/office/drawing/2014/main" id="{3B0DEC2D-C703-429F-B549-14C539916083}"/>
              </a:ext>
            </a:extLst>
          </p:cNvPr>
          <p:cNvSpPr/>
          <p:nvPr/>
        </p:nvSpPr>
        <p:spPr>
          <a:xfrm>
            <a:off x="1473674" y="2042160"/>
            <a:ext cx="2094552" cy="587535"/>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0" rIns="73152" bIns="0" rtlCol="0" anchor="t" anchorCtr="0"/>
          <a:lstStyle/>
          <a:p>
            <a:pPr algn="ctr"/>
            <a:r>
              <a:rPr lang="en-GB" sz="1400" b="1" kern="0">
                <a:solidFill>
                  <a:schemeClr val="tx1"/>
                </a:solidFill>
                <a:cs typeface="Calibri" panose="020F0502020204030204" pitchFamily="34" charset="0"/>
              </a:rPr>
              <a:t>Cold War</a:t>
            </a:r>
          </a:p>
          <a:p>
            <a:pPr algn="ctr"/>
            <a:r>
              <a:rPr lang="en-GB" sz="1400" kern="0">
                <a:solidFill>
                  <a:schemeClr val="tx1"/>
                </a:solidFill>
                <a:cs typeface="Calibri" panose="020F0502020204030204" pitchFamily="34" charset="0"/>
              </a:rPr>
              <a:t>1945-1991</a:t>
            </a:r>
          </a:p>
        </p:txBody>
      </p:sp>
      <p:sp>
        <p:nvSpPr>
          <p:cNvPr id="59" name="Rectangle 58">
            <a:extLst>
              <a:ext uri="{FF2B5EF4-FFF2-40B4-BE49-F238E27FC236}">
                <a16:creationId xmlns:a16="http://schemas.microsoft.com/office/drawing/2014/main" id="{07C5C10B-8A5F-4993-9C95-D665603804B2}"/>
              </a:ext>
            </a:extLst>
          </p:cNvPr>
          <p:cNvSpPr/>
          <p:nvPr/>
        </p:nvSpPr>
        <p:spPr>
          <a:xfrm>
            <a:off x="4199915" y="2042159"/>
            <a:ext cx="1237020" cy="587535"/>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0" rIns="73152" bIns="0" rtlCol="0" anchor="t" anchorCtr="0"/>
          <a:lstStyle/>
          <a:p>
            <a:pPr algn="ctr"/>
            <a:r>
              <a:rPr lang="en-GB" sz="1400" b="1" kern="0">
                <a:solidFill>
                  <a:schemeClr val="tx1"/>
                </a:solidFill>
                <a:cs typeface="Calibri" panose="020F0502020204030204" pitchFamily="34" charset="0"/>
              </a:rPr>
              <a:t>Post-Cold War</a:t>
            </a:r>
          </a:p>
          <a:p>
            <a:pPr algn="ctr"/>
            <a:r>
              <a:rPr lang="en-GB" sz="1400" kern="0">
                <a:solidFill>
                  <a:schemeClr val="tx1"/>
                </a:solidFill>
                <a:cs typeface="Calibri" panose="020F0502020204030204" pitchFamily="34" charset="0"/>
              </a:rPr>
              <a:t>1991-2001</a:t>
            </a:r>
          </a:p>
        </p:txBody>
      </p:sp>
      <p:sp>
        <p:nvSpPr>
          <p:cNvPr id="60" name="Rectangle 59">
            <a:extLst>
              <a:ext uri="{FF2B5EF4-FFF2-40B4-BE49-F238E27FC236}">
                <a16:creationId xmlns:a16="http://schemas.microsoft.com/office/drawing/2014/main" id="{9146E2AD-6E73-4B31-9DEB-0D4262DF4EB6}"/>
              </a:ext>
            </a:extLst>
          </p:cNvPr>
          <p:cNvSpPr/>
          <p:nvPr/>
        </p:nvSpPr>
        <p:spPr>
          <a:xfrm>
            <a:off x="5917368" y="2042158"/>
            <a:ext cx="1245432" cy="587535"/>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0" rIns="73152" bIns="0" rtlCol="0" anchor="t" anchorCtr="0"/>
          <a:lstStyle/>
          <a:p>
            <a:pPr algn="ctr"/>
            <a:r>
              <a:rPr lang="en-GB" sz="1400" b="1" kern="0">
                <a:solidFill>
                  <a:schemeClr val="tx1"/>
                </a:solidFill>
                <a:cs typeface="Calibri" panose="020F0502020204030204" pitchFamily="34" charset="0"/>
              </a:rPr>
              <a:t>War on Terror</a:t>
            </a:r>
          </a:p>
          <a:p>
            <a:pPr algn="ctr"/>
            <a:r>
              <a:rPr lang="en-GB" sz="1400" kern="0">
                <a:solidFill>
                  <a:schemeClr val="tx1"/>
                </a:solidFill>
                <a:cs typeface="Calibri" panose="020F0502020204030204" pitchFamily="34" charset="0"/>
              </a:rPr>
              <a:t>2001-2022</a:t>
            </a:r>
          </a:p>
        </p:txBody>
      </p:sp>
      <p:sp>
        <p:nvSpPr>
          <p:cNvPr id="61" name="Rectangle 60">
            <a:extLst>
              <a:ext uri="{FF2B5EF4-FFF2-40B4-BE49-F238E27FC236}">
                <a16:creationId xmlns:a16="http://schemas.microsoft.com/office/drawing/2014/main" id="{EB4BE649-1116-40A7-8C91-CB8232DA1A58}"/>
              </a:ext>
            </a:extLst>
          </p:cNvPr>
          <p:cNvSpPr/>
          <p:nvPr/>
        </p:nvSpPr>
        <p:spPr>
          <a:xfrm>
            <a:off x="8692037" y="2036751"/>
            <a:ext cx="2026288" cy="587535"/>
          </a:xfrm>
          <a:prstGeom prst="rect">
            <a:avLst/>
          </a:prstGeom>
          <a:noFill/>
          <a:ln w="9525">
            <a:no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lIns="73152" tIns="0" rIns="73152" bIns="0" rtlCol="0" anchor="t" anchorCtr="0"/>
          <a:lstStyle/>
          <a:p>
            <a:pPr algn="ctr"/>
            <a:r>
              <a:rPr lang="en-GB" sz="1400" b="1" kern="0">
                <a:solidFill>
                  <a:schemeClr val="tx1"/>
                </a:solidFill>
                <a:cs typeface="Calibri" panose="020F0502020204030204" pitchFamily="34" charset="0"/>
              </a:rPr>
              <a:t>New Normal</a:t>
            </a:r>
          </a:p>
          <a:p>
            <a:pPr algn="ctr"/>
            <a:r>
              <a:rPr lang="en-GB" sz="1400" kern="0">
                <a:solidFill>
                  <a:schemeClr val="tx1"/>
                </a:solidFill>
                <a:cs typeface="Calibri" panose="020F0502020204030204" pitchFamily="34" charset="0"/>
              </a:rPr>
              <a:t>2022-</a:t>
            </a:r>
          </a:p>
        </p:txBody>
      </p:sp>
      <p:cxnSp>
        <p:nvCxnSpPr>
          <p:cNvPr id="31" name="Straight Connector 30">
            <a:extLst>
              <a:ext uri="{FF2B5EF4-FFF2-40B4-BE49-F238E27FC236}">
                <a16:creationId xmlns:a16="http://schemas.microsoft.com/office/drawing/2014/main" id="{C4BE0305-9CA6-4C93-9B94-A14663C51773}"/>
              </a:ext>
            </a:extLst>
          </p:cNvPr>
          <p:cNvCxnSpPr/>
          <p:nvPr/>
        </p:nvCxnSpPr>
        <p:spPr>
          <a:xfrm flipV="1">
            <a:off x="1006431" y="1975146"/>
            <a:ext cx="314268" cy="786508"/>
          </a:xfrm>
          <a:prstGeom prst="line">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9B515A-26B3-47EE-A2FA-0520195193BE}"/>
              </a:ext>
            </a:extLst>
          </p:cNvPr>
          <p:cNvCxnSpPr>
            <a:cxnSpLocks/>
          </p:cNvCxnSpPr>
          <p:nvPr/>
        </p:nvCxnSpPr>
        <p:spPr>
          <a:xfrm flipV="1">
            <a:off x="835931" y="5106191"/>
            <a:ext cx="4464885" cy="108193"/>
          </a:xfrm>
          <a:prstGeom prst="line">
            <a:avLst/>
          </a:prstGeom>
          <a:ln w="28575">
            <a:solidFill>
              <a:schemeClr val="accent1"/>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2E7FCCCD-3DC4-45A4-967E-1F7A42C427D9}"/>
              </a:ext>
            </a:extLst>
          </p:cNvPr>
          <p:cNvSpPr txBox="1"/>
          <p:nvPr/>
        </p:nvSpPr>
        <p:spPr>
          <a:xfrm>
            <a:off x="8314869" y="4615712"/>
            <a:ext cx="3419931" cy="892552"/>
          </a:xfrm>
          <a:prstGeom prst="rect">
            <a:avLst/>
          </a:prstGeom>
          <a:noFill/>
        </p:spPr>
        <p:txBody>
          <a:bodyPr wrap="square">
            <a:spAutoFit/>
          </a:bodyPr>
          <a:lstStyle/>
          <a:p>
            <a:r>
              <a:rPr lang="en-GB" sz="2400" b="1">
                <a:latin typeface="+mj-lt"/>
                <a:cs typeface="Calibri" panose="020F0502020204030204" pitchFamily="34" charset="0"/>
              </a:rPr>
              <a:t>Uncertainty</a:t>
            </a:r>
          </a:p>
          <a:p>
            <a:r>
              <a:rPr lang="en-GB" sz="2400" b="1">
                <a:solidFill>
                  <a:schemeClr val="accent2"/>
                </a:solidFill>
                <a:latin typeface="+mj-lt"/>
                <a:cs typeface="Calibri" panose="020F0502020204030204" pitchFamily="34" charset="0"/>
              </a:rPr>
              <a:t>X</a:t>
            </a:r>
            <a:r>
              <a:rPr lang="en-GB" sz="2800" b="1">
                <a:solidFill>
                  <a:schemeClr val="accent2"/>
                </a:solidFill>
                <a:latin typeface="+mj-lt"/>
                <a:cs typeface="Calibri" panose="020F0502020204030204" pitchFamily="34" charset="0"/>
              </a:rPr>
              <a:t>2.5 </a:t>
            </a:r>
            <a:r>
              <a:rPr lang="en-GB" sz="2400" b="1">
                <a:solidFill>
                  <a:schemeClr val="accent2"/>
                </a:solidFill>
                <a:latin typeface="+mj-lt"/>
                <a:cs typeface="Calibri" panose="020F0502020204030204" pitchFamily="34" charset="0"/>
              </a:rPr>
              <a:t>in 30 years</a:t>
            </a:r>
          </a:p>
        </p:txBody>
      </p:sp>
      <p:sp>
        <p:nvSpPr>
          <p:cNvPr id="57" name="TextBox 56">
            <a:extLst>
              <a:ext uri="{FF2B5EF4-FFF2-40B4-BE49-F238E27FC236}">
                <a16:creationId xmlns:a16="http://schemas.microsoft.com/office/drawing/2014/main" id="{0DBDC4DF-7464-48F1-A7E1-36D50B8B8311}"/>
              </a:ext>
            </a:extLst>
          </p:cNvPr>
          <p:cNvSpPr txBox="1"/>
          <p:nvPr/>
        </p:nvSpPr>
        <p:spPr>
          <a:xfrm>
            <a:off x="8314869" y="3085334"/>
            <a:ext cx="3410379" cy="1077218"/>
          </a:xfrm>
          <a:prstGeom prst="rect">
            <a:avLst/>
          </a:prstGeom>
          <a:noFill/>
        </p:spPr>
        <p:txBody>
          <a:bodyPr wrap="square">
            <a:spAutoFit/>
          </a:bodyPr>
          <a:lstStyle/>
          <a:p>
            <a:r>
              <a:rPr lang="en-GB" sz="2800" b="1">
                <a:solidFill>
                  <a:schemeClr val="accent2"/>
                </a:solidFill>
                <a:latin typeface="+mj-lt"/>
                <a:cs typeface="Calibri" panose="020F0502020204030204" pitchFamily="34" charset="0"/>
              </a:rPr>
              <a:t>1 </a:t>
            </a:r>
            <a:r>
              <a:rPr lang="en-GB" sz="2400" b="1">
                <a:solidFill>
                  <a:schemeClr val="accent2"/>
                </a:solidFill>
                <a:latin typeface="+mj-lt"/>
                <a:cs typeface="Calibri" panose="020F0502020204030204" pitchFamily="34" charset="0"/>
              </a:rPr>
              <a:t>crisis/Year</a:t>
            </a:r>
            <a:r>
              <a:rPr lang="en-GB" sz="2400" b="1">
                <a:solidFill>
                  <a:schemeClr val="accent2"/>
                </a:solidFill>
                <a:cs typeface="Calibri" panose="020F0502020204030204" pitchFamily="34" charset="0"/>
              </a:rPr>
              <a:t> </a:t>
            </a:r>
            <a:br>
              <a:rPr lang="en-GB" sz="1800" b="1">
                <a:solidFill>
                  <a:srgbClr val="4E6287"/>
                </a:solidFill>
                <a:cs typeface="Calibri" panose="020F0502020204030204" pitchFamily="34" charset="0"/>
              </a:rPr>
            </a:br>
            <a:r>
              <a:rPr lang="en-GB" sz="1800" b="1">
                <a:solidFill>
                  <a:schemeClr val="tx1"/>
                </a:solidFill>
                <a:cs typeface="Calibri" panose="020F0502020204030204" pitchFamily="34" charset="0"/>
              </a:rPr>
              <a:t>now on av. experienced </a:t>
            </a:r>
            <a:r>
              <a:rPr lang="en-GB" sz="1800">
                <a:solidFill>
                  <a:schemeClr val="tx1"/>
                </a:solidFill>
                <a:cs typeface="Calibri" panose="020F0502020204030204" pitchFamily="34" charset="0"/>
              </a:rPr>
              <a:t>by companies</a:t>
            </a:r>
            <a:r>
              <a:rPr lang="en-GB" sz="1800" baseline="30000">
                <a:solidFill>
                  <a:schemeClr val="tx1"/>
                </a:solidFill>
                <a:cs typeface="MMC Display Condensed"/>
              </a:rPr>
              <a:t>1</a:t>
            </a:r>
            <a:endParaRPr lang="en-GB" sz="1800" baseline="30000">
              <a:solidFill>
                <a:schemeClr val="tx1"/>
              </a:solidFill>
            </a:endParaRPr>
          </a:p>
        </p:txBody>
      </p:sp>
      <p:cxnSp>
        <p:nvCxnSpPr>
          <p:cNvPr id="449" name="Straight Arrow Connector 448">
            <a:extLst>
              <a:ext uri="{FF2B5EF4-FFF2-40B4-BE49-F238E27FC236}">
                <a16:creationId xmlns:a16="http://schemas.microsoft.com/office/drawing/2014/main" id="{B01D1FCF-08B2-49CC-A396-40E8E0CB7C37}"/>
              </a:ext>
            </a:extLst>
          </p:cNvPr>
          <p:cNvCxnSpPr>
            <a:cxnSpLocks/>
          </p:cNvCxnSpPr>
          <p:nvPr/>
        </p:nvCxnSpPr>
        <p:spPr>
          <a:xfrm flipV="1">
            <a:off x="8050530" y="4498311"/>
            <a:ext cx="0" cy="1188907"/>
          </a:xfrm>
          <a:prstGeom prst="straightConnector1">
            <a:avLst/>
          </a:prstGeom>
          <a:ln w="28575">
            <a:solidFill>
              <a:schemeClr val="accent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4" name="Speech Bubble: Rectangle 453">
            <a:extLst>
              <a:ext uri="{FF2B5EF4-FFF2-40B4-BE49-F238E27FC236}">
                <a16:creationId xmlns:a16="http://schemas.microsoft.com/office/drawing/2014/main" id="{2A7C73DF-8FBF-4214-83B6-BE4005FFA34D}"/>
              </a:ext>
            </a:extLst>
          </p:cNvPr>
          <p:cNvSpPr/>
          <p:nvPr/>
        </p:nvSpPr>
        <p:spPr>
          <a:xfrm>
            <a:off x="3650717" y="1394800"/>
            <a:ext cx="4535099" cy="277661"/>
          </a:xfrm>
          <a:prstGeom prst="wedgeRectCallout">
            <a:avLst>
              <a:gd name="adj1" fmla="val -39870"/>
              <a:gd name="adj2" fmla="val 30475"/>
            </a:avLst>
          </a:prstGeom>
          <a:solidFill>
            <a:srgbClr val="F0F0F0"/>
          </a:solidFill>
          <a:ln w="9525">
            <a:solidFill>
              <a:srgbClr val="F0F0F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r>
              <a:rPr lang="en-GB" sz="1200" kern="0">
                <a:solidFill>
                  <a:schemeClr val="tx1"/>
                </a:solidFill>
                <a:cs typeface="Calibri" panose="020F0502020204030204" pitchFamily="34" charset="0"/>
                <a:sym typeface="+mn-lt"/>
              </a:rPr>
              <a:t>Counts “uncertainty” related words in Economist Intelligence reports</a:t>
            </a:r>
          </a:p>
        </p:txBody>
      </p:sp>
      <p:grpSp>
        <p:nvGrpSpPr>
          <p:cNvPr id="13" name="Group 12">
            <a:extLst>
              <a:ext uri="{FF2B5EF4-FFF2-40B4-BE49-F238E27FC236}">
                <a16:creationId xmlns:a16="http://schemas.microsoft.com/office/drawing/2014/main" id="{B44AC68B-6F30-AFE9-BB10-20FC681C7F2C}"/>
              </a:ext>
            </a:extLst>
          </p:cNvPr>
          <p:cNvGrpSpPr/>
          <p:nvPr/>
        </p:nvGrpSpPr>
        <p:grpSpPr>
          <a:xfrm>
            <a:off x="4204663" y="2615473"/>
            <a:ext cx="3469651" cy="2993028"/>
            <a:chOff x="4204663" y="2615472"/>
            <a:chExt cx="3469651" cy="3370845"/>
          </a:xfrm>
        </p:grpSpPr>
        <p:cxnSp>
          <p:nvCxnSpPr>
            <p:cNvPr id="462" name="Straight Connector 461">
              <a:extLst>
                <a:ext uri="{FF2B5EF4-FFF2-40B4-BE49-F238E27FC236}">
                  <a16:creationId xmlns:a16="http://schemas.microsoft.com/office/drawing/2014/main" id="{69934540-6735-4127-870D-4D6E68CAFF4F}"/>
                </a:ext>
              </a:extLst>
            </p:cNvPr>
            <p:cNvCxnSpPr/>
            <p:nvPr/>
          </p:nvCxnSpPr>
          <p:spPr>
            <a:xfrm flipH="1">
              <a:off x="4204663" y="2615472"/>
              <a:ext cx="15868" cy="3370845"/>
            </a:xfrm>
            <a:prstGeom prst="line">
              <a:avLst/>
            </a:prstGeom>
            <a:ln w="95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8F8C3A4-5AC3-4CB1-802E-19ABD481AAF9}"/>
                </a:ext>
              </a:extLst>
            </p:cNvPr>
            <p:cNvCxnSpPr/>
            <p:nvPr/>
          </p:nvCxnSpPr>
          <p:spPr>
            <a:xfrm flipH="1">
              <a:off x="5395051" y="2615472"/>
              <a:ext cx="15868" cy="3370845"/>
            </a:xfrm>
            <a:prstGeom prst="line">
              <a:avLst/>
            </a:prstGeom>
            <a:ln w="95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C244113D-53B7-421A-9278-83DB2D45FFC0}"/>
                </a:ext>
              </a:extLst>
            </p:cNvPr>
            <p:cNvCxnSpPr/>
            <p:nvPr/>
          </p:nvCxnSpPr>
          <p:spPr>
            <a:xfrm flipH="1">
              <a:off x="7658446" y="2615472"/>
              <a:ext cx="15868" cy="3370845"/>
            </a:xfrm>
            <a:prstGeom prst="line">
              <a:avLst/>
            </a:prstGeom>
            <a:ln w="95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5D98E148-C79D-464C-A199-11A0B45FED14}"/>
              </a:ext>
            </a:extLst>
          </p:cNvPr>
          <p:cNvSpPr txBox="1"/>
          <p:nvPr/>
        </p:nvSpPr>
        <p:spPr>
          <a:xfrm>
            <a:off x="590" y="1309809"/>
            <a:ext cx="40076" cy="215444"/>
          </a:xfrm>
          <a:prstGeom prst="rect">
            <a:avLst/>
          </a:prstGeom>
          <a:noFill/>
        </p:spPr>
        <p:txBody>
          <a:bodyPr vert="horz" wrap="none" lIns="0" tIns="0" rIns="0" bIns="0" rtlCol="0" anchorCtr="1">
            <a:spAutoFit/>
          </a:bodyPr>
          <a:lstStyle/>
          <a:p>
            <a:pPr algn="l"/>
            <a:r>
              <a:rPr lang="en-GB" sz="1400" kern="0">
                <a:cs typeface="Calibri" panose="020F0502020204030204" pitchFamily="34" charset="0"/>
              </a:rPr>
              <a:t> </a:t>
            </a:r>
          </a:p>
        </p:txBody>
      </p:sp>
      <p:sp>
        <p:nvSpPr>
          <p:cNvPr id="7" name="Isosceles Triangle 6">
            <a:extLst>
              <a:ext uri="{FF2B5EF4-FFF2-40B4-BE49-F238E27FC236}">
                <a16:creationId xmlns:a16="http://schemas.microsoft.com/office/drawing/2014/main" id="{D93F91B1-551A-CFEE-D2C1-4220B4F0A0BA}"/>
              </a:ext>
            </a:extLst>
          </p:cNvPr>
          <p:cNvSpPr/>
          <p:nvPr/>
        </p:nvSpPr>
        <p:spPr>
          <a:xfrm rot="16200000">
            <a:off x="3491091" y="1459729"/>
            <a:ext cx="171450" cy="147802"/>
          </a:xfrm>
          <a:prstGeom prst="triangle">
            <a:avLst/>
          </a:prstGeom>
          <a:solidFill>
            <a:srgbClr val="F0F0F0"/>
          </a:solidFill>
          <a:ln w="9525">
            <a:solidFill>
              <a:srgbClr val="F0F0F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cs typeface="Calibri" panose="020F0502020204030204" pitchFamily="34" charset="0"/>
            </a:endParaRPr>
          </a:p>
        </p:txBody>
      </p:sp>
      <p:sp>
        <p:nvSpPr>
          <p:cNvPr id="14" name="Rectangle: Rounded Corners 13">
            <a:extLst>
              <a:ext uri="{FF2B5EF4-FFF2-40B4-BE49-F238E27FC236}">
                <a16:creationId xmlns:a16="http://schemas.microsoft.com/office/drawing/2014/main" id="{61AAB0EA-84CB-A351-EC14-3359725E879E}"/>
              </a:ext>
            </a:extLst>
          </p:cNvPr>
          <p:cNvSpPr/>
          <p:nvPr/>
        </p:nvSpPr>
        <p:spPr>
          <a:xfrm>
            <a:off x="819151" y="2498644"/>
            <a:ext cx="3403599" cy="120733"/>
          </a:xfrm>
          <a:prstGeom prst="roundRect">
            <a:avLst>
              <a:gd name="adj" fmla="val 50000"/>
            </a:avLst>
          </a:prstGeom>
          <a:solidFill>
            <a:schemeClr val="accent3"/>
          </a:solidFill>
          <a:ln w="28575">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bg1"/>
              </a:solidFill>
              <a:cs typeface="Calibri" panose="020F0502020204030204" pitchFamily="34" charset="0"/>
            </a:endParaRPr>
          </a:p>
        </p:txBody>
      </p:sp>
      <p:sp>
        <p:nvSpPr>
          <p:cNvPr id="16" name="Rectangle: Rounded Corners 15">
            <a:extLst>
              <a:ext uri="{FF2B5EF4-FFF2-40B4-BE49-F238E27FC236}">
                <a16:creationId xmlns:a16="http://schemas.microsoft.com/office/drawing/2014/main" id="{8C153FB1-2C43-52E2-D326-762A9B8CD6D6}"/>
              </a:ext>
            </a:extLst>
          </p:cNvPr>
          <p:cNvSpPr/>
          <p:nvPr/>
        </p:nvSpPr>
        <p:spPr>
          <a:xfrm>
            <a:off x="4234179" y="2498643"/>
            <a:ext cx="1168492" cy="120733"/>
          </a:xfrm>
          <a:prstGeom prst="roundRect">
            <a:avLst>
              <a:gd name="adj" fmla="val 50000"/>
            </a:avLst>
          </a:prstGeom>
          <a:solidFill>
            <a:schemeClr val="accent3"/>
          </a:solidFill>
          <a:ln w="28575">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bg1"/>
              </a:solidFill>
              <a:cs typeface="Calibri" panose="020F0502020204030204" pitchFamily="34" charset="0"/>
            </a:endParaRPr>
          </a:p>
        </p:txBody>
      </p:sp>
      <p:sp>
        <p:nvSpPr>
          <p:cNvPr id="18" name="Rectangle: Rounded Corners 17">
            <a:extLst>
              <a:ext uri="{FF2B5EF4-FFF2-40B4-BE49-F238E27FC236}">
                <a16:creationId xmlns:a16="http://schemas.microsoft.com/office/drawing/2014/main" id="{73E8A1D0-67EF-93FB-5C25-F2D93FE710DD}"/>
              </a:ext>
            </a:extLst>
          </p:cNvPr>
          <p:cNvSpPr/>
          <p:nvPr/>
        </p:nvSpPr>
        <p:spPr>
          <a:xfrm>
            <a:off x="5421721" y="2498642"/>
            <a:ext cx="2236726" cy="120733"/>
          </a:xfrm>
          <a:prstGeom prst="roundRect">
            <a:avLst>
              <a:gd name="adj" fmla="val 50000"/>
            </a:avLst>
          </a:prstGeom>
          <a:solidFill>
            <a:schemeClr val="accent3"/>
          </a:solidFill>
          <a:ln w="28575">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bg1"/>
              </a:solidFill>
              <a:cs typeface="Calibri" panose="020F0502020204030204" pitchFamily="34" charset="0"/>
            </a:endParaRPr>
          </a:p>
        </p:txBody>
      </p:sp>
      <p:sp>
        <p:nvSpPr>
          <p:cNvPr id="20" name="Rectangle: Rounded Corners 19">
            <a:extLst>
              <a:ext uri="{FF2B5EF4-FFF2-40B4-BE49-F238E27FC236}">
                <a16:creationId xmlns:a16="http://schemas.microsoft.com/office/drawing/2014/main" id="{A9F4B301-5AA8-2776-CF47-0D843C1F222B}"/>
              </a:ext>
            </a:extLst>
          </p:cNvPr>
          <p:cNvSpPr/>
          <p:nvPr/>
        </p:nvSpPr>
        <p:spPr>
          <a:xfrm>
            <a:off x="7685114" y="2493235"/>
            <a:ext cx="4040134" cy="120733"/>
          </a:xfrm>
          <a:prstGeom prst="roundRect">
            <a:avLst>
              <a:gd name="adj" fmla="val 50000"/>
            </a:avLst>
          </a:prstGeom>
          <a:solidFill>
            <a:schemeClr val="accent2"/>
          </a:solidFill>
          <a:ln w="28575">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bg1"/>
              </a:solidFill>
              <a:cs typeface="Calibri" panose="020F0502020204030204" pitchFamily="34" charset="0"/>
            </a:endParaRPr>
          </a:p>
        </p:txBody>
      </p:sp>
      <p:sp>
        <p:nvSpPr>
          <p:cNvPr id="5" name="Arc 4">
            <a:extLst>
              <a:ext uri="{FF2B5EF4-FFF2-40B4-BE49-F238E27FC236}">
                <a16:creationId xmlns:a16="http://schemas.microsoft.com/office/drawing/2014/main" id="{2DE25CE4-BC39-43FE-8212-F0AA3A7F8066}"/>
              </a:ext>
            </a:extLst>
          </p:cNvPr>
          <p:cNvSpPr/>
          <p:nvPr/>
        </p:nvSpPr>
        <p:spPr>
          <a:xfrm flipV="1">
            <a:off x="1737233" y="1688105"/>
            <a:ext cx="6048959" cy="3432566"/>
          </a:xfrm>
          <a:prstGeom prst="arc">
            <a:avLst>
              <a:gd name="adj1" fmla="val 17382749"/>
              <a:gd name="adj2" fmla="val 20658741"/>
            </a:avLst>
          </a:prstGeom>
          <a:ln w="28575">
            <a:solidFill>
              <a:srgbClr val="009DE0"/>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Ghost">
            <a:extLst>
              <a:ext uri="{FF2B5EF4-FFF2-40B4-BE49-F238E27FC236}">
                <a16:creationId xmlns:a16="http://schemas.microsoft.com/office/drawing/2014/main" id="{B1D284C1-D87F-4216-9A9A-14D8C7FEEBBA}"/>
              </a:ext>
            </a:extLst>
          </p:cNvPr>
          <p:cNvSpPr/>
          <p:nvPr/>
        </p:nvSpPr>
        <p:spPr>
          <a:xfrm>
            <a:off x="457200" y="107385"/>
            <a:ext cx="257121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Understanding the perma-crisis environment</a:t>
            </a:r>
          </a:p>
        </p:txBody>
      </p:sp>
    </p:spTree>
    <p:extLst>
      <p:ext uri="{BB962C8B-B14F-4D97-AF65-F5344CB8AC3E}">
        <p14:creationId xmlns:p14="http://schemas.microsoft.com/office/powerpoint/2010/main" val="2546154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43A78-BC03-4E68-BD2E-A6B3057E7A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76" imgH="676" progId="TCLayout.ActiveDocument.1">
                  <p:embed/>
                </p:oleObj>
              </mc:Choice>
              <mc:Fallback>
                <p:oleObj name="think-cell Slide" r:id="rId4" imgW="676" imgH="676" progId="TCLayout.ActiveDocument.1">
                  <p:embed/>
                  <p:pic>
                    <p:nvPicPr>
                      <p:cNvPr id="6" name="Object 5" hidden="1">
                        <a:extLst>
                          <a:ext uri="{FF2B5EF4-FFF2-40B4-BE49-F238E27FC236}">
                            <a16:creationId xmlns:a16="http://schemas.microsoft.com/office/drawing/2014/main" id="{06343A78-BC03-4E68-BD2E-A6B3057E7A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6" name="object 63">
            <a:extLst>
              <a:ext uri="{FF2B5EF4-FFF2-40B4-BE49-F238E27FC236}">
                <a16:creationId xmlns:a16="http://schemas.microsoft.com/office/drawing/2014/main" id="{0EC4FE86-AAA1-4D49-AB31-179BC35EDA0C}"/>
              </a:ext>
            </a:extLst>
          </p:cNvPr>
          <p:cNvSpPr txBox="1"/>
          <p:nvPr/>
        </p:nvSpPr>
        <p:spPr>
          <a:xfrm>
            <a:off x="10784439" y="463844"/>
            <a:ext cx="130810" cy="299720"/>
          </a:xfrm>
          <a:prstGeom prst="rect">
            <a:avLst/>
          </a:prstGeom>
        </p:spPr>
        <p:txBody>
          <a:bodyPr vert="horz" wrap="square" lIns="0" tIns="12700" rIns="0" bIns="0" rtlCol="0">
            <a:spAutoFit/>
          </a:bodyPr>
          <a:lstStyle/>
          <a:p>
            <a:pPr marL="12700">
              <a:lnSpc>
                <a:spcPct val="100000"/>
              </a:lnSpc>
              <a:spcBef>
                <a:spcPts val="100"/>
              </a:spcBef>
            </a:pPr>
            <a:r>
              <a:rPr lang="en-GB" sz="1800" b="1">
                <a:latin typeface="Calibri"/>
                <a:cs typeface="Calibri"/>
              </a:rPr>
              <a:t>x</a:t>
            </a:r>
            <a:endParaRPr lang="en-GB" sz="1800">
              <a:latin typeface="Calibri"/>
              <a:cs typeface="Calibri"/>
            </a:endParaRPr>
          </a:p>
        </p:txBody>
      </p:sp>
      <p:pic>
        <p:nvPicPr>
          <p:cNvPr id="207" name="object 61">
            <a:extLst>
              <a:ext uri="{FF2B5EF4-FFF2-40B4-BE49-F238E27FC236}">
                <a16:creationId xmlns:a16="http://schemas.microsoft.com/office/drawing/2014/main" id="{0CAB89AE-1DD0-44F6-9B59-7D17061CBB28}"/>
              </a:ext>
            </a:extLst>
          </p:cNvPr>
          <p:cNvPicPr/>
          <p:nvPr/>
        </p:nvPicPr>
        <p:blipFill>
          <a:blip r:embed="rId6" cstate="screen">
            <a:extLst>
              <a:ext uri="{28A0092B-C50C-407E-A947-70E740481C1C}">
                <a14:useLocalDpi xmlns:a14="http://schemas.microsoft.com/office/drawing/2010/main"/>
              </a:ext>
            </a:extLst>
          </a:blip>
          <a:stretch>
            <a:fillRect/>
          </a:stretch>
        </p:blipFill>
        <p:spPr>
          <a:xfrm>
            <a:off x="9122226" y="546648"/>
            <a:ext cx="1536192" cy="134112"/>
          </a:xfrm>
          <a:prstGeom prst="rect">
            <a:avLst/>
          </a:prstGeom>
        </p:spPr>
      </p:pic>
      <p:pic>
        <p:nvPicPr>
          <p:cNvPr id="208" name="object 62">
            <a:extLst>
              <a:ext uri="{FF2B5EF4-FFF2-40B4-BE49-F238E27FC236}">
                <a16:creationId xmlns:a16="http://schemas.microsoft.com/office/drawing/2014/main" id="{C70EA175-C1CA-4157-9868-9404CAD38860}"/>
              </a:ext>
            </a:extLst>
          </p:cNvPr>
          <p:cNvPicPr/>
          <p:nvPr/>
        </p:nvPicPr>
        <p:blipFill>
          <a:blip r:embed="rId7" cstate="screen">
            <a:extLst>
              <a:ext uri="{28A0092B-C50C-407E-A947-70E740481C1C}">
                <a14:useLocalDpi xmlns:a14="http://schemas.microsoft.com/office/drawing/2010/main"/>
              </a:ext>
            </a:extLst>
          </a:blip>
          <a:stretch>
            <a:fillRect/>
          </a:stretch>
        </p:blipFill>
        <p:spPr>
          <a:xfrm>
            <a:off x="11041270" y="399652"/>
            <a:ext cx="693282" cy="428103"/>
          </a:xfrm>
          <a:prstGeom prst="rect">
            <a:avLst/>
          </a:prstGeom>
        </p:spPr>
      </p:pic>
      <p:grpSp>
        <p:nvGrpSpPr>
          <p:cNvPr id="10" name="Group 9">
            <a:extLst>
              <a:ext uri="{FF2B5EF4-FFF2-40B4-BE49-F238E27FC236}">
                <a16:creationId xmlns:a16="http://schemas.microsoft.com/office/drawing/2014/main" id="{2AE9C375-D6A6-CFAB-ECE7-6FBCBD9E182E}"/>
              </a:ext>
            </a:extLst>
          </p:cNvPr>
          <p:cNvGrpSpPr/>
          <p:nvPr/>
        </p:nvGrpSpPr>
        <p:grpSpPr>
          <a:xfrm>
            <a:off x="465909" y="1326215"/>
            <a:ext cx="1772065" cy="5004913"/>
            <a:chOff x="465909" y="1326215"/>
            <a:chExt cx="1772065" cy="5004913"/>
          </a:xfrm>
        </p:grpSpPr>
        <p:sp>
          <p:nvSpPr>
            <p:cNvPr id="529" name="Rectangle 528">
              <a:extLst>
                <a:ext uri="{FF2B5EF4-FFF2-40B4-BE49-F238E27FC236}">
                  <a16:creationId xmlns:a16="http://schemas.microsoft.com/office/drawing/2014/main" id="{B8A7324D-365D-47BB-AF0A-DB97779DCBC8}"/>
                </a:ext>
              </a:extLst>
            </p:cNvPr>
            <p:cNvSpPr/>
            <p:nvPr/>
          </p:nvSpPr>
          <p:spPr>
            <a:xfrm>
              <a:off x="688335" y="1326215"/>
              <a:ext cx="1542996" cy="36201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000000"/>
                  </a:solidFill>
                  <a:effectLst/>
                  <a:uLnTx/>
                  <a:uFillTx/>
                  <a:latin typeface="MMC Display Condensed"/>
                  <a:ea typeface="+mn-ea"/>
                  <a:cs typeface="Calibri" panose="020F0502020204030204" pitchFamily="34" charset="0"/>
                </a:rPr>
                <a:t>geopolitical</a:t>
              </a:r>
            </a:p>
          </p:txBody>
        </p:sp>
        <p:sp>
          <p:nvSpPr>
            <p:cNvPr id="668" name="Rectangle 667">
              <a:extLst>
                <a:ext uri="{FF2B5EF4-FFF2-40B4-BE49-F238E27FC236}">
                  <a16:creationId xmlns:a16="http://schemas.microsoft.com/office/drawing/2014/main" id="{FC22FB9A-F867-4023-A605-21EBC3F2786F}"/>
                </a:ext>
              </a:extLst>
            </p:cNvPr>
            <p:cNvSpPr>
              <a:spLocks/>
            </p:cNvSpPr>
            <p:nvPr/>
          </p:nvSpPr>
          <p:spPr>
            <a:xfrm>
              <a:off x="653421"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Calibri"/>
                  <a:ea typeface="+mn-ea"/>
                  <a:cs typeface="Calibri" panose="020F0502020204030204" pitchFamily="34" charset="0"/>
                </a:rPr>
                <a:t>Interstate conflict</a:t>
              </a:r>
            </a:p>
          </p:txBody>
        </p:sp>
        <p:sp>
          <p:nvSpPr>
            <p:cNvPr id="679" name="Rectangle 678">
              <a:extLst>
                <a:ext uri="{FF2B5EF4-FFF2-40B4-BE49-F238E27FC236}">
                  <a16:creationId xmlns:a16="http://schemas.microsoft.com/office/drawing/2014/main" id="{96D566FC-67F1-4AEC-83F1-ED67DCD46075}"/>
                </a:ext>
              </a:extLst>
            </p:cNvPr>
            <p:cNvSpPr>
              <a:spLocks/>
            </p:cNvSpPr>
            <p:nvPr/>
          </p:nvSpPr>
          <p:spPr>
            <a:xfrm>
              <a:off x="653421" y="2614792"/>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Calibri"/>
                  <a:ea typeface="+mn-ea"/>
                  <a:cs typeface="Calibri" panose="020F0502020204030204" pitchFamily="34" charset="0"/>
                </a:rPr>
                <a:t>Geoeconomic confrontation</a:t>
              </a:r>
            </a:p>
          </p:txBody>
        </p:sp>
        <p:sp>
          <p:nvSpPr>
            <p:cNvPr id="685" name="Rectangle 684">
              <a:extLst>
                <a:ext uri="{FF2B5EF4-FFF2-40B4-BE49-F238E27FC236}">
                  <a16:creationId xmlns:a16="http://schemas.microsoft.com/office/drawing/2014/main" id="{EE65C265-3BD3-4214-A38E-F617E650519C}"/>
                </a:ext>
              </a:extLst>
            </p:cNvPr>
            <p:cNvSpPr>
              <a:spLocks/>
            </p:cNvSpPr>
            <p:nvPr/>
          </p:nvSpPr>
          <p:spPr>
            <a:xfrm>
              <a:off x="653421" y="335883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tx1"/>
                  </a:solidFill>
                  <a:effectLst/>
                  <a:uLnTx/>
                  <a:uFillTx/>
                  <a:latin typeface="Calibri"/>
                  <a:ea typeface="+mn-ea"/>
                  <a:cs typeface="Calibri" panose="020F0502020204030204" pitchFamily="34" charset="0"/>
                </a:rPr>
                <a:t>State collapse or </a:t>
              </a:r>
              <a:br>
                <a:rPr kumimoji="0" lang="en-GB" sz="1000" b="1" i="0" u="none" strike="noStrike" kern="0" cap="none" spc="0" normalizeH="0" baseline="0" noProof="0">
                  <a:ln>
                    <a:noFill/>
                  </a:ln>
                  <a:solidFill>
                    <a:schemeClr val="tx1"/>
                  </a:solidFill>
                  <a:effectLst/>
                  <a:uLnTx/>
                  <a:uFillTx/>
                  <a:latin typeface="Calibri"/>
                  <a:ea typeface="+mn-ea"/>
                  <a:cs typeface="Calibri" panose="020F0502020204030204" pitchFamily="34" charset="0"/>
                </a:rPr>
              </a:br>
              <a:r>
                <a:rPr kumimoji="0" lang="en-GB" sz="1000" b="1" i="0" u="none" strike="noStrike" kern="0" cap="none" spc="0" normalizeH="0" baseline="0" noProof="0">
                  <a:ln>
                    <a:noFill/>
                  </a:ln>
                  <a:solidFill>
                    <a:schemeClr val="tx1"/>
                  </a:solidFill>
                  <a:effectLst/>
                  <a:uLnTx/>
                  <a:uFillTx/>
                  <a:latin typeface="Calibri"/>
                  <a:ea typeface="+mn-ea"/>
                  <a:cs typeface="Calibri" panose="020F0502020204030204" pitchFamily="34" charset="0"/>
                </a:rPr>
                <a:t>severe instability</a:t>
              </a:r>
            </a:p>
          </p:txBody>
        </p:sp>
        <p:sp>
          <p:nvSpPr>
            <p:cNvPr id="691" name="Rectangle 690">
              <a:extLst>
                <a:ext uri="{FF2B5EF4-FFF2-40B4-BE49-F238E27FC236}">
                  <a16:creationId xmlns:a16="http://schemas.microsoft.com/office/drawing/2014/main" id="{1A0FBECA-B9CA-4042-BBDA-B34178BCE4E2}"/>
                </a:ext>
              </a:extLst>
            </p:cNvPr>
            <p:cNvSpPr>
              <a:spLocks/>
            </p:cNvSpPr>
            <p:nvPr/>
          </p:nvSpPr>
          <p:spPr>
            <a:xfrm>
              <a:off x="653421" y="410618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tx1"/>
                  </a:solidFill>
                  <a:effectLst/>
                  <a:uLnTx/>
                  <a:uFillTx/>
                  <a:latin typeface="Calibri"/>
                  <a:ea typeface="+mn-ea"/>
                  <a:cs typeface="Calibri" panose="020F0502020204030204" pitchFamily="34" charset="0"/>
                </a:rPr>
                <a:t>Ineffectiveness of international</a:t>
              </a:r>
              <a:r>
                <a:rPr lang="en-GB" sz="1000" b="1" kern="0">
                  <a:solidFill>
                    <a:schemeClr val="tx1"/>
                  </a:solidFill>
                  <a:latin typeface="Calibri"/>
                  <a:cs typeface="Calibri" panose="020F0502020204030204" pitchFamily="34" charset="0"/>
                </a:rPr>
                <a:t> cooperation</a:t>
              </a:r>
              <a:endParaRPr kumimoji="0" lang="en-GB" sz="1000" b="1"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chemeClr val="tx1"/>
                </a:solidFill>
                <a:effectLst/>
                <a:uLnTx/>
                <a:uFillTx/>
                <a:latin typeface="Calibri"/>
                <a:ea typeface="+mn-ea"/>
                <a:cs typeface="+mn-cs"/>
              </a:endParaRPr>
            </a:p>
          </p:txBody>
        </p:sp>
        <p:sp>
          <p:nvSpPr>
            <p:cNvPr id="697" name="Rectangle 696">
              <a:extLst>
                <a:ext uri="{FF2B5EF4-FFF2-40B4-BE49-F238E27FC236}">
                  <a16:creationId xmlns:a16="http://schemas.microsoft.com/office/drawing/2014/main" id="{C042062A-B91C-4683-95A5-E6719B9CF288}"/>
                </a:ext>
              </a:extLst>
            </p:cNvPr>
            <p:cNvSpPr>
              <a:spLocks/>
            </p:cNvSpPr>
            <p:nvPr/>
          </p:nvSpPr>
          <p:spPr>
            <a:xfrm>
              <a:off x="653421" y="485339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tx1"/>
                  </a:solidFill>
                  <a:effectLst/>
                  <a:uLnTx/>
                  <a:uFillTx/>
                  <a:latin typeface="Calibri"/>
                  <a:ea typeface="+mn-ea"/>
                  <a:cs typeface="Calibri" panose="020F0502020204030204" pitchFamily="34" charset="0"/>
                </a:rPr>
                <a:t>Use of weapons of mass destruction</a:t>
              </a:r>
            </a:p>
          </p:txBody>
        </p:sp>
        <p:sp>
          <p:nvSpPr>
            <p:cNvPr id="703" name="Rectangle 702">
              <a:extLst>
                <a:ext uri="{FF2B5EF4-FFF2-40B4-BE49-F238E27FC236}">
                  <a16:creationId xmlns:a16="http://schemas.microsoft.com/office/drawing/2014/main" id="{E746DF9F-FC91-48E9-867E-2E31889555C6}"/>
                </a:ext>
              </a:extLst>
            </p:cNvPr>
            <p:cNvSpPr>
              <a:spLocks/>
            </p:cNvSpPr>
            <p:nvPr/>
          </p:nvSpPr>
          <p:spPr>
            <a:xfrm>
              <a:off x="653421" y="560074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Calibri"/>
                  <a:ea typeface="+mn-ea"/>
                  <a:cs typeface="Calibri" panose="020F0502020204030204" pitchFamily="34" charset="0"/>
                </a:rPr>
                <a:t>Terrorist attacks</a:t>
              </a:r>
            </a:p>
          </p:txBody>
        </p:sp>
        <p:cxnSp>
          <p:nvCxnSpPr>
            <p:cNvPr id="752" name="Straight Connector 751">
              <a:extLst>
                <a:ext uri="{FF2B5EF4-FFF2-40B4-BE49-F238E27FC236}">
                  <a16:creationId xmlns:a16="http://schemas.microsoft.com/office/drawing/2014/main" id="{51A7E4F0-ADD2-40B7-A84B-60653B8586F3}"/>
                </a:ext>
              </a:extLst>
            </p:cNvPr>
            <p:cNvCxnSpPr>
              <a:cxnSpLocks/>
            </p:cNvCxnSpPr>
            <p:nvPr/>
          </p:nvCxnSpPr>
          <p:spPr>
            <a:xfrm>
              <a:off x="653421" y="253856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8" name="Straight Connector 757">
              <a:extLst>
                <a:ext uri="{FF2B5EF4-FFF2-40B4-BE49-F238E27FC236}">
                  <a16:creationId xmlns:a16="http://schemas.microsoft.com/office/drawing/2014/main" id="{51E28D0D-B191-4C35-BAD4-8AD60F7CD3BA}"/>
                </a:ext>
              </a:extLst>
            </p:cNvPr>
            <p:cNvCxnSpPr>
              <a:cxnSpLocks/>
            </p:cNvCxnSpPr>
            <p:nvPr/>
          </p:nvCxnSpPr>
          <p:spPr>
            <a:xfrm>
              <a:off x="653421" y="3283358"/>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4" name="Straight Connector 763">
              <a:extLst>
                <a:ext uri="{FF2B5EF4-FFF2-40B4-BE49-F238E27FC236}">
                  <a16:creationId xmlns:a16="http://schemas.microsoft.com/office/drawing/2014/main" id="{613BF388-00A8-45E3-BE25-66C46A910F4C}"/>
                </a:ext>
              </a:extLst>
            </p:cNvPr>
            <p:cNvCxnSpPr>
              <a:cxnSpLocks/>
            </p:cNvCxnSpPr>
            <p:nvPr/>
          </p:nvCxnSpPr>
          <p:spPr>
            <a:xfrm>
              <a:off x="653421" y="4025587"/>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1" name="Straight Connector 770">
              <a:extLst>
                <a:ext uri="{FF2B5EF4-FFF2-40B4-BE49-F238E27FC236}">
                  <a16:creationId xmlns:a16="http://schemas.microsoft.com/office/drawing/2014/main" id="{1F53BFCD-9B07-4C1B-924B-8EE17CAE3953}"/>
                </a:ext>
              </a:extLst>
            </p:cNvPr>
            <p:cNvCxnSpPr>
              <a:cxnSpLocks/>
            </p:cNvCxnSpPr>
            <p:nvPr/>
          </p:nvCxnSpPr>
          <p:spPr>
            <a:xfrm>
              <a:off x="653421" y="478190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7" name="Straight Connector 776">
              <a:extLst>
                <a:ext uri="{FF2B5EF4-FFF2-40B4-BE49-F238E27FC236}">
                  <a16:creationId xmlns:a16="http://schemas.microsoft.com/office/drawing/2014/main" id="{A934C2B8-7B69-4647-9DD7-96BEECF3A23B}"/>
                </a:ext>
              </a:extLst>
            </p:cNvPr>
            <p:cNvCxnSpPr>
              <a:cxnSpLocks/>
            </p:cNvCxnSpPr>
            <p:nvPr/>
          </p:nvCxnSpPr>
          <p:spPr>
            <a:xfrm>
              <a:off x="653421" y="5528036"/>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3" name="Straight Connector 782">
              <a:extLst>
                <a:ext uri="{FF2B5EF4-FFF2-40B4-BE49-F238E27FC236}">
                  <a16:creationId xmlns:a16="http://schemas.microsoft.com/office/drawing/2014/main" id="{B39D1EE7-1E46-4774-8EFD-563353C1C607}"/>
                </a:ext>
              </a:extLst>
            </p:cNvPr>
            <p:cNvCxnSpPr>
              <a:cxnSpLocks/>
            </p:cNvCxnSpPr>
            <p:nvPr/>
          </p:nvCxnSpPr>
          <p:spPr>
            <a:xfrm>
              <a:off x="653421" y="6277376"/>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0" name="Straight Connector 789">
              <a:extLst>
                <a:ext uri="{FF2B5EF4-FFF2-40B4-BE49-F238E27FC236}">
                  <a16:creationId xmlns:a16="http://schemas.microsoft.com/office/drawing/2014/main" id="{74A8FD29-41FA-4E8A-B990-262F00ECF873}"/>
                </a:ext>
              </a:extLst>
            </p:cNvPr>
            <p:cNvCxnSpPr>
              <a:cxnSpLocks/>
            </p:cNvCxnSpPr>
            <p:nvPr/>
          </p:nvCxnSpPr>
          <p:spPr>
            <a:xfrm>
              <a:off x="653421" y="168823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D0C679E3-A2DE-C119-6BD2-AF8FF7907311}"/>
                </a:ext>
              </a:extLst>
            </p:cNvPr>
            <p:cNvGrpSpPr/>
            <p:nvPr/>
          </p:nvGrpSpPr>
          <p:grpSpPr>
            <a:xfrm>
              <a:off x="465909" y="1754500"/>
              <a:ext cx="96118" cy="4576628"/>
              <a:chOff x="465909" y="1754500"/>
              <a:chExt cx="96118" cy="4576628"/>
            </a:xfrm>
          </p:grpSpPr>
          <p:cxnSp>
            <p:nvCxnSpPr>
              <p:cNvPr id="709" name="Straight Connector 708">
                <a:extLst>
                  <a:ext uri="{FF2B5EF4-FFF2-40B4-BE49-F238E27FC236}">
                    <a16:creationId xmlns:a16="http://schemas.microsoft.com/office/drawing/2014/main" id="{0621C7D7-388C-4DA5-A8D9-3BFF3B0EB021}"/>
                  </a:ext>
                </a:extLst>
              </p:cNvPr>
              <p:cNvCxnSpPr>
                <a:cxnSpLocks/>
              </p:cNvCxnSpPr>
              <p:nvPr/>
            </p:nvCxnSpPr>
            <p:spPr>
              <a:xfrm>
                <a:off x="513968" y="1891451"/>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0" name="Straight Connector 709">
                <a:extLst>
                  <a:ext uri="{FF2B5EF4-FFF2-40B4-BE49-F238E27FC236}">
                    <a16:creationId xmlns:a16="http://schemas.microsoft.com/office/drawing/2014/main" id="{F8C9F5CF-09A7-4034-8CFF-C0CADB05CC9F}"/>
                  </a:ext>
                </a:extLst>
              </p:cNvPr>
              <p:cNvCxnSpPr>
                <a:cxnSpLocks/>
              </p:cNvCxnSpPr>
              <p:nvPr/>
            </p:nvCxnSpPr>
            <p:spPr>
              <a:xfrm>
                <a:off x="513968" y="2638203"/>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1" name="Straight Connector 710">
                <a:extLst>
                  <a:ext uri="{FF2B5EF4-FFF2-40B4-BE49-F238E27FC236}">
                    <a16:creationId xmlns:a16="http://schemas.microsoft.com/office/drawing/2014/main" id="{F6F95E44-6839-4CE3-8715-69DDD4981346}"/>
                  </a:ext>
                </a:extLst>
              </p:cNvPr>
              <p:cNvCxnSpPr>
                <a:cxnSpLocks/>
              </p:cNvCxnSpPr>
              <p:nvPr/>
            </p:nvCxnSpPr>
            <p:spPr>
              <a:xfrm>
                <a:off x="513968" y="3384954"/>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2" name="Straight Connector 711">
                <a:extLst>
                  <a:ext uri="{FF2B5EF4-FFF2-40B4-BE49-F238E27FC236}">
                    <a16:creationId xmlns:a16="http://schemas.microsoft.com/office/drawing/2014/main" id="{051843CD-5FE1-4EBD-9EED-A036229ECC44}"/>
                  </a:ext>
                </a:extLst>
              </p:cNvPr>
              <p:cNvCxnSpPr>
                <a:cxnSpLocks/>
              </p:cNvCxnSpPr>
              <p:nvPr/>
            </p:nvCxnSpPr>
            <p:spPr>
              <a:xfrm>
                <a:off x="513968" y="4131705"/>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3" name="Straight Connector 712">
                <a:extLst>
                  <a:ext uri="{FF2B5EF4-FFF2-40B4-BE49-F238E27FC236}">
                    <a16:creationId xmlns:a16="http://schemas.microsoft.com/office/drawing/2014/main" id="{0AEE6B14-4C98-4FB4-BDE6-318EF1EA659B}"/>
                  </a:ext>
                </a:extLst>
              </p:cNvPr>
              <p:cNvCxnSpPr>
                <a:cxnSpLocks/>
              </p:cNvCxnSpPr>
              <p:nvPr/>
            </p:nvCxnSpPr>
            <p:spPr>
              <a:xfrm>
                <a:off x="513968" y="4878457"/>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4" name="Straight Connector 713">
                <a:extLst>
                  <a:ext uri="{FF2B5EF4-FFF2-40B4-BE49-F238E27FC236}">
                    <a16:creationId xmlns:a16="http://schemas.microsoft.com/office/drawing/2014/main" id="{860A44C3-A390-4E74-B38E-3BFCA734B556}"/>
                  </a:ext>
                </a:extLst>
              </p:cNvPr>
              <p:cNvCxnSpPr>
                <a:cxnSpLocks/>
              </p:cNvCxnSpPr>
              <p:nvPr/>
            </p:nvCxnSpPr>
            <p:spPr>
              <a:xfrm>
                <a:off x="513968" y="5625208"/>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8" name="Flowchart: Connector 797">
                <a:extLst>
                  <a:ext uri="{FF2B5EF4-FFF2-40B4-BE49-F238E27FC236}">
                    <a16:creationId xmlns:a16="http://schemas.microsoft.com/office/drawing/2014/main" id="{16A5C850-534E-4E13-8DEC-D71D8E36E04E}"/>
                  </a:ext>
                </a:extLst>
              </p:cNvPr>
              <p:cNvSpPr/>
              <p:nvPr/>
            </p:nvSpPr>
            <p:spPr>
              <a:xfrm>
                <a:off x="465909" y="1754500"/>
                <a:ext cx="96118" cy="96118"/>
              </a:xfrm>
              <a:prstGeom prst="flowChartConnector">
                <a:avLst/>
              </a:prstGeom>
              <a:solidFill>
                <a:srgbClr val="0000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799" name="Flowchart: Connector 798">
                <a:extLst>
                  <a:ext uri="{FF2B5EF4-FFF2-40B4-BE49-F238E27FC236}">
                    <a16:creationId xmlns:a16="http://schemas.microsoft.com/office/drawing/2014/main" id="{142E63BE-A942-471E-B904-CF5973D4DE04}"/>
                  </a:ext>
                </a:extLst>
              </p:cNvPr>
              <p:cNvSpPr/>
              <p:nvPr/>
            </p:nvSpPr>
            <p:spPr>
              <a:xfrm>
                <a:off x="465909" y="2501252"/>
                <a:ext cx="96118" cy="96118"/>
              </a:xfrm>
              <a:prstGeom prst="flowChartConnector">
                <a:avLst/>
              </a:prstGeom>
              <a:solidFill>
                <a:srgbClr val="0000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800" name="Flowchart: Connector 799">
                <a:extLst>
                  <a:ext uri="{FF2B5EF4-FFF2-40B4-BE49-F238E27FC236}">
                    <a16:creationId xmlns:a16="http://schemas.microsoft.com/office/drawing/2014/main" id="{18A4BDDA-C5FD-4A72-BB4A-1147B2C8E87E}"/>
                  </a:ext>
                </a:extLst>
              </p:cNvPr>
              <p:cNvSpPr/>
              <p:nvPr/>
            </p:nvSpPr>
            <p:spPr>
              <a:xfrm>
                <a:off x="465909" y="3248003"/>
                <a:ext cx="96118" cy="96118"/>
              </a:xfrm>
              <a:prstGeom prst="flowChartConnector">
                <a:avLst/>
              </a:prstGeom>
              <a:solidFill>
                <a:srgbClr val="0000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801" name="Flowchart: Connector 800">
                <a:extLst>
                  <a:ext uri="{FF2B5EF4-FFF2-40B4-BE49-F238E27FC236}">
                    <a16:creationId xmlns:a16="http://schemas.microsoft.com/office/drawing/2014/main" id="{1E3FA811-D3AB-465A-946C-595ED36BD91B}"/>
                  </a:ext>
                </a:extLst>
              </p:cNvPr>
              <p:cNvSpPr/>
              <p:nvPr/>
            </p:nvSpPr>
            <p:spPr>
              <a:xfrm>
                <a:off x="465909" y="3994754"/>
                <a:ext cx="96118" cy="96118"/>
              </a:xfrm>
              <a:prstGeom prst="flowChartConnector">
                <a:avLst/>
              </a:prstGeom>
              <a:solidFill>
                <a:srgbClr val="0000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802" name="Flowchart: Connector 801">
                <a:extLst>
                  <a:ext uri="{FF2B5EF4-FFF2-40B4-BE49-F238E27FC236}">
                    <a16:creationId xmlns:a16="http://schemas.microsoft.com/office/drawing/2014/main" id="{FD4183F3-423F-4280-B1E7-E9AB183E807B}"/>
                  </a:ext>
                </a:extLst>
              </p:cNvPr>
              <p:cNvSpPr/>
              <p:nvPr/>
            </p:nvSpPr>
            <p:spPr>
              <a:xfrm>
                <a:off x="465909" y="4741506"/>
                <a:ext cx="96118" cy="96118"/>
              </a:xfrm>
              <a:prstGeom prst="flowChartConnector">
                <a:avLst/>
              </a:prstGeom>
              <a:solidFill>
                <a:srgbClr val="0000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803" name="Flowchart: Connector 802">
                <a:extLst>
                  <a:ext uri="{FF2B5EF4-FFF2-40B4-BE49-F238E27FC236}">
                    <a16:creationId xmlns:a16="http://schemas.microsoft.com/office/drawing/2014/main" id="{95331832-67E1-41BA-936D-8DCBA5759525}"/>
                  </a:ext>
                </a:extLst>
              </p:cNvPr>
              <p:cNvSpPr/>
              <p:nvPr/>
            </p:nvSpPr>
            <p:spPr>
              <a:xfrm>
                <a:off x="465909" y="5488257"/>
                <a:ext cx="96118" cy="96118"/>
              </a:xfrm>
              <a:prstGeom prst="flowChartConnector">
                <a:avLst/>
              </a:prstGeom>
              <a:solidFill>
                <a:srgbClr val="0000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804" name="Flowchart: Connector 803">
                <a:extLst>
                  <a:ext uri="{FF2B5EF4-FFF2-40B4-BE49-F238E27FC236}">
                    <a16:creationId xmlns:a16="http://schemas.microsoft.com/office/drawing/2014/main" id="{DA91A9D6-8EDB-49F8-8899-BA482D04C3C3}"/>
                  </a:ext>
                </a:extLst>
              </p:cNvPr>
              <p:cNvSpPr/>
              <p:nvPr/>
            </p:nvSpPr>
            <p:spPr>
              <a:xfrm>
                <a:off x="465909" y="6235010"/>
                <a:ext cx="96118" cy="96118"/>
              </a:xfrm>
              <a:prstGeom prst="flowChartConnector">
                <a:avLst/>
              </a:prstGeom>
              <a:solidFill>
                <a:srgbClr val="0000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grpSp>
        <p:pic>
          <p:nvPicPr>
            <p:cNvPr id="226" name="ico-globe">
              <a:extLst>
                <a:ext uri="{FF2B5EF4-FFF2-40B4-BE49-F238E27FC236}">
                  <a16:creationId xmlns:a16="http://schemas.microsoft.com/office/drawing/2014/main" id="{C788B654-9844-4C6D-A01A-2985792B0A3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53440" y="2926911"/>
              <a:ext cx="284534" cy="284534"/>
            </a:xfrm>
            <a:prstGeom prst="rect">
              <a:avLst/>
            </a:prstGeom>
          </p:spPr>
        </p:pic>
        <p:pic>
          <p:nvPicPr>
            <p:cNvPr id="834" name="ico-white-house">
              <a:extLst>
                <a:ext uri="{FF2B5EF4-FFF2-40B4-BE49-F238E27FC236}">
                  <a16:creationId xmlns:a16="http://schemas.microsoft.com/office/drawing/2014/main" id="{B3331829-AC83-457E-864A-E2F01AC927A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929186" y="3646704"/>
              <a:ext cx="308788" cy="308788"/>
            </a:xfrm>
            <a:prstGeom prst="rect">
              <a:avLst/>
            </a:prstGeom>
          </p:spPr>
        </p:pic>
        <p:pic>
          <p:nvPicPr>
            <p:cNvPr id="851" name="ico-disperse">
              <a:extLst>
                <a:ext uri="{FF2B5EF4-FFF2-40B4-BE49-F238E27FC236}">
                  <a16:creationId xmlns:a16="http://schemas.microsoft.com/office/drawing/2014/main" id="{5BD6DFFB-2784-4525-A2AD-FD85DE78DB5F}"/>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929186" y="4394054"/>
              <a:ext cx="308788" cy="308788"/>
            </a:xfrm>
            <a:prstGeom prst="rect">
              <a:avLst/>
            </a:prstGeom>
          </p:spPr>
        </p:pic>
        <p:pic>
          <p:nvPicPr>
            <p:cNvPr id="224" name="ico-air-bomb">
              <a:extLst>
                <a:ext uri="{FF2B5EF4-FFF2-40B4-BE49-F238E27FC236}">
                  <a16:creationId xmlns:a16="http://schemas.microsoft.com/office/drawing/2014/main" id="{5057F925-B90D-4555-B8E5-957E5B9EE1F2}"/>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923410" y="5135484"/>
              <a:ext cx="314564" cy="314564"/>
            </a:xfrm>
            <a:prstGeom prst="rect">
              <a:avLst/>
            </a:prstGeom>
          </p:spPr>
        </p:pic>
        <p:pic>
          <p:nvPicPr>
            <p:cNvPr id="829" name="ico-transactions">
              <a:extLst>
                <a:ext uri="{FF2B5EF4-FFF2-40B4-BE49-F238E27FC236}">
                  <a16:creationId xmlns:a16="http://schemas.microsoft.com/office/drawing/2014/main" id="{4F2A901B-E7B7-4C3F-A50C-7F7A0E8D372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929186" y="2153608"/>
              <a:ext cx="308788" cy="308788"/>
            </a:xfrm>
            <a:prstGeom prst="rect">
              <a:avLst/>
            </a:prstGeom>
          </p:spPr>
        </p:pic>
        <p:pic>
          <p:nvPicPr>
            <p:cNvPr id="225" name="ico-no-guns">
              <a:extLst>
                <a:ext uri="{FF2B5EF4-FFF2-40B4-BE49-F238E27FC236}">
                  <a16:creationId xmlns:a16="http://schemas.microsoft.com/office/drawing/2014/main" id="{09D06783-7DC9-4854-B425-857BA5A02DC2}"/>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923916" y="5883340"/>
              <a:ext cx="314058" cy="314058"/>
            </a:xfrm>
            <a:prstGeom prst="rect">
              <a:avLst/>
            </a:prstGeom>
          </p:spPr>
        </p:pic>
      </p:grpSp>
      <p:grpSp>
        <p:nvGrpSpPr>
          <p:cNvPr id="13" name="Group 12">
            <a:extLst>
              <a:ext uri="{FF2B5EF4-FFF2-40B4-BE49-F238E27FC236}">
                <a16:creationId xmlns:a16="http://schemas.microsoft.com/office/drawing/2014/main" id="{CAB747DF-B2EB-E442-5AF2-A6C6A12B2DF0}"/>
              </a:ext>
            </a:extLst>
          </p:cNvPr>
          <p:cNvGrpSpPr/>
          <p:nvPr/>
        </p:nvGrpSpPr>
        <p:grpSpPr>
          <a:xfrm>
            <a:off x="2329368" y="1326215"/>
            <a:ext cx="1812854" cy="5004913"/>
            <a:chOff x="2329368" y="1326215"/>
            <a:chExt cx="1812854" cy="5004913"/>
          </a:xfrm>
        </p:grpSpPr>
        <p:sp>
          <p:nvSpPr>
            <p:cNvPr id="665" name="Rectangle 664">
              <a:extLst>
                <a:ext uri="{FF2B5EF4-FFF2-40B4-BE49-F238E27FC236}">
                  <a16:creationId xmlns:a16="http://schemas.microsoft.com/office/drawing/2014/main" id="{51EAF12A-5063-4B87-A310-E5C0B22814A9}"/>
                </a:ext>
              </a:extLst>
            </p:cNvPr>
            <p:cNvSpPr/>
            <p:nvPr/>
          </p:nvSpPr>
          <p:spPr>
            <a:xfrm>
              <a:off x="2593752" y="1326215"/>
              <a:ext cx="1471336" cy="36201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767676"/>
                  </a:solidFill>
                  <a:effectLst/>
                  <a:uLnTx/>
                  <a:uFillTx/>
                  <a:latin typeface="MMC Display Condensed"/>
                  <a:ea typeface="+mn-ea"/>
                  <a:cs typeface="Calibri" panose="020F0502020204030204" pitchFamily="34" charset="0"/>
                </a:rPr>
                <a:t>Economic</a:t>
              </a:r>
            </a:p>
          </p:txBody>
        </p:sp>
        <p:sp>
          <p:nvSpPr>
            <p:cNvPr id="683" name="Rectangle 682">
              <a:extLst>
                <a:ext uri="{FF2B5EF4-FFF2-40B4-BE49-F238E27FC236}">
                  <a16:creationId xmlns:a16="http://schemas.microsoft.com/office/drawing/2014/main" id="{9B18CA86-D4C3-4417-97AD-5F37B8D6DADF}"/>
                </a:ext>
              </a:extLst>
            </p:cNvPr>
            <p:cNvSpPr>
              <a:spLocks/>
            </p:cNvSpPr>
            <p:nvPr/>
          </p:nvSpPr>
          <p:spPr>
            <a:xfrm>
              <a:off x="2516880" y="2614792"/>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767676"/>
                  </a:solidFill>
                  <a:effectLst/>
                  <a:uLnTx/>
                  <a:uFillTx/>
                  <a:latin typeface="Calibri"/>
                  <a:ea typeface="+mn-ea"/>
                  <a:cs typeface="Calibri" panose="020F0502020204030204" pitchFamily="34" charset="0"/>
                </a:rPr>
                <a:t>Asset bubble bursts</a:t>
              </a:r>
            </a:p>
          </p:txBody>
        </p:sp>
        <p:sp>
          <p:nvSpPr>
            <p:cNvPr id="689" name="Rectangle 688">
              <a:extLst>
                <a:ext uri="{FF2B5EF4-FFF2-40B4-BE49-F238E27FC236}">
                  <a16:creationId xmlns:a16="http://schemas.microsoft.com/office/drawing/2014/main" id="{212A1508-654D-4478-8691-9FE80B650479}"/>
                </a:ext>
              </a:extLst>
            </p:cNvPr>
            <p:cNvSpPr>
              <a:spLocks/>
            </p:cNvSpPr>
            <p:nvPr/>
          </p:nvSpPr>
          <p:spPr>
            <a:xfrm>
              <a:off x="2516880" y="335883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767676"/>
                  </a:solidFill>
                  <a:effectLst/>
                  <a:uLnTx/>
                  <a:uFillTx/>
                  <a:latin typeface="Calibri"/>
                  <a:ea typeface="+mn-ea"/>
                  <a:cs typeface="Calibri" panose="020F0502020204030204" pitchFamily="34" charset="0"/>
                </a:rPr>
                <a:t>Debt crisis</a:t>
              </a:r>
            </a:p>
          </p:txBody>
        </p:sp>
        <p:sp>
          <p:nvSpPr>
            <p:cNvPr id="695" name="Rectangle 694">
              <a:extLst>
                <a:ext uri="{FF2B5EF4-FFF2-40B4-BE49-F238E27FC236}">
                  <a16:creationId xmlns:a16="http://schemas.microsoft.com/office/drawing/2014/main" id="{F62DFFCF-938B-4A0E-BBC9-21DDDCBFF642}"/>
                </a:ext>
              </a:extLst>
            </p:cNvPr>
            <p:cNvSpPr>
              <a:spLocks/>
            </p:cNvSpPr>
            <p:nvPr/>
          </p:nvSpPr>
          <p:spPr>
            <a:xfrm>
              <a:off x="2516880" y="410618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767676"/>
                  </a:solidFill>
                  <a:effectLst/>
                  <a:uLnTx/>
                  <a:uFillTx/>
                  <a:latin typeface="Calibri"/>
                  <a:ea typeface="+mn-ea"/>
                  <a:cs typeface="Calibri" panose="020F0502020204030204" pitchFamily="34" charset="0"/>
                </a:rPr>
                <a:t>Prolonged economic downturn</a:t>
              </a:r>
            </a:p>
          </p:txBody>
        </p:sp>
        <p:sp>
          <p:nvSpPr>
            <p:cNvPr id="701" name="Rectangle 700">
              <a:extLst>
                <a:ext uri="{FF2B5EF4-FFF2-40B4-BE49-F238E27FC236}">
                  <a16:creationId xmlns:a16="http://schemas.microsoft.com/office/drawing/2014/main" id="{B4B1B6CF-10AF-487A-B88B-DA24883E14F5}"/>
                </a:ext>
              </a:extLst>
            </p:cNvPr>
            <p:cNvSpPr>
              <a:spLocks/>
            </p:cNvSpPr>
            <p:nvPr/>
          </p:nvSpPr>
          <p:spPr>
            <a:xfrm>
              <a:off x="2516880" y="485339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767676"/>
                  </a:solidFill>
                  <a:effectLst/>
                  <a:uLnTx/>
                  <a:uFillTx/>
                  <a:latin typeface="Calibri"/>
                  <a:ea typeface="+mn-ea"/>
                  <a:cs typeface="Calibri" panose="020F0502020204030204" pitchFamily="34" charset="0"/>
                </a:rPr>
                <a:t>Failure to stabilize price trajectories</a:t>
              </a:r>
            </a:p>
          </p:txBody>
        </p:sp>
        <p:sp>
          <p:nvSpPr>
            <p:cNvPr id="707" name="Rectangle 706">
              <a:extLst>
                <a:ext uri="{FF2B5EF4-FFF2-40B4-BE49-F238E27FC236}">
                  <a16:creationId xmlns:a16="http://schemas.microsoft.com/office/drawing/2014/main" id="{5B9D038A-B932-4A94-A27E-350B282D72BF}"/>
                </a:ext>
              </a:extLst>
            </p:cNvPr>
            <p:cNvSpPr>
              <a:spLocks/>
            </p:cNvSpPr>
            <p:nvPr/>
          </p:nvSpPr>
          <p:spPr>
            <a:xfrm>
              <a:off x="2516880" y="560074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767676"/>
                  </a:solidFill>
                  <a:effectLst/>
                  <a:uLnTx/>
                  <a:uFillTx/>
                  <a:latin typeface="Calibri"/>
                  <a:ea typeface="+mn-ea"/>
                  <a:cs typeface="Calibri" panose="020F0502020204030204" pitchFamily="34" charset="0"/>
                </a:rPr>
                <a:t>Proliferation of illicit economic activity</a:t>
              </a:r>
            </a:p>
          </p:txBody>
        </p:sp>
        <p:cxnSp>
          <p:nvCxnSpPr>
            <p:cNvPr id="756" name="Straight Connector 755">
              <a:extLst>
                <a:ext uri="{FF2B5EF4-FFF2-40B4-BE49-F238E27FC236}">
                  <a16:creationId xmlns:a16="http://schemas.microsoft.com/office/drawing/2014/main" id="{29BAF5E8-AF39-4254-81EF-05C53519FDE0}"/>
                </a:ext>
              </a:extLst>
            </p:cNvPr>
            <p:cNvCxnSpPr>
              <a:cxnSpLocks/>
            </p:cNvCxnSpPr>
            <p:nvPr/>
          </p:nvCxnSpPr>
          <p:spPr>
            <a:xfrm>
              <a:off x="2516880" y="253856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2" name="Straight Connector 761">
              <a:extLst>
                <a:ext uri="{FF2B5EF4-FFF2-40B4-BE49-F238E27FC236}">
                  <a16:creationId xmlns:a16="http://schemas.microsoft.com/office/drawing/2014/main" id="{154D6AFD-E680-4209-A8E7-C57ED8A4152A}"/>
                </a:ext>
              </a:extLst>
            </p:cNvPr>
            <p:cNvCxnSpPr>
              <a:cxnSpLocks/>
            </p:cNvCxnSpPr>
            <p:nvPr/>
          </p:nvCxnSpPr>
          <p:spPr>
            <a:xfrm>
              <a:off x="2516880" y="3283358"/>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8" name="Straight Connector 767">
              <a:extLst>
                <a:ext uri="{FF2B5EF4-FFF2-40B4-BE49-F238E27FC236}">
                  <a16:creationId xmlns:a16="http://schemas.microsoft.com/office/drawing/2014/main" id="{D5DF252B-41D6-47A9-A561-6CE237C365B7}"/>
                </a:ext>
              </a:extLst>
            </p:cNvPr>
            <p:cNvCxnSpPr>
              <a:cxnSpLocks/>
            </p:cNvCxnSpPr>
            <p:nvPr/>
          </p:nvCxnSpPr>
          <p:spPr>
            <a:xfrm>
              <a:off x="2516880" y="4025587"/>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1" name="Straight Connector 780">
              <a:extLst>
                <a:ext uri="{FF2B5EF4-FFF2-40B4-BE49-F238E27FC236}">
                  <a16:creationId xmlns:a16="http://schemas.microsoft.com/office/drawing/2014/main" id="{D68D0612-81E6-43F7-ACAD-DABABDB14D5F}"/>
                </a:ext>
              </a:extLst>
            </p:cNvPr>
            <p:cNvCxnSpPr>
              <a:cxnSpLocks/>
            </p:cNvCxnSpPr>
            <p:nvPr/>
          </p:nvCxnSpPr>
          <p:spPr>
            <a:xfrm>
              <a:off x="2516880" y="5528036"/>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7" name="Straight Connector 786">
              <a:extLst>
                <a:ext uri="{FF2B5EF4-FFF2-40B4-BE49-F238E27FC236}">
                  <a16:creationId xmlns:a16="http://schemas.microsoft.com/office/drawing/2014/main" id="{1E555447-B0BD-4668-A6BE-3141841004AF}"/>
                </a:ext>
              </a:extLst>
            </p:cNvPr>
            <p:cNvCxnSpPr>
              <a:cxnSpLocks/>
            </p:cNvCxnSpPr>
            <p:nvPr/>
          </p:nvCxnSpPr>
          <p:spPr>
            <a:xfrm>
              <a:off x="2516880" y="6277376"/>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789" name="ico-chart-bar-33">
              <a:extLst>
                <a:ext uri="{FF2B5EF4-FFF2-40B4-BE49-F238E27FC236}">
                  <a16:creationId xmlns:a16="http://schemas.microsoft.com/office/drawing/2014/main" id="{2B186645-F478-48D8-AA2D-BA248ABFF00E}"/>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3833434" y="2162345"/>
              <a:ext cx="308788" cy="308788"/>
            </a:xfrm>
            <a:prstGeom prst="rect">
              <a:avLst/>
            </a:prstGeom>
          </p:spPr>
        </p:pic>
        <p:cxnSp>
          <p:nvCxnSpPr>
            <p:cNvPr id="794" name="Straight Connector 793">
              <a:extLst>
                <a:ext uri="{FF2B5EF4-FFF2-40B4-BE49-F238E27FC236}">
                  <a16:creationId xmlns:a16="http://schemas.microsoft.com/office/drawing/2014/main" id="{C44E966C-6BB8-4280-A219-6AD147A6701E}"/>
                </a:ext>
              </a:extLst>
            </p:cNvPr>
            <p:cNvCxnSpPr>
              <a:cxnSpLocks/>
            </p:cNvCxnSpPr>
            <p:nvPr/>
          </p:nvCxnSpPr>
          <p:spPr>
            <a:xfrm>
              <a:off x="2516880" y="168823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7" name="Rectangle 796">
              <a:extLst>
                <a:ext uri="{FF2B5EF4-FFF2-40B4-BE49-F238E27FC236}">
                  <a16:creationId xmlns:a16="http://schemas.microsoft.com/office/drawing/2014/main" id="{54A4029B-9370-43A7-8B64-3385A1205627}"/>
                </a:ext>
              </a:extLst>
            </p:cNvPr>
            <p:cNvSpPr>
              <a:spLocks/>
            </p:cNvSpPr>
            <p:nvPr/>
          </p:nvSpPr>
          <p:spPr>
            <a:xfrm>
              <a:off x="2516880"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767676"/>
                  </a:solidFill>
                  <a:effectLst/>
                  <a:uLnTx/>
                  <a:uFillTx/>
                  <a:latin typeface="Calibri"/>
                  <a:ea typeface="+mn-ea"/>
                  <a:cs typeface="Calibri" panose="020F0502020204030204" pitchFamily="34" charset="0"/>
                </a:rPr>
                <a:t>Collapse of important industry or supply chains</a:t>
              </a:r>
            </a:p>
          </p:txBody>
        </p:sp>
        <p:pic>
          <p:nvPicPr>
            <p:cNvPr id="844" name="ico-coins">
              <a:extLst>
                <a:ext uri="{FF2B5EF4-FFF2-40B4-BE49-F238E27FC236}">
                  <a16:creationId xmlns:a16="http://schemas.microsoft.com/office/drawing/2014/main" id="{244B808D-61BC-498E-B438-D5EA0166A3DD}"/>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792645" y="3646704"/>
              <a:ext cx="308788" cy="308788"/>
            </a:xfrm>
            <a:prstGeom prst="rect">
              <a:avLst/>
            </a:prstGeom>
          </p:spPr>
        </p:pic>
        <p:pic>
          <p:nvPicPr>
            <p:cNvPr id="845" name="ico-trend-down">
              <a:extLst>
                <a:ext uri="{FF2B5EF4-FFF2-40B4-BE49-F238E27FC236}">
                  <a16:creationId xmlns:a16="http://schemas.microsoft.com/office/drawing/2014/main" id="{9B89D2F2-5106-45EF-89ED-B6105150AFA3}"/>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3792645" y="2902657"/>
              <a:ext cx="308788" cy="308788"/>
            </a:xfrm>
            <a:prstGeom prst="rect">
              <a:avLst/>
            </a:prstGeom>
          </p:spPr>
        </p:pic>
        <p:pic>
          <p:nvPicPr>
            <p:cNvPr id="853" name="ico-global-warming">
              <a:extLst>
                <a:ext uri="{FF2B5EF4-FFF2-40B4-BE49-F238E27FC236}">
                  <a16:creationId xmlns:a16="http://schemas.microsoft.com/office/drawing/2014/main" id="{C74EE0BD-9632-4A35-9CF0-E2560DE20242}"/>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3792645" y="4394054"/>
              <a:ext cx="308788" cy="308788"/>
            </a:xfrm>
            <a:prstGeom prst="rect">
              <a:avLst/>
            </a:prstGeom>
          </p:spPr>
        </p:pic>
        <p:grpSp>
          <p:nvGrpSpPr>
            <p:cNvPr id="4" name="Group 3">
              <a:extLst>
                <a:ext uri="{FF2B5EF4-FFF2-40B4-BE49-F238E27FC236}">
                  <a16:creationId xmlns:a16="http://schemas.microsoft.com/office/drawing/2014/main" id="{65010C8C-0944-7E8F-F909-06F8AB9E04C3}"/>
                </a:ext>
              </a:extLst>
            </p:cNvPr>
            <p:cNvGrpSpPr/>
            <p:nvPr/>
          </p:nvGrpSpPr>
          <p:grpSpPr>
            <a:xfrm>
              <a:off x="2329368" y="1754500"/>
              <a:ext cx="96118" cy="4576628"/>
              <a:chOff x="2356274" y="1754500"/>
              <a:chExt cx="96118" cy="4576628"/>
            </a:xfrm>
          </p:grpSpPr>
          <p:cxnSp>
            <p:nvCxnSpPr>
              <p:cNvPr id="733" name="Straight Connector 732">
                <a:extLst>
                  <a:ext uri="{FF2B5EF4-FFF2-40B4-BE49-F238E27FC236}">
                    <a16:creationId xmlns:a16="http://schemas.microsoft.com/office/drawing/2014/main" id="{F20A67BB-3F38-4AEE-A0BF-206C00D16A86}"/>
                  </a:ext>
                </a:extLst>
              </p:cNvPr>
              <p:cNvCxnSpPr>
                <a:cxnSpLocks/>
              </p:cNvCxnSpPr>
              <p:nvPr/>
            </p:nvCxnSpPr>
            <p:spPr>
              <a:xfrm>
                <a:off x="2404333" y="1891451"/>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4" name="Straight Connector 733">
                <a:extLst>
                  <a:ext uri="{FF2B5EF4-FFF2-40B4-BE49-F238E27FC236}">
                    <a16:creationId xmlns:a16="http://schemas.microsoft.com/office/drawing/2014/main" id="{AEF6F5E7-6D8B-4D78-8B34-954A25755C77}"/>
                  </a:ext>
                </a:extLst>
              </p:cNvPr>
              <p:cNvCxnSpPr>
                <a:cxnSpLocks/>
              </p:cNvCxnSpPr>
              <p:nvPr/>
            </p:nvCxnSpPr>
            <p:spPr>
              <a:xfrm>
                <a:off x="2404333" y="2638203"/>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5" name="Straight Connector 734">
                <a:extLst>
                  <a:ext uri="{FF2B5EF4-FFF2-40B4-BE49-F238E27FC236}">
                    <a16:creationId xmlns:a16="http://schemas.microsoft.com/office/drawing/2014/main" id="{BAB440C0-3D66-485E-8836-F7B2F8B9D552}"/>
                  </a:ext>
                </a:extLst>
              </p:cNvPr>
              <p:cNvCxnSpPr>
                <a:cxnSpLocks/>
              </p:cNvCxnSpPr>
              <p:nvPr/>
            </p:nvCxnSpPr>
            <p:spPr>
              <a:xfrm>
                <a:off x="2404333" y="3384954"/>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6" name="Straight Connector 735">
                <a:extLst>
                  <a:ext uri="{FF2B5EF4-FFF2-40B4-BE49-F238E27FC236}">
                    <a16:creationId xmlns:a16="http://schemas.microsoft.com/office/drawing/2014/main" id="{219A6AD6-27BB-46F3-854B-03ADE091D838}"/>
                  </a:ext>
                </a:extLst>
              </p:cNvPr>
              <p:cNvCxnSpPr>
                <a:cxnSpLocks/>
              </p:cNvCxnSpPr>
              <p:nvPr/>
            </p:nvCxnSpPr>
            <p:spPr>
              <a:xfrm>
                <a:off x="2404333" y="4131705"/>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C2A8AE6-036F-445F-9146-B52973348A3F}"/>
                  </a:ext>
                </a:extLst>
              </p:cNvPr>
              <p:cNvCxnSpPr>
                <a:cxnSpLocks/>
              </p:cNvCxnSpPr>
              <p:nvPr/>
            </p:nvCxnSpPr>
            <p:spPr>
              <a:xfrm>
                <a:off x="2404333" y="4878457"/>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8" name="Straight Connector 737">
                <a:extLst>
                  <a:ext uri="{FF2B5EF4-FFF2-40B4-BE49-F238E27FC236}">
                    <a16:creationId xmlns:a16="http://schemas.microsoft.com/office/drawing/2014/main" id="{A568D557-B703-44F4-A387-1E02F0051597}"/>
                  </a:ext>
                </a:extLst>
              </p:cNvPr>
              <p:cNvCxnSpPr>
                <a:cxnSpLocks/>
              </p:cNvCxnSpPr>
              <p:nvPr/>
            </p:nvCxnSpPr>
            <p:spPr>
              <a:xfrm>
                <a:off x="2404333" y="5625208"/>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2" name="Flowchart: Connector 861">
                <a:extLst>
                  <a:ext uri="{FF2B5EF4-FFF2-40B4-BE49-F238E27FC236}">
                    <a16:creationId xmlns:a16="http://schemas.microsoft.com/office/drawing/2014/main" id="{43B43715-78C1-4DFA-B58B-F1F83B731FD2}"/>
                  </a:ext>
                </a:extLst>
              </p:cNvPr>
              <p:cNvSpPr/>
              <p:nvPr/>
            </p:nvSpPr>
            <p:spPr>
              <a:xfrm>
                <a:off x="2356274" y="1754500"/>
                <a:ext cx="96118" cy="96118"/>
              </a:xfrm>
              <a:prstGeom prst="flowChartConnector">
                <a:avLst/>
              </a:prstGeom>
              <a:solidFill>
                <a:srgbClr val="76767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863" name="Flowchart: Connector 862">
                <a:extLst>
                  <a:ext uri="{FF2B5EF4-FFF2-40B4-BE49-F238E27FC236}">
                    <a16:creationId xmlns:a16="http://schemas.microsoft.com/office/drawing/2014/main" id="{AEDDAA89-4204-4EEF-A74B-884CE950E4AE}"/>
                  </a:ext>
                </a:extLst>
              </p:cNvPr>
              <p:cNvSpPr/>
              <p:nvPr/>
            </p:nvSpPr>
            <p:spPr>
              <a:xfrm>
                <a:off x="2356274" y="2501850"/>
                <a:ext cx="96118" cy="96118"/>
              </a:xfrm>
              <a:prstGeom prst="flowChartConnector">
                <a:avLst/>
              </a:prstGeom>
              <a:solidFill>
                <a:srgbClr val="76767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864" name="Flowchart: Connector 863">
                <a:extLst>
                  <a:ext uri="{FF2B5EF4-FFF2-40B4-BE49-F238E27FC236}">
                    <a16:creationId xmlns:a16="http://schemas.microsoft.com/office/drawing/2014/main" id="{401C7A50-B94C-42A9-8D87-E323CF6BD9DF}"/>
                  </a:ext>
                </a:extLst>
              </p:cNvPr>
              <p:cNvSpPr/>
              <p:nvPr/>
            </p:nvSpPr>
            <p:spPr>
              <a:xfrm>
                <a:off x="2356274" y="3245898"/>
                <a:ext cx="96118" cy="96118"/>
              </a:xfrm>
              <a:prstGeom prst="flowChartConnector">
                <a:avLst/>
              </a:prstGeom>
              <a:solidFill>
                <a:srgbClr val="76767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865" name="Flowchart: Connector 864">
                <a:extLst>
                  <a:ext uri="{FF2B5EF4-FFF2-40B4-BE49-F238E27FC236}">
                    <a16:creationId xmlns:a16="http://schemas.microsoft.com/office/drawing/2014/main" id="{A4132ECC-CE8B-492F-B418-AB282821603B}"/>
                  </a:ext>
                </a:extLst>
              </p:cNvPr>
              <p:cNvSpPr/>
              <p:nvPr/>
            </p:nvSpPr>
            <p:spPr>
              <a:xfrm>
                <a:off x="2356274" y="3993248"/>
                <a:ext cx="96118" cy="96118"/>
              </a:xfrm>
              <a:prstGeom prst="flowChartConnector">
                <a:avLst/>
              </a:prstGeom>
              <a:solidFill>
                <a:srgbClr val="76767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866" name="Flowchart: Connector 865">
                <a:extLst>
                  <a:ext uri="{FF2B5EF4-FFF2-40B4-BE49-F238E27FC236}">
                    <a16:creationId xmlns:a16="http://schemas.microsoft.com/office/drawing/2014/main" id="{67AF2AAE-E501-4C11-86D7-F3A5A906A857}"/>
                  </a:ext>
                </a:extLst>
              </p:cNvPr>
              <p:cNvSpPr/>
              <p:nvPr/>
            </p:nvSpPr>
            <p:spPr>
              <a:xfrm>
                <a:off x="2356274" y="4740454"/>
                <a:ext cx="96118" cy="96118"/>
              </a:xfrm>
              <a:prstGeom prst="flowChartConnector">
                <a:avLst/>
              </a:prstGeom>
              <a:solidFill>
                <a:srgbClr val="76767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867" name="Flowchart: Connector 866">
                <a:extLst>
                  <a:ext uri="{FF2B5EF4-FFF2-40B4-BE49-F238E27FC236}">
                    <a16:creationId xmlns:a16="http://schemas.microsoft.com/office/drawing/2014/main" id="{FB7159D1-6938-4F34-A75E-CB719D1709D3}"/>
                  </a:ext>
                </a:extLst>
              </p:cNvPr>
              <p:cNvSpPr/>
              <p:nvPr/>
            </p:nvSpPr>
            <p:spPr>
              <a:xfrm>
                <a:off x="2356274" y="5487804"/>
                <a:ext cx="96118" cy="96118"/>
              </a:xfrm>
              <a:prstGeom prst="flowChartConnector">
                <a:avLst/>
              </a:prstGeom>
              <a:solidFill>
                <a:srgbClr val="76767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868" name="Flowchart: Connector 867">
                <a:extLst>
                  <a:ext uri="{FF2B5EF4-FFF2-40B4-BE49-F238E27FC236}">
                    <a16:creationId xmlns:a16="http://schemas.microsoft.com/office/drawing/2014/main" id="{5698FEE4-412F-4E7D-8E09-95A4EA08BEB7}"/>
                  </a:ext>
                </a:extLst>
              </p:cNvPr>
              <p:cNvSpPr/>
              <p:nvPr/>
            </p:nvSpPr>
            <p:spPr>
              <a:xfrm>
                <a:off x="2356274" y="6235010"/>
                <a:ext cx="96118" cy="96118"/>
              </a:xfrm>
              <a:prstGeom prst="flowChartConnector">
                <a:avLst/>
              </a:prstGeom>
              <a:solidFill>
                <a:srgbClr val="76767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grpSp>
        <p:cxnSp>
          <p:nvCxnSpPr>
            <p:cNvPr id="271" name="Straight Connector 270">
              <a:extLst>
                <a:ext uri="{FF2B5EF4-FFF2-40B4-BE49-F238E27FC236}">
                  <a16:creationId xmlns:a16="http://schemas.microsoft.com/office/drawing/2014/main" id="{FC016914-9254-4725-B877-6C5825712FA8}"/>
                </a:ext>
              </a:extLst>
            </p:cNvPr>
            <p:cNvCxnSpPr>
              <a:cxnSpLocks/>
            </p:cNvCxnSpPr>
            <p:nvPr/>
          </p:nvCxnSpPr>
          <p:spPr>
            <a:xfrm>
              <a:off x="2516880" y="4783146"/>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2" name="ico-unlink">
              <a:extLst>
                <a:ext uri="{FF2B5EF4-FFF2-40B4-BE49-F238E27FC236}">
                  <a16:creationId xmlns:a16="http://schemas.microsoft.com/office/drawing/2014/main" id="{7E19E2D5-4747-47F3-8D1D-C3CAD4CAE6E3}"/>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3816900" y="2177863"/>
              <a:ext cx="284533" cy="284533"/>
            </a:xfrm>
            <a:prstGeom prst="rect">
              <a:avLst/>
            </a:prstGeom>
          </p:spPr>
        </p:pic>
        <p:pic>
          <p:nvPicPr>
            <p:cNvPr id="227" name="ico-line-chart">
              <a:extLst>
                <a:ext uri="{FF2B5EF4-FFF2-40B4-BE49-F238E27FC236}">
                  <a16:creationId xmlns:a16="http://schemas.microsoft.com/office/drawing/2014/main" id="{3C242FEA-C7B6-4AE4-8996-16FE8020F864}"/>
                </a:ext>
              </a:extLst>
            </p:cNvPr>
            <p:cNvPicPr>
              <a:picLocks noChangeAspect="1"/>
            </p:cNvPicPr>
            <p:nvPr/>
          </p:nvPicPr>
          <p:blipFill>
            <a:blip r:embed="rId30">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3790105" y="5138720"/>
              <a:ext cx="311328" cy="311328"/>
            </a:xfrm>
            <a:prstGeom prst="rect">
              <a:avLst/>
            </a:prstGeom>
          </p:spPr>
        </p:pic>
        <p:pic>
          <p:nvPicPr>
            <p:cNvPr id="229" name="ico-ban">
              <a:extLst>
                <a:ext uri="{FF2B5EF4-FFF2-40B4-BE49-F238E27FC236}">
                  <a16:creationId xmlns:a16="http://schemas.microsoft.com/office/drawing/2014/main" id="{8D342EED-4A9F-4D0A-B295-6E4EEE06D935}"/>
                </a:ext>
              </a:extLst>
            </p:cNvPr>
            <p:cNvPicPr>
              <a:picLocks noChangeAspect="1"/>
            </p:cNvPicPr>
            <p:nvPr/>
          </p:nvPicPr>
          <p:blipFill>
            <a:blip r:embed="rId32">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3787374" y="5883339"/>
              <a:ext cx="314059" cy="314059"/>
            </a:xfrm>
            <a:prstGeom prst="rect">
              <a:avLst/>
            </a:prstGeom>
          </p:spPr>
        </p:pic>
      </p:grpSp>
      <p:grpSp>
        <p:nvGrpSpPr>
          <p:cNvPr id="14" name="Group 13">
            <a:extLst>
              <a:ext uri="{FF2B5EF4-FFF2-40B4-BE49-F238E27FC236}">
                <a16:creationId xmlns:a16="http://schemas.microsoft.com/office/drawing/2014/main" id="{606B43C5-610A-6DA2-12A0-CC5020BB80ED}"/>
              </a:ext>
            </a:extLst>
          </p:cNvPr>
          <p:cNvGrpSpPr/>
          <p:nvPr/>
        </p:nvGrpSpPr>
        <p:grpSpPr>
          <a:xfrm>
            <a:off x="4192827" y="1326215"/>
            <a:ext cx="1946530" cy="5004913"/>
            <a:chOff x="4192827" y="1326215"/>
            <a:chExt cx="1946530" cy="5004913"/>
          </a:xfrm>
        </p:grpSpPr>
        <p:sp>
          <p:nvSpPr>
            <p:cNvPr id="664" name="Rectangle 663">
              <a:extLst>
                <a:ext uri="{FF2B5EF4-FFF2-40B4-BE49-F238E27FC236}">
                  <a16:creationId xmlns:a16="http://schemas.microsoft.com/office/drawing/2014/main" id="{2D7BFFE7-CD04-479B-BACB-EF88C20190C1}"/>
                </a:ext>
              </a:extLst>
            </p:cNvPr>
            <p:cNvSpPr/>
            <p:nvPr/>
          </p:nvSpPr>
          <p:spPr>
            <a:xfrm>
              <a:off x="4209807" y="1326215"/>
              <a:ext cx="1929550" cy="36201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4E6287"/>
                  </a:solidFill>
                  <a:effectLst/>
                  <a:uLnTx/>
                  <a:uFillTx/>
                  <a:latin typeface="MMC Display Condensed"/>
                  <a:ea typeface="+mn-ea"/>
                  <a:cs typeface="Calibri" panose="020F0502020204030204" pitchFamily="34" charset="0"/>
                </a:rPr>
                <a:t>Environmental</a:t>
              </a:r>
            </a:p>
          </p:txBody>
        </p:sp>
        <p:sp>
          <p:nvSpPr>
            <p:cNvPr id="671" name="Rectangle 670">
              <a:extLst>
                <a:ext uri="{FF2B5EF4-FFF2-40B4-BE49-F238E27FC236}">
                  <a16:creationId xmlns:a16="http://schemas.microsoft.com/office/drawing/2014/main" id="{C46C3CE5-B201-41FA-B9D1-364A96622888}"/>
                </a:ext>
              </a:extLst>
            </p:cNvPr>
            <p:cNvSpPr>
              <a:spLocks/>
            </p:cNvSpPr>
            <p:nvPr/>
          </p:nvSpPr>
          <p:spPr>
            <a:xfrm>
              <a:off x="4380339"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4E6287"/>
                  </a:solidFill>
                  <a:effectLst/>
                  <a:uLnTx/>
                  <a:uFillTx/>
                  <a:latin typeface="Calibri"/>
                  <a:ea typeface="+mn-ea"/>
                  <a:cs typeface="Calibri" panose="020F0502020204030204" pitchFamily="34" charset="0"/>
                </a:rPr>
                <a:t>Natural disasters and extreme weather events</a:t>
              </a:r>
            </a:p>
            <a:p>
              <a:pPr>
                <a:defRPr/>
              </a:pPr>
              <a:endParaRPr kumimoji="0" lang="en-GB" sz="1000" b="1" i="0" u="none" strike="noStrike" kern="0" cap="none" spc="0" normalizeH="0" baseline="0" noProof="0">
                <a:ln>
                  <a:noFill/>
                </a:ln>
                <a:solidFill>
                  <a:srgbClr val="4E6287"/>
                </a:solidFill>
                <a:effectLst/>
                <a:uLnTx/>
                <a:uFillTx/>
                <a:latin typeface="Calibri"/>
                <a:ea typeface="+mn-ea"/>
                <a:cs typeface="+mn-cs"/>
              </a:endParaRPr>
            </a:p>
          </p:txBody>
        </p:sp>
        <p:sp>
          <p:nvSpPr>
            <p:cNvPr id="688" name="Rectangle 687">
              <a:extLst>
                <a:ext uri="{FF2B5EF4-FFF2-40B4-BE49-F238E27FC236}">
                  <a16:creationId xmlns:a16="http://schemas.microsoft.com/office/drawing/2014/main" id="{1995B335-7E9F-444A-80F0-C3A71BCCE6CA}"/>
                </a:ext>
              </a:extLst>
            </p:cNvPr>
            <p:cNvSpPr>
              <a:spLocks/>
            </p:cNvSpPr>
            <p:nvPr/>
          </p:nvSpPr>
          <p:spPr>
            <a:xfrm>
              <a:off x="4380339" y="2614792"/>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4E6287"/>
                  </a:solidFill>
                  <a:effectLst/>
                  <a:uLnTx/>
                  <a:uFillTx/>
                  <a:latin typeface="Calibri"/>
                  <a:ea typeface="+mn-ea"/>
                  <a:cs typeface="Calibri" panose="020F0502020204030204" pitchFamily="34" charset="0"/>
                </a:rPr>
                <a:t>Failure to mitigate climate change</a:t>
              </a:r>
            </a:p>
          </p:txBody>
        </p:sp>
        <p:sp>
          <p:nvSpPr>
            <p:cNvPr id="682" name="Rectangle 681">
              <a:extLst>
                <a:ext uri="{FF2B5EF4-FFF2-40B4-BE49-F238E27FC236}">
                  <a16:creationId xmlns:a16="http://schemas.microsoft.com/office/drawing/2014/main" id="{C592AB1D-A108-4405-9CFF-37915AE1595F}"/>
                </a:ext>
              </a:extLst>
            </p:cNvPr>
            <p:cNvSpPr>
              <a:spLocks/>
            </p:cNvSpPr>
            <p:nvPr/>
          </p:nvSpPr>
          <p:spPr>
            <a:xfrm>
              <a:off x="4380339" y="335883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4E6287"/>
                  </a:solidFill>
                  <a:effectLst/>
                  <a:uLnTx/>
                  <a:uFillTx/>
                  <a:latin typeface="Calibri"/>
                  <a:ea typeface="+mn-ea"/>
                  <a:cs typeface="Calibri" panose="020F0502020204030204" pitchFamily="34" charset="0"/>
                </a:rPr>
                <a:t>Failure of climate-change adaption</a:t>
              </a:r>
            </a:p>
          </p:txBody>
        </p:sp>
        <p:sp>
          <p:nvSpPr>
            <p:cNvPr id="694" name="Rectangle 693">
              <a:extLst>
                <a:ext uri="{FF2B5EF4-FFF2-40B4-BE49-F238E27FC236}">
                  <a16:creationId xmlns:a16="http://schemas.microsoft.com/office/drawing/2014/main" id="{D6122879-70C3-45E6-8EB3-6140003DF4A2}"/>
                </a:ext>
              </a:extLst>
            </p:cNvPr>
            <p:cNvSpPr>
              <a:spLocks/>
            </p:cNvSpPr>
            <p:nvPr/>
          </p:nvSpPr>
          <p:spPr>
            <a:xfrm>
              <a:off x="4380339" y="410618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4E6287"/>
                  </a:solidFill>
                  <a:effectLst/>
                  <a:uLnTx/>
                  <a:uFillTx/>
                  <a:latin typeface="Calibri"/>
                  <a:ea typeface="+mn-ea"/>
                  <a:cs typeface="Calibri" panose="020F0502020204030204" pitchFamily="34" charset="0"/>
                </a:rPr>
                <a:t>Natural resource crises</a:t>
              </a:r>
            </a:p>
          </p:txBody>
        </p:sp>
        <p:sp>
          <p:nvSpPr>
            <p:cNvPr id="700" name="Rectangle 699">
              <a:extLst>
                <a:ext uri="{FF2B5EF4-FFF2-40B4-BE49-F238E27FC236}">
                  <a16:creationId xmlns:a16="http://schemas.microsoft.com/office/drawing/2014/main" id="{6B5D9443-C6ED-4BE5-A07D-B0D9CC47378C}"/>
                </a:ext>
              </a:extLst>
            </p:cNvPr>
            <p:cNvSpPr>
              <a:spLocks/>
            </p:cNvSpPr>
            <p:nvPr/>
          </p:nvSpPr>
          <p:spPr>
            <a:xfrm>
              <a:off x="4380339" y="485339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4E6287"/>
                  </a:solidFill>
                  <a:effectLst/>
                  <a:uLnTx/>
                  <a:uFillTx/>
                  <a:latin typeface="Calibri"/>
                  <a:ea typeface="+mn-ea"/>
                  <a:cs typeface="Calibri" panose="020F0502020204030204" pitchFamily="34" charset="0"/>
                </a:rPr>
                <a:t>Loss of biodiversity and ecosystem collapse</a:t>
              </a:r>
            </a:p>
          </p:txBody>
        </p:sp>
        <p:sp>
          <p:nvSpPr>
            <p:cNvPr id="706" name="Rectangle 705">
              <a:extLst>
                <a:ext uri="{FF2B5EF4-FFF2-40B4-BE49-F238E27FC236}">
                  <a16:creationId xmlns:a16="http://schemas.microsoft.com/office/drawing/2014/main" id="{A37766DB-CE60-44D8-98C9-8A84973CAC71}"/>
                </a:ext>
              </a:extLst>
            </p:cNvPr>
            <p:cNvSpPr>
              <a:spLocks/>
            </p:cNvSpPr>
            <p:nvPr/>
          </p:nvSpPr>
          <p:spPr>
            <a:xfrm>
              <a:off x="4380339" y="560074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4E6287"/>
                  </a:solidFill>
                  <a:effectLst/>
                  <a:uLnTx/>
                  <a:uFillTx/>
                  <a:latin typeface="Calibri"/>
                  <a:ea typeface="+mn-ea"/>
                  <a:cs typeface="Calibri" panose="020F0502020204030204" pitchFamily="34" charset="0"/>
                </a:rPr>
                <a:t>Large-scale environmental </a:t>
              </a:r>
              <a:br>
                <a:rPr kumimoji="0" lang="en-GB" sz="1000" b="1" i="0" u="none" strike="noStrike" kern="0" cap="none" spc="0" normalizeH="0" baseline="0" noProof="0">
                  <a:ln>
                    <a:noFill/>
                  </a:ln>
                  <a:solidFill>
                    <a:srgbClr val="4E6287"/>
                  </a:solidFill>
                  <a:effectLst/>
                  <a:uLnTx/>
                  <a:uFillTx/>
                  <a:latin typeface="Calibri"/>
                  <a:ea typeface="+mn-ea"/>
                  <a:cs typeface="Calibri" panose="020F0502020204030204" pitchFamily="34" charset="0"/>
                </a:rPr>
              </a:br>
              <a:r>
                <a:rPr kumimoji="0" lang="en-GB" sz="1000" b="1" i="0" u="none" strike="noStrike" kern="0" cap="none" spc="0" normalizeH="0" baseline="0" noProof="0">
                  <a:ln>
                    <a:noFill/>
                  </a:ln>
                  <a:solidFill>
                    <a:srgbClr val="4E6287"/>
                  </a:solidFill>
                  <a:effectLst/>
                  <a:uLnTx/>
                  <a:uFillTx/>
                  <a:latin typeface="Calibri"/>
                  <a:ea typeface="+mn-ea"/>
                  <a:cs typeface="Calibri" panose="020F0502020204030204" pitchFamily="34" charset="0"/>
                </a:rPr>
                <a:t>damage incidents</a:t>
              </a:r>
            </a:p>
          </p:txBody>
        </p:sp>
        <p:cxnSp>
          <p:nvCxnSpPr>
            <p:cNvPr id="755" name="Straight Connector 754">
              <a:extLst>
                <a:ext uri="{FF2B5EF4-FFF2-40B4-BE49-F238E27FC236}">
                  <a16:creationId xmlns:a16="http://schemas.microsoft.com/office/drawing/2014/main" id="{18BC1B51-BE64-4B7F-8B34-7B33D3AA6512}"/>
                </a:ext>
              </a:extLst>
            </p:cNvPr>
            <p:cNvCxnSpPr>
              <a:cxnSpLocks/>
            </p:cNvCxnSpPr>
            <p:nvPr/>
          </p:nvCxnSpPr>
          <p:spPr>
            <a:xfrm>
              <a:off x="4380339" y="253856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1" name="Straight Connector 760">
              <a:extLst>
                <a:ext uri="{FF2B5EF4-FFF2-40B4-BE49-F238E27FC236}">
                  <a16:creationId xmlns:a16="http://schemas.microsoft.com/office/drawing/2014/main" id="{D0FDA01E-3C7B-4DB8-9A26-F1991EEFACCD}"/>
                </a:ext>
              </a:extLst>
            </p:cNvPr>
            <p:cNvCxnSpPr>
              <a:cxnSpLocks/>
            </p:cNvCxnSpPr>
            <p:nvPr/>
          </p:nvCxnSpPr>
          <p:spPr>
            <a:xfrm>
              <a:off x="4380339" y="3283358"/>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7" name="Straight Connector 766">
              <a:extLst>
                <a:ext uri="{FF2B5EF4-FFF2-40B4-BE49-F238E27FC236}">
                  <a16:creationId xmlns:a16="http://schemas.microsoft.com/office/drawing/2014/main" id="{A2B247A2-2804-46D9-81CF-BCC1BADF4BB5}"/>
                </a:ext>
              </a:extLst>
            </p:cNvPr>
            <p:cNvCxnSpPr>
              <a:cxnSpLocks/>
            </p:cNvCxnSpPr>
            <p:nvPr/>
          </p:nvCxnSpPr>
          <p:spPr>
            <a:xfrm>
              <a:off x="4380339" y="4025587"/>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4" name="Straight Connector 773">
              <a:extLst>
                <a:ext uri="{FF2B5EF4-FFF2-40B4-BE49-F238E27FC236}">
                  <a16:creationId xmlns:a16="http://schemas.microsoft.com/office/drawing/2014/main" id="{DB407D00-D8C3-4D30-B34B-814DD6DDA5F8}"/>
                </a:ext>
              </a:extLst>
            </p:cNvPr>
            <p:cNvCxnSpPr>
              <a:cxnSpLocks/>
            </p:cNvCxnSpPr>
            <p:nvPr/>
          </p:nvCxnSpPr>
          <p:spPr>
            <a:xfrm>
              <a:off x="4380339" y="478190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0" name="Straight Connector 779">
              <a:extLst>
                <a:ext uri="{FF2B5EF4-FFF2-40B4-BE49-F238E27FC236}">
                  <a16:creationId xmlns:a16="http://schemas.microsoft.com/office/drawing/2014/main" id="{AF98A261-28BC-48FA-9DE1-8CAB3EC87715}"/>
                </a:ext>
              </a:extLst>
            </p:cNvPr>
            <p:cNvCxnSpPr>
              <a:cxnSpLocks/>
            </p:cNvCxnSpPr>
            <p:nvPr/>
          </p:nvCxnSpPr>
          <p:spPr>
            <a:xfrm>
              <a:off x="4380339" y="5528036"/>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6" name="Straight Connector 785">
              <a:extLst>
                <a:ext uri="{FF2B5EF4-FFF2-40B4-BE49-F238E27FC236}">
                  <a16:creationId xmlns:a16="http://schemas.microsoft.com/office/drawing/2014/main" id="{5DAFA228-3B09-4A8B-9BB7-E988069B9330}"/>
                </a:ext>
              </a:extLst>
            </p:cNvPr>
            <p:cNvCxnSpPr>
              <a:cxnSpLocks/>
            </p:cNvCxnSpPr>
            <p:nvPr/>
          </p:nvCxnSpPr>
          <p:spPr>
            <a:xfrm>
              <a:off x="4447604" y="6277376"/>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3" name="Straight Connector 792">
              <a:extLst>
                <a:ext uri="{FF2B5EF4-FFF2-40B4-BE49-F238E27FC236}">
                  <a16:creationId xmlns:a16="http://schemas.microsoft.com/office/drawing/2014/main" id="{B75BDAE1-7FFD-42AA-AEB8-8E827D323CBE}"/>
                </a:ext>
              </a:extLst>
            </p:cNvPr>
            <p:cNvCxnSpPr>
              <a:cxnSpLocks/>
            </p:cNvCxnSpPr>
            <p:nvPr/>
          </p:nvCxnSpPr>
          <p:spPr>
            <a:xfrm>
              <a:off x="4380339" y="168823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37" name="ico-flood">
              <a:extLst>
                <a:ext uri="{FF2B5EF4-FFF2-40B4-BE49-F238E27FC236}">
                  <a16:creationId xmlns:a16="http://schemas.microsoft.com/office/drawing/2014/main" id="{9B4C00D5-67AF-441B-BEA2-BE064E0C4DE8}"/>
                </a:ext>
              </a:extLst>
            </p:cNvPr>
            <p:cNvPicPr>
              <a:picLocks noChangeAspect="1"/>
            </p:cNvPicPr>
            <p:nvPr/>
          </p:nvPicPr>
          <p:blipFill>
            <a:blip r:embed="rId34">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5631794" y="2129298"/>
              <a:ext cx="333098" cy="333098"/>
            </a:xfrm>
            <a:prstGeom prst="rect">
              <a:avLst/>
            </a:prstGeom>
          </p:spPr>
        </p:pic>
        <p:pic>
          <p:nvPicPr>
            <p:cNvPr id="233" name="ico-resilience">
              <a:extLst>
                <a:ext uri="{FF2B5EF4-FFF2-40B4-BE49-F238E27FC236}">
                  <a16:creationId xmlns:a16="http://schemas.microsoft.com/office/drawing/2014/main" id="{3C7F0CFE-2B3F-4E1F-96DD-80F1A9DEE14A}"/>
                </a:ext>
              </a:extLst>
            </p:cNvPr>
            <p:cNvPicPr>
              <a:picLocks noChangeAspect="1"/>
            </p:cNvPicPr>
            <p:nvPr/>
          </p:nvPicPr>
          <p:blipFill>
            <a:blip r:embed="rId36">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5650832" y="3641432"/>
              <a:ext cx="314060" cy="314060"/>
            </a:xfrm>
            <a:prstGeom prst="rect">
              <a:avLst/>
            </a:prstGeom>
          </p:spPr>
        </p:pic>
        <p:grpSp>
          <p:nvGrpSpPr>
            <p:cNvPr id="5" name="Group 4">
              <a:extLst>
                <a:ext uri="{FF2B5EF4-FFF2-40B4-BE49-F238E27FC236}">
                  <a16:creationId xmlns:a16="http://schemas.microsoft.com/office/drawing/2014/main" id="{1870AA10-B5E4-416C-BB8B-902457D8685D}"/>
                </a:ext>
              </a:extLst>
            </p:cNvPr>
            <p:cNvGrpSpPr/>
            <p:nvPr/>
          </p:nvGrpSpPr>
          <p:grpSpPr>
            <a:xfrm>
              <a:off x="4192827" y="1754500"/>
              <a:ext cx="96118" cy="4576628"/>
              <a:chOff x="4262228" y="1754500"/>
              <a:chExt cx="96118" cy="4576628"/>
            </a:xfrm>
          </p:grpSpPr>
          <p:cxnSp>
            <p:nvCxnSpPr>
              <p:cNvPr id="727" name="Straight Connector 726">
                <a:extLst>
                  <a:ext uri="{FF2B5EF4-FFF2-40B4-BE49-F238E27FC236}">
                    <a16:creationId xmlns:a16="http://schemas.microsoft.com/office/drawing/2014/main" id="{B5F8F1A6-52AF-48B4-A301-7493C1509A66}"/>
                  </a:ext>
                </a:extLst>
              </p:cNvPr>
              <p:cNvCxnSpPr>
                <a:cxnSpLocks/>
              </p:cNvCxnSpPr>
              <p:nvPr/>
            </p:nvCxnSpPr>
            <p:spPr>
              <a:xfrm>
                <a:off x="4310287" y="1891451"/>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B2D30AE5-762B-455F-96BF-266EE356E1AA}"/>
                  </a:ext>
                </a:extLst>
              </p:cNvPr>
              <p:cNvCxnSpPr>
                <a:cxnSpLocks/>
              </p:cNvCxnSpPr>
              <p:nvPr/>
            </p:nvCxnSpPr>
            <p:spPr>
              <a:xfrm>
                <a:off x="4310287" y="2638203"/>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9" name="Straight Connector 728">
                <a:extLst>
                  <a:ext uri="{FF2B5EF4-FFF2-40B4-BE49-F238E27FC236}">
                    <a16:creationId xmlns:a16="http://schemas.microsoft.com/office/drawing/2014/main" id="{1CC010D9-E9EE-4262-B992-A0A086261488}"/>
                  </a:ext>
                </a:extLst>
              </p:cNvPr>
              <p:cNvCxnSpPr>
                <a:cxnSpLocks/>
              </p:cNvCxnSpPr>
              <p:nvPr/>
            </p:nvCxnSpPr>
            <p:spPr>
              <a:xfrm>
                <a:off x="4310287" y="3384954"/>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0" name="Straight Connector 729">
                <a:extLst>
                  <a:ext uri="{FF2B5EF4-FFF2-40B4-BE49-F238E27FC236}">
                    <a16:creationId xmlns:a16="http://schemas.microsoft.com/office/drawing/2014/main" id="{B2F030B4-9F51-4356-8B0A-89B902F91956}"/>
                  </a:ext>
                </a:extLst>
              </p:cNvPr>
              <p:cNvCxnSpPr>
                <a:cxnSpLocks/>
              </p:cNvCxnSpPr>
              <p:nvPr/>
            </p:nvCxnSpPr>
            <p:spPr>
              <a:xfrm>
                <a:off x="4310287" y="4131705"/>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1" name="Straight Connector 730">
                <a:extLst>
                  <a:ext uri="{FF2B5EF4-FFF2-40B4-BE49-F238E27FC236}">
                    <a16:creationId xmlns:a16="http://schemas.microsoft.com/office/drawing/2014/main" id="{7B1BFB0E-50FC-4645-BC86-DE78E7A2A5F3}"/>
                  </a:ext>
                </a:extLst>
              </p:cNvPr>
              <p:cNvCxnSpPr>
                <a:cxnSpLocks/>
              </p:cNvCxnSpPr>
              <p:nvPr/>
            </p:nvCxnSpPr>
            <p:spPr>
              <a:xfrm>
                <a:off x="4310287" y="4878457"/>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2" name="Straight Connector 731">
                <a:extLst>
                  <a:ext uri="{FF2B5EF4-FFF2-40B4-BE49-F238E27FC236}">
                    <a16:creationId xmlns:a16="http://schemas.microsoft.com/office/drawing/2014/main" id="{8B45A42E-7157-4790-AE8C-FB1EAFE451D3}"/>
                  </a:ext>
                </a:extLst>
              </p:cNvPr>
              <p:cNvCxnSpPr>
                <a:cxnSpLocks/>
              </p:cNvCxnSpPr>
              <p:nvPr/>
            </p:nvCxnSpPr>
            <p:spPr>
              <a:xfrm>
                <a:off x="4310287" y="5625208"/>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5" name="Flowchart: Connector 854">
                <a:extLst>
                  <a:ext uri="{FF2B5EF4-FFF2-40B4-BE49-F238E27FC236}">
                    <a16:creationId xmlns:a16="http://schemas.microsoft.com/office/drawing/2014/main" id="{7707C7C0-8236-42D8-B3F1-E106B61880BA}"/>
                  </a:ext>
                </a:extLst>
              </p:cNvPr>
              <p:cNvSpPr/>
              <p:nvPr/>
            </p:nvSpPr>
            <p:spPr>
              <a:xfrm>
                <a:off x="4262228" y="1754500"/>
                <a:ext cx="96118" cy="96118"/>
              </a:xfrm>
              <a:prstGeom prst="flowChartConnector">
                <a:avLst/>
              </a:prstGeom>
              <a:solidFill>
                <a:srgbClr val="4E628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56" name="Flowchart: Connector 855">
                <a:extLst>
                  <a:ext uri="{FF2B5EF4-FFF2-40B4-BE49-F238E27FC236}">
                    <a16:creationId xmlns:a16="http://schemas.microsoft.com/office/drawing/2014/main" id="{6CEB6737-AB14-4406-A745-DC26EEA9A1A9}"/>
                  </a:ext>
                </a:extLst>
              </p:cNvPr>
              <p:cNvSpPr/>
              <p:nvPr/>
            </p:nvSpPr>
            <p:spPr>
              <a:xfrm>
                <a:off x="4262228" y="2501850"/>
                <a:ext cx="96118" cy="96118"/>
              </a:xfrm>
              <a:prstGeom prst="flowChartConnector">
                <a:avLst/>
              </a:prstGeom>
              <a:solidFill>
                <a:srgbClr val="4E628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57" name="Flowchart: Connector 856">
                <a:extLst>
                  <a:ext uri="{FF2B5EF4-FFF2-40B4-BE49-F238E27FC236}">
                    <a16:creationId xmlns:a16="http://schemas.microsoft.com/office/drawing/2014/main" id="{ECF69B00-F0C8-4FDF-A6CF-4B317D2397AE}"/>
                  </a:ext>
                </a:extLst>
              </p:cNvPr>
              <p:cNvSpPr/>
              <p:nvPr/>
            </p:nvSpPr>
            <p:spPr>
              <a:xfrm>
                <a:off x="4262228" y="3237162"/>
                <a:ext cx="96118" cy="96118"/>
              </a:xfrm>
              <a:prstGeom prst="flowChartConnector">
                <a:avLst/>
              </a:prstGeom>
              <a:solidFill>
                <a:srgbClr val="4E628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58" name="Flowchart: Connector 857">
                <a:extLst>
                  <a:ext uri="{FF2B5EF4-FFF2-40B4-BE49-F238E27FC236}">
                    <a16:creationId xmlns:a16="http://schemas.microsoft.com/office/drawing/2014/main" id="{44460EE2-5053-4D16-B0C7-B6816A24BEEE}"/>
                  </a:ext>
                </a:extLst>
              </p:cNvPr>
              <p:cNvSpPr/>
              <p:nvPr/>
            </p:nvSpPr>
            <p:spPr>
              <a:xfrm>
                <a:off x="4262228" y="3993248"/>
                <a:ext cx="96118" cy="96118"/>
              </a:xfrm>
              <a:prstGeom prst="flowChartConnector">
                <a:avLst/>
              </a:prstGeom>
              <a:solidFill>
                <a:srgbClr val="4E628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59" name="Flowchart: Connector 858">
                <a:extLst>
                  <a:ext uri="{FF2B5EF4-FFF2-40B4-BE49-F238E27FC236}">
                    <a16:creationId xmlns:a16="http://schemas.microsoft.com/office/drawing/2014/main" id="{DC9719C1-F955-4FA9-A1BA-C7DB7B5921FD}"/>
                  </a:ext>
                </a:extLst>
              </p:cNvPr>
              <p:cNvSpPr/>
              <p:nvPr/>
            </p:nvSpPr>
            <p:spPr>
              <a:xfrm>
                <a:off x="4262228" y="4740454"/>
                <a:ext cx="96118" cy="96118"/>
              </a:xfrm>
              <a:prstGeom prst="flowChartConnector">
                <a:avLst/>
              </a:prstGeom>
              <a:solidFill>
                <a:srgbClr val="4E628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60" name="Flowchart: Connector 859">
                <a:extLst>
                  <a:ext uri="{FF2B5EF4-FFF2-40B4-BE49-F238E27FC236}">
                    <a16:creationId xmlns:a16="http://schemas.microsoft.com/office/drawing/2014/main" id="{9FFF0178-A2B4-4C27-9172-BB64D27D421C}"/>
                  </a:ext>
                </a:extLst>
              </p:cNvPr>
              <p:cNvSpPr/>
              <p:nvPr/>
            </p:nvSpPr>
            <p:spPr>
              <a:xfrm>
                <a:off x="4262228" y="5487804"/>
                <a:ext cx="96118" cy="96118"/>
              </a:xfrm>
              <a:prstGeom prst="flowChartConnector">
                <a:avLst/>
              </a:prstGeom>
              <a:solidFill>
                <a:srgbClr val="4E628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61" name="Flowchart: Connector 860">
                <a:extLst>
                  <a:ext uri="{FF2B5EF4-FFF2-40B4-BE49-F238E27FC236}">
                    <a16:creationId xmlns:a16="http://schemas.microsoft.com/office/drawing/2014/main" id="{A31886AB-FD73-43BE-A38F-45BEE5C96D7D}"/>
                  </a:ext>
                </a:extLst>
              </p:cNvPr>
              <p:cNvSpPr/>
              <p:nvPr/>
            </p:nvSpPr>
            <p:spPr>
              <a:xfrm>
                <a:off x="4262228" y="6235010"/>
                <a:ext cx="96118" cy="96118"/>
              </a:xfrm>
              <a:prstGeom prst="flowChartConnector">
                <a:avLst/>
              </a:prstGeom>
              <a:solidFill>
                <a:srgbClr val="4E628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grpSp>
        <p:pic>
          <p:nvPicPr>
            <p:cNvPr id="232" name="ico-dragonfly">
              <a:extLst>
                <a:ext uri="{FF2B5EF4-FFF2-40B4-BE49-F238E27FC236}">
                  <a16:creationId xmlns:a16="http://schemas.microsoft.com/office/drawing/2014/main" id="{F9FB0941-8AC4-46C0-AEFB-0584A7D4E771}"/>
                </a:ext>
              </a:extLst>
            </p:cNvPr>
            <p:cNvPicPr>
              <a:picLocks noChangeAspect="1"/>
            </p:cNvPicPr>
            <p:nvPr/>
          </p:nvPicPr>
          <p:blipFill>
            <a:blip r:embed="rId38">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5658525" y="5143681"/>
              <a:ext cx="306367" cy="306367"/>
            </a:xfrm>
            <a:prstGeom prst="rect">
              <a:avLst/>
            </a:prstGeom>
          </p:spPr>
        </p:pic>
        <p:pic>
          <p:nvPicPr>
            <p:cNvPr id="852" name="ico-uneven">
              <a:extLst>
                <a:ext uri="{FF2B5EF4-FFF2-40B4-BE49-F238E27FC236}">
                  <a16:creationId xmlns:a16="http://schemas.microsoft.com/office/drawing/2014/main" id="{71CC5F48-BE59-47C4-ABAF-A7FAABF73F46}"/>
                </a:ext>
              </a:extLst>
            </p:cNvPr>
            <p:cNvPicPr>
              <a:picLocks noChangeAspect="1"/>
            </p:cNvPicPr>
            <p:nvPr/>
          </p:nvPicPr>
          <p:blipFill>
            <a:blip r:embed="rId40">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5656104" y="2902657"/>
              <a:ext cx="308788" cy="308788"/>
            </a:xfrm>
            <a:prstGeom prst="rect">
              <a:avLst/>
            </a:prstGeom>
          </p:spPr>
        </p:pic>
        <p:pic>
          <p:nvPicPr>
            <p:cNvPr id="230" name="ico-oil-barrel">
              <a:extLst>
                <a:ext uri="{FF2B5EF4-FFF2-40B4-BE49-F238E27FC236}">
                  <a16:creationId xmlns:a16="http://schemas.microsoft.com/office/drawing/2014/main" id="{62EC3F5E-D430-4EBE-8F8D-6EFB1CD6E65C}"/>
                </a:ext>
              </a:extLst>
            </p:cNvPr>
            <p:cNvPicPr>
              <a:picLocks noChangeAspect="1"/>
            </p:cNvPicPr>
            <p:nvPr/>
          </p:nvPicPr>
          <p:blipFill>
            <a:blip r:embed="rId42">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5661417" y="4399367"/>
              <a:ext cx="303475" cy="303475"/>
            </a:xfrm>
            <a:prstGeom prst="rect">
              <a:avLst/>
            </a:prstGeom>
          </p:spPr>
        </p:pic>
        <p:pic>
          <p:nvPicPr>
            <p:cNvPr id="231" name="ico-tree-03">
              <a:extLst>
                <a:ext uri="{FF2B5EF4-FFF2-40B4-BE49-F238E27FC236}">
                  <a16:creationId xmlns:a16="http://schemas.microsoft.com/office/drawing/2014/main" id="{79F7B24F-19B1-4BBF-9B7D-382637F43D7F}"/>
                </a:ext>
              </a:extLst>
            </p:cNvPr>
            <p:cNvPicPr>
              <a:picLocks noChangeAspect="1"/>
            </p:cNvPicPr>
            <p:nvPr/>
          </p:nvPicPr>
          <p:blipFill>
            <a:blip r:embed="rId44">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5591902" y="5824408"/>
              <a:ext cx="372990" cy="372990"/>
            </a:xfrm>
            <a:prstGeom prst="rect">
              <a:avLst/>
            </a:prstGeom>
          </p:spPr>
        </p:pic>
      </p:grpSp>
      <p:grpSp>
        <p:nvGrpSpPr>
          <p:cNvPr id="16" name="Group 15">
            <a:extLst>
              <a:ext uri="{FF2B5EF4-FFF2-40B4-BE49-F238E27FC236}">
                <a16:creationId xmlns:a16="http://schemas.microsoft.com/office/drawing/2014/main" id="{E86E116B-8510-A52C-AAC1-DE92BA07685B}"/>
              </a:ext>
            </a:extLst>
          </p:cNvPr>
          <p:cNvGrpSpPr/>
          <p:nvPr/>
        </p:nvGrpSpPr>
        <p:grpSpPr>
          <a:xfrm>
            <a:off x="9783204" y="1326215"/>
            <a:ext cx="1871211" cy="4257707"/>
            <a:chOff x="9783204" y="1326215"/>
            <a:chExt cx="1871211" cy="4257707"/>
          </a:xfrm>
        </p:grpSpPr>
        <p:sp>
          <p:nvSpPr>
            <p:cNvPr id="634" name="Rectangle 633">
              <a:extLst>
                <a:ext uri="{FF2B5EF4-FFF2-40B4-BE49-F238E27FC236}">
                  <a16:creationId xmlns:a16="http://schemas.microsoft.com/office/drawing/2014/main" id="{8BC8FCE8-1BB0-43E6-9331-39D3DC35D95D}"/>
                </a:ext>
              </a:extLst>
            </p:cNvPr>
            <p:cNvSpPr/>
            <p:nvPr/>
          </p:nvSpPr>
          <p:spPr>
            <a:xfrm>
              <a:off x="9886836" y="1326215"/>
              <a:ext cx="1767579" cy="36201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A2B7CD"/>
                  </a:solidFill>
                  <a:effectLst/>
                  <a:uLnTx/>
                  <a:uFillTx/>
                  <a:latin typeface="MMC Display Condensed"/>
                  <a:ea typeface="+mn-ea"/>
                  <a:cs typeface="Calibri" panose="020F0502020204030204" pitchFamily="34" charset="0"/>
                </a:rPr>
                <a:t>Technological</a:t>
              </a:r>
            </a:p>
          </p:txBody>
        </p:sp>
        <p:sp>
          <p:nvSpPr>
            <p:cNvPr id="669" name="Rectangle 668">
              <a:extLst>
                <a:ext uri="{FF2B5EF4-FFF2-40B4-BE49-F238E27FC236}">
                  <a16:creationId xmlns:a16="http://schemas.microsoft.com/office/drawing/2014/main" id="{F8C2F372-E88A-4667-BB44-A7214020328E}"/>
                </a:ext>
              </a:extLst>
            </p:cNvPr>
            <p:cNvSpPr>
              <a:spLocks/>
            </p:cNvSpPr>
            <p:nvPr/>
          </p:nvSpPr>
          <p:spPr>
            <a:xfrm>
              <a:off x="9970716"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A2B7CD"/>
                  </a:solidFill>
                  <a:effectLst/>
                  <a:uLnTx/>
                  <a:uFillTx/>
                  <a:latin typeface="Calibri"/>
                  <a:ea typeface="+mn-ea"/>
                  <a:cs typeface="Calibri" panose="020F0502020204030204" pitchFamily="34" charset="0"/>
                </a:rPr>
                <a:t>Widespread cybercrime and cyber insecurity</a:t>
              </a:r>
            </a:p>
          </p:txBody>
        </p:sp>
        <p:sp>
          <p:nvSpPr>
            <p:cNvPr id="680" name="Rectangle 679">
              <a:extLst>
                <a:ext uri="{FF2B5EF4-FFF2-40B4-BE49-F238E27FC236}">
                  <a16:creationId xmlns:a16="http://schemas.microsoft.com/office/drawing/2014/main" id="{5BC5BD5F-4626-49A0-B3E7-9CD2F50424FE}"/>
                </a:ext>
              </a:extLst>
            </p:cNvPr>
            <p:cNvSpPr>
              <a:spLocks/>
            </p:cNvSpPr>
            <p:nvPr/>
          </p:nvSpPr>
          <p:spPr>
            <a:xfrm>
              <a:off x="9970716" y="2614792"/>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A2B7CD"/>
                  </a:solidFill>
                  <a:effectLst/>
                  <a:uLnTx/>
                  <a:uFillTx/>
                  <a:latin typeface="Calibri"/>
                  <a:ea typeface="+mn-ea"/>
                  <a:cs typeface="Calibri" panose="020F0502020204030204" pitchFamily="34" charset="0"/>
                </a:rPr>
                <a:t>Breakdown of critical information infrastructure</a:t>
              </a:r>
            </a:p>
          </p:txBody>
        </p:sp>
        <p:sp>
          <p:nvSpPr>
            <p:cNvPr id="686" name="Rectangle 685">
              <a:extLst>
                <a:ext uri="{FF2B5EF4-FFF2-40B4-BE49-F238E27FC236}">
                  <a16:creationId xmlns:a16="http://schemas.microsoft.com/office/drawing/2014/main" id="{2C023B5A-26CF-48EC-889C-FD62DEBF8D6D}"/>
                </a:ext>
              </a:extLst>
            </p:cNvPr>
            <p:cNvSpPr>
              <a:spLocks/>
            </p:cNvSpPr>
            <p:nvPr/>
          </p:nvSpPr>
          <p:spPr>
            <a:xfrm>
              <a:off x="9970716" y="335883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A2B7CD"/>
                  </a:solidFill>
                  <a:effectLst/>
                  <a:uLnTx/>
                  <a:uFillTx/>
                  <a:latin typeface="Calibri"/>
                  <a:ea typeface="+mn-ea"/>
                  <a:cs typeface="Calibri" panose="020F0502020204030204" pitchFamily="34" charset="0"/>
                </a:rPr>
                <a:t>Concentration of digital power</a:t>
              </a:r>
            </a:p>
          </p:txBody>
        </p:sp>
        <p:sp>
          <p:nvSpPr>
            <p:cNvPr id="692" name="Rectangle 691">
              <a:extLst>
                <a:ext uri="{FF2B5EF4-FFF2-40B4-BE49-F238E27FC236}">
                  <a16:creationId xmlns:a16="http://schemas.microsoft.com/office/drawing/2014/main" id="{3DD17151-51DC-4EE6-8852-0DE0057C2048}"/>
                </a:ext>
              </a:extLst>
            </p:cNvPr>
            <p:cNvSpPr>
              <a:spLocks/>
            </p:cNvSpPr>
            <p:nvPr/>
          </p:nvSpPr>
          <p:spPr>
            <a:xfrm>
              <a:off x="9970716" y="410618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A2B7CD"/>
                  </a:solidFill>
                  <a:effectLst/>
                  <a:uLnTx/>
                  <a:uFillTx/>
                  <a:latin typeface="Calibri"/>
                  <a:ea typeface="+mn-ea"/>
                  <a:cs typeface="Calibri" panose="020F0502020204030204" pitchFamily="34" charset="0"/>
                </a:rPr>
                <a:t>Digital inequality </a:t>
              </a:r>
              <a:br>
                <a:rPr kumimoji="0" lang="en-GB" sz="1000" b="1" i="0" u="none" strike="noStrike" kern="0" cap="none" spc="0" normalizeH="0" baseline="0" noProof="0">
                  <a:ln>
                    <a:noFill/>
                  </a:ln>
                  <a:solidFill>
                    <a:srgbClr val="A2B7CD"/>
                  </a:solidFill>
                  <a:effectLst/>
                  <a:uLnTx/>
                  <a:uFillTx/>
                  <a:latin typeface="Calibri"/>
                  <a:ea typeface="+mn-ea"/>
                  <a:cs typeface="Calibri" panose="020F0502020204030204" pitchFamily="34" charset="0"/>
                </a:rPr>
              </a:br>
              <a:r>
                <a:rPr kumimoji="0" lang="en-GB" sz="1000" b="1" i="0" u="none" strike="noStrike" kern="0" cap="none" spc="0" normalizeH="0" baseline="0" noProof="0">
                  <a:ln>
                    <a:noFill/>
                  </a:ln>
                  <a:solidFill>
                    <a:srgbClr val="A2B7CD"/>
                  </a:solidFill>
                  <a:effectLst/>
                  <a:uLnTx/>
                  <a:uFillTx/>
                  <a:latin typeface="Calibri"/>
                  <a:ea typeface="+mn-ea"/>
                  <a:cs typeface="Calibri" panose="020F0502020204030204" pitchFamily="34" charset="0"/>
                </a:rPr>
                <a:t>and lack of access </a:t>
              </a:r>
              <a:br>
                <a:rPr kumimoji="0" lang="en-GB" sz="1000" b="1" i="0" u="none" strike="noStrike" kern="0" cap="none" spc="0" normalizeH="0" baseline="0" noProof="0">
                  <a:ln>
                    <a:noFill/>
                  </a:ln>
                  <a:solidFill>
                    <a:srgbClr val="A2B7CD"/>
                  </a:solidFill>
                  <a:effectLst/>
                  <a:uLnTx/>
                  <a:uFillTx/>
                  <a:latin typeface="Calibri"/>
                  <a:ea typeface="+mn-ea"/>
                  <a:cs typeface="Calibri" panose="020F0502020204030204" pitchFamily="34" charset="0"/>
                </a:rPr>
              </a:br>
              <a:r>
                <a:rPr kumimoji="0" lang="en-GB" sz="1000" b="1" i="0" u="none" strike="noStrike" kern="0" cap="none" spc="0" normalizeH="0" baseline="0" noProof="0">
                  <a:ln>
                    <a:noFill/>
                  </a:ln>
                  <a:solidFill>
                    <a:srgbClr val="A2B7CD"/>
                  </a:solidFill>
                  <a:effectLst/>
                  <a:uLnTx/>
                  <a:uFillTx/>
                  <a:latin typeface="Calibri"/>
                  <a:ea typeface="+mn-ea"/>
                  <a:cs typeface="Calibri" panose="020F0502020204030204" pitchFamily="34" charset="0"/>
                </a:rPr>
                <a:t>to digital services</a:t>
              </a:r>
            </a:p>
          </p:txBody>
        </p:sp>
        <p:sp>
          <p:nvSpPr>
            <p:cNvPr id="698" name="Rectangle 697">
              <a:extLst>
                <a:ext uri="{FF2B5EF4-FFF2-40B4-BE49-F238E27FC236}">
                  <a16:creationId xmlns:a16="http://schemas.microsoft.com/office/drawing/2014/main" id="{B6B780AC-8544-4303-B548-8E799785BF09}"/>
                </a:ext>
              </a:extLst>
            </p:cNvPr>
            <p:cNvSpPr>
              <a:spLocks/>
            </p:cNvSpPr>
            <p:nvPr/>
          </p:nvSpPr>
          <p:spPr>
            <a:xfrm>
              <a:off x="9970716" y="485339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A2B7CD"/>
                  </a:solidFill>
                  <a:effectLst/>
                  <a:uLnTx/>
                  <a:uFillTx/>
                  <a:latin typeface="Calibri"/>
                  <a:ea typeface="+mn-ea"/>
                  <a:cs typeface="Calibri" panose="020F0502020204030204" pitchFamily="34" charset="0"/>
                </a:rPr>
                <a:t>Adverse outcomes of frontier technologies</a:t>
              </a:r>
            </a:p>
          </p:txBody>
        </p:sp>
        <p:cxnSp>
          <p:nvCxnSpPr>
            <p:cNvPr id="753" name="Straight Connector 752">
              <a:extLst>
                <a:ext uri="{FF2B5EF4-FFF2-40B4-BE49-F238E27FC236}">
                  <a16:creationId xmlns:a16="http://schemas.microsoft.com/office/drawing/2014/main" id="{B6A8C387-07A6-467A-8C89-07491444973E}"/>
                </a:ext>
              </a:extLst>
            </p:cNvPr>
            <p:cNvCxnSpPr>
              <a:cxnSpLocks/>
            </p:cNvCxnSpPr>
            <p:nvPr/>
          </p:nvCxnSpPr>
          <p:spPr>
            <a:xfrm>
              <a:off x="9970716" y="253856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9" name="Straight Connector 758">
              <a:extLst>
                <a:ext uri="{FF2B5EF4-FFF2-40B4-BE49-F238E27FC236}">
                  <a16:creationId xmlns:a16="http://schemas.microsoft.com/office/drawing/2014/main" id="{A3ACF1CF-9437-4B8F-85FF-48B9A29E1482}"/>
                </a:ext>
              </a:extLst>
            </p:cNvPr>
            <p:cNvCxnSpPr>
              <a:cxnSpLocks/>
            </p:cNvCxnSpPr>
            <p:nvPr/>
          </p:nvCxnSpPr>
          <p:spPr>
            <a:xfrm>
              <a:off x="9970716" y="3283358"/>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5" name="Straight Connector 764">
              <a:extLst>
                <a:ext uri="{FF2B5EF4-FFF2-40B4-BE49-F238E27FC236}">
                  <a16:creationId xmlns:a16="http://schemas.microsoft.com/office/drawing/2014/main" id="{9194AC96-DEE2-4224-AEBF-619AF70100A8}"/>
                </a:ext>
              </a:extLst>
            </p:cNvPr>
            <p:cNvCxnSpPr>
              <a:cxnSpLocks/>
            </p:cNvCxnSpPr>
            <p:nvPr/>
          </p:nvCxnSpPr>
          <p:spPr>
            <a:xfrm>
              <a:off x="9970716" y="4025587"/>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2" name="Straight Connector 771">
              <a:extLst>
                <a:ext uri="{FF2B5EF4-FFF2-40B4-BE49-F238E27FC236}">
                  <a16:creationId xmlns:a16="http://schemas.microsoft.com/office/drawing/2014/main" id="{E7C3F483-A6FA-4F77-94E0-1CA7D7ADC563}"/>
                </a:ext>
              </a:extLst>
            </p:cNvPr>
            <p:cNvCxnSpPr>
              <a:cxnSpLocks/>
            </p:cNvCxnSpPr>
            <p:nvPr/>
          </p:nvCxnSpPr>
          <p:spPr>
            <a:xfrm>
              <a:off x="9970716" y="478190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8" name="Straight Connector 777">
              <a:extLst>
                <a:ext uri="{FF2B5EF4-FFF2-40B4-BE49-F238E27FC236}">
                  <a16:creationId xmlns:a16="http://schemas.microsoft.com/office/drawing/2014/main" id="{8D1D0DBD-F425-46B5-9833-6764E0642863}"/>
                </a:ext>
              </a:extLst>
            </p:cNvPr>
            <p:cNvCxnSpPr>
              <a:cxnSpLocks/>
            </p:cNvCxnSpPr>
            <p:nvPr/>
          </p:nvCxnSpPr>
          <p:spPr>
            <a:xfrm>
              <a:off x="9970716" y="5528036"/>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1" name="Straight Connector 790">
              <a:extLst>
                <a:ext uri="{FF2B5EF4-FFF2-40B4-BE49-F238E27FC236}">
                  <a16:creationId xmlns:a16="http://schemas.microsoft.com/office/drawing/2014/main" id="{94F4BE50-73D8-4DC4-8004-BF54EE4C4829}"/>
                </a:ext>
              </a:extLst>
            </p:cNvPr>
            <p:cNvCxnSpPr>
              <a:cxnSpLocks/>
            </p:cNvCxnSpPr>
            <p:nvPr/>
          </p:nvCxnSpPr>
          <p:spPr>
            <a:xfrm>
              <a:off x="9970716" y="168823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00A09BCF-1D62-FB5A-E577-AF86056FF758}"/>
                </a:ext>
              </a:extLst>
            </p:cNvPr>
            <p:cNvGrpSpPr/>
            <p:nvPr/>
          </p:nvGrpSpPr>
          <p:grpSpPr>
            <a:xfrm>
              <a:off x="9783204" y="1754500"/>
              <a:ext cx="96118" cy="3829422"/>
              <a:chOff x="9919162" y="1754500"/>
              <a:chExt cx="96118" cy="3829422"/>
            </a:xfrm>
          </p:grpSpPr>
          <p:cxnSp>
            <p:nvCxnSpPr>
              <p:cNvPr id="715" name="Straight Connector 714">
                <a:extLst>
                  <a:ext uri="{FF2B5EF4-FFF2-40B4-BE49-F238E27FC236}">
                    <a16:creationId xmlns:a16="http://schemas.microsoft.com/office/drawing/2014/main" id="{06A7FE79-D78D-46C0-B837-C0F20D320626}"/>
                  </a:ext>
                </a:extLst>
              </p:cNvPr>
              <p:cNvCxnSpPr>
                <a:cxnSpLocks/>
              </p:cNvCxnSpPr>
              <p:nvPr/>
            </p:nvCxnSpPr>
            <p:spPr>
              <a:xfrm>
                <a:off x="9967221" y="1891451"/>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6" name="Straight Connector 715">
                <a:extLst>
                  <a:ext uri="{FF2B5EF4-FFF2-40B4-BE49-F238E27FC236}">
                    <a16:creationId xmlns:a16="http://schemas.microsoft.com/office/drawing/2014/main" id="{B49B8F04-3ED5-4ABB-82A7-5E37D3760C6A}"/>
                  </a:ext>
                </a:extLst>
              </p:cNvPr>
              <p:cNvCxnSpPr>
                <a:cxnSpLocks/>
              </p:cNvCxnSpPr>
              <p:nvPr/>
            </p:nvCxnSpPr>
            <p:spPr>
              <a:xfrm>
                <a:off x="9967221" y="2638203"/>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7" name="Straight Connector 716">
                <a:extLst>
                  <a:ext uri="{FF2B5EF4-FFF2-40B4-BE49-F238E27FC236}">
                    <a16:creationId xmlns:a16="http://schemas.microsoft.com/office/drawing/2014/main" id="{44EDB309-66B3-4BCC-B921-EAA4147B3623}"/>
                  </a:ext>
                </a:extLst>
              </p:cNvPr>
              <p:cNvCxnSpPr>
                <a:cxnSpLocks/>
              </p:cNvCxnSpPr>
              <p:nvPr/>
            </p:nvCxnSpPr>
            <p:spPr>
              <a:xfrm>
                <a:off x="9967221" y="3384954"/>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8" name="Straight Connector 717">
                <a:extLst>
                  <a:ext uri="{FF2B5EF4-FFF2-40B4-BE49-F238E27FC236}">
                    <a16:creationId xmlns:a16="http://schemas.microsoft.com/office/drawing/2014/main" id="{81F43334-5BE1-4B9E-BCB1-7019A6398850}"/>
                  </a:ext>
                </a:extLst>
              </p:cNvPr>
              <p:cNvCxnSpPr>
                <a:cxnSpLocks/>
              </p:cNvCxnSpPr>
              <p:nvPr/>
            </p:nvCxnSpPr>
            <p:spPr>
              <a:xfrm>
                <a:off x="9967221" y="4131705"/>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9" name="Straight Connector 718">
                <a:extLst>
                  <a:ext uri="{FF2B5EF4-FFF2-40B4-BE49-F238E27FC236}">
                    <a16:creationId xmlns:a16="http://schemas.microsoft.com/office/drawing/2014/main" id="{4BD9CC56-251B-4E9C-9155-F102E42148E3}"/>
                  </a:ext>
                </a:extLst>
              </p:cNvPr>
              <p:cNvCxnSpPr>
                <a:cxnSpLocks/>
              </p:cNvCxnSpPr>
              <p:nvPr/>
            </p:nvCxnSpPr>
            <p:spPr>
              <a:xfrm>
                <a:off x="9967221" y="4878457"/>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5" name="Flowchart: Connector 804">
                <a:extLst>
                  <a:ext uri="{FF2B5EF4-FFF2-40B4-BE49-F238E27FC236}">
                    <a16:creationId xmlns:a16="http://schemas.microsoft.com/office/drawing/2014/main" id="{3EA6C63D-010F-450A-B9F6-37D8F179B2D7}"/>
                  </a:ext>
                </a:extLst>
              </p:cNvPr>
              <p:cNvSpPr/>
              <p:nvPr/>
            </p:nvSpPr>
            <p:spPr>
              <a:xfrm>
                <a:off x="9919162" y="1754500"/>
                <a:ext cx="96118" cy="96118"/>
              </a:xfrm>
              <a:prstGeom prst="flowChartConnector">
                <a:avLst/>
              </a:prstGeom>
              <a:solidFill>
                <a:srgbClr val="A2B7CD"/>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B2025B"/>
                  </a:solidFill>
                  <a:effectLst/>
                  <a:uLnTx/>
                  <a:uFillTx/>
                  <a:latin typeface="Calibri"/>
                  <a:ea typeface="+mn-ea"/>
                  <a:cs typeface="Calibri" panose="020F0502020204030204" pitchFamily="34" charset="0"/>
                </a:endParaRPr>
              </a:p>
            </p:txBody>
          </p:sp>
          <p:sp>
            <p:nvSpPr>
              <p:cNvPr id="806" name="Flowchart: Connector 805">
                <a:extLst>
                  <a:ext uri="{FF2B5EF4-FFF2-40B4-BE49-F238E27FC236}">
                    <a16:creationId xmlns:a16="http://schemas.microsoft.com/office/drawing/2014/main" id="{EB6EA87D-2EBE-4561-9347-46CB8D22B689}"/>
                  </a:ext>
                </a:extLst>
              </p:cNvPr>
              <p:cNvSpPr/>
              <p:nvPr/>
            </p:nvSpPr>
            <p:spPr>
              <a:xfrm>
                <a:off x="9919162" y="2501850"/>
                <a:ext cx="96118" cy="96118"/>
              </a:xfrm>
              <a:prstGeom prst="flowChartConnector">
                <a:avLst/>
              </a:prstGeom>
              <a:solidFill>
                <a:srgbClr val="A2B7CD"/>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07" name="Flowchart: Connector 806">
                <a:extLst>
                  <a:ext uri="{FF2B5EF4-FFF2-40B4-BE49-F238E27FC236}">
                    <a16:creationId xmlns:a16="http://schemas.microsoft.com/office/drawing/2014/main" id="{D12354E9-B50E-459C-9B39-F9EE0F389F46}"/>
                  </a:ext>
                </a:extLst>
              </p:cNvPr>
              <p:cNvSpPr/>
              <p:nvPr/>
            </p:nvSpPr>
            <p:spPr>
              <a:xfrm>
                <a:off x="9919162" y="3245898"/>
                <a:ext cx="96118" cy="96118"/>
              </a:xfrm>
              <a:prstGeom prst="flowChartConnector">
                <a:avLst/>
              </a:prstGeom>
              <a:solidFill>
                <a:srgbClr val="A2B7CD"/>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08" name="Flowchart: Connector 807">
                <a:extLst>
                  <a:ext uri="{FF2B5EF4-FFF2-40B4-BE49-F238E27FC236}">
                    <a16:creationId xmlns:a16="http://schemas.microsoft.com/office/drawing/2014/main" id="{12293381-CD78-4FE2-AA47-E8C55AF30359}"/>
                  </a:ext>
                </a:extLst>
              </p:cNvPr>
              <p:cNvSpPr/>
              <p:nvPr/>
            </p:nvSpPr>
            <p:spPr>
              <a:xfrm>
                <a:off x="9919162" y="3993248"/>
                <a:ext cx="96118" cy="96118"/>
              </a:xfrm>
              <a:prstGeom prst="flowChartConnector">
                <a:avLst/>
              </a:prstGeom>
              <a:solidFill>
                <a:srgbClr val="A2B7CD"/>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09" name="Flowchart: Connector 808">
                <a:extLst>
                  <a:ext uri="{FF2B5EF4-FFF2-40B4-BE49-F238E27FC236}">
                    <a16:creationId xmlns:a16="http://schemas.microsoft.com/office/drawing/2014/main" id="{FD127CF2-95EF-4BEB-B4C5-ABA87E0BCC0B}"/>
                  </a:ext>
                </a:extLst>
              </p:cNvPr>
              <p:cNvSpPr/>
              <p:nvPr/>
            </p:nvSpPr>
            <p:spPr>
              <a:xfrm>
                <a:off x="9919162" y="4740454"/>
                <a:ext cx="96118" cy="96118"/>
              </a:xfrm>
              <a:prstGeom prst="flowChartConnector">
                <a:avLst/>
              </a:prstGeom>
              <a:solidFill>
                <a:srgbClr val="A2B7CD"/>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10" name="Flowchart: Connector 809">
                <a:extLst>
                  <a:ext uri="{FF2B5EF4-FFF2-40B4-BE49-F238E27FC236}">
                    <a16:creationId xmlns:a16="http://schemas.microsoft.com/office/drawing/2014/main" id="{1532D86E-FCAB-436B-8863-CA3B12DF2161}"/>
                  </a:ext>
                </a:extLst>
              </p:cNvPr>
              <p:cNvSpPr/>
              <p:nvPr/>
            </p:nvSpPr>
            <p:spPr>
              <a:xfrm>
                <a:off x="9919162" y="5487804"/>
                <a:ext cx="96118" cy="96118"/>
              </a:xfrm>
              <a:prstGeom prst="flowChartConnector">
                <a:avLst/>
              </a:prstGeom>
              <a:solidFill>
                <a:srgbClr val="A2B7CD"/>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grpSp>
        <p:pic>
          <p:nvPicPr>
            <p:cNvPr id="826" name="ico-lead">
              <a:extLst>
                <a:ext uri="{FF2B5EF4-FFF2-40B4-BE49-F238E27FC236}">
                  <a16:creationId xmlns:a16="http://schemas.microsoft.com/office/drawing/2014/main" id="{91CE7F2F-4E6D-4B2E-A9F8-7B4D97D66839}"/>
                </a:ext>
              </a:extLst>
            </p:cNvPr>
            <p:cNvPicPr>
              <a:picLocks noChangeAspect="1"/>
            </p:cNvPicPr>
            <p:nvPr/>
          </p:nvPicPr>
          <p:blipFill>
            <a:blip r:embed="rId46">
              <a:extLst>
                <a:ext uri="{28A0092B-C50C-407E-A947-70E740481C1C}">
                  <a14:useLocalDpi xmlns:a14="http://schemas.microsoft.com/office/drawing/2010/main"/>
                </a:ext>
                <a:ext uri="{96DAC541-7B7A-43D3-8B79-37D633B846F1}">
                  <asvg:svgBlip xmlns:asvg="http://schemas.microsoft.com/office/drawing/2016/SVG/main" r:embed="rId47"/>
                </a:ext>
              </a:extLst>
            </a:blip>
            <a:stretch>
              <a:fillRect/>
            </a:stretch>
          </p:blipFill>
          <p:spPr>
            <a:xfrm>
              <a:off x="11246481" y="3646704"/>
              <a:ext cx="308788" cy="308788"/>
            </a:xfrm>
            <a:prstGeom prst="rect">
              <a:avLst/>
            </a:prstGeom>
          </p:spPr>
        </p:pic>
        <p:pic>
          <p:nvPicPr>
            <p:cNvPr id="831" name="ico-line-graph">
              <a:extLst>
                <a:ext uri="{FF2B5EF4-FFF2-40B4-BE49-F238E27FC236}">
                  <a16:creationId xmlns:a16="http://schemas.microsoft.com/office/drawing/2014/main" id="{40948889-DFA8-40F7-833A-A3A7DB01676C}"/>
                </a:ext>
              </a:extLst>
            </p:cNvPr>
            <p:cNvPicPr>
              <a:picLocks noChangeAspect="1"/>
            </p:cNvPicPr>
            <p:nvPr/>
          </p:nvPicPr>
          <p:blipFill>
            <a:blip r:embed="rId48">
              <a:extLst>
                <a:ext uri="{28A0092B-C50C-407E-A947-70E740481C1C}">
                  <a14:useLocalDpi xmlns:a14="http://schemas.microsoft.com/office/drawing/2010/main"/>
                </a:ext>
                <a:ext uri="{96DAC541-7B7A-43D3-8B79-37D633B846F1}">
                  <asvg:svgBlip xmlns:asvg="http://schemas.microsoft.com/office/drawing/2016/SVG/main" r:embed="rId49"/>
                </a:ext>
              </a:extLst>
            </a:blip>
            <a:stretch>
              <a:fillRect/>
            </a:stretch>
          </p:blipFill>
          <p:spPr>
            <a:xfrm>
              <a:off x="11246481" y="4394054"/>
              <a:ext cx="308788" cy="308788"/>
            </a:xfrm>
            <a:prstGeom prst="rect">
              <a:avLst/>
            </a:prstGeom>
          </p:spPr>
        </p:pic>
        <p:pic>
          <p:nvPicPr>
            <p:cNvPr id="238" name="ico-cybersecurity">
              <a:extLst>
                <a:ext uri="{FF2B5EF4-FFF2-40B4-BE49-F238E27FC236}">
                  <a16:creationId xmlns:a16="http://schemas.microsoft.com/office/drawing/2014/main" id="{3BDE3CFA-9E3E-4628-972B-41DE6C5C9CED}"/>
                </a:ext>
              </a:extLst>
            </p:cNvPr>
            <p:cNvPicPr>
              <a:picLocks noChangeAspect="1"/>
            </p:cNvPicPr>
            <p:nvPr/>
          </p:nvPicPr>
          <p:blipFill>
            <a:blip r:embed="rId50">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1182856" y="2089983"/>
              <a:ext cx="372413" cy="372413"/>
            </a:xfrm>
            <a:prstGeom prst="rect">
              <a:avLst/>
            </a:prstGeom>
          </p:spPr>
        </p:pic>
        <p:pic>
          <p:nvPicPr>
            <p:cNvPr id="240" name="ico-robotic-arm">
              <a:extLst>
                <a:ext uri="{FF2B5EF4-FFF2-40B4-BE49-F238E27FC236}">
                  <a16:creationId xmlns:a16="http://schemas.microsoft.com/office/drawing/2014/main" id="{CEC9B8B4-4D07-43F2-8FC1-7029AF6E17F7}"/>
                </a:ext>
              </a:extLst>
            </p:cNvPr>
            <p:cNvPicPr>
              <a:picLocks noChangeAspect="1"/>
            </p:cNvPicPr>
            <p:nvPr/>
          </p:nvPicPr>
          <p:blipFill>
            <a:blip r:embed="rId52">
              <a:extLst>
                <a:ext uri="{28A0092B-C50C-407E-A947-70E740481C1C}">
                  <a14:useLocalDpi xmlns:a14="http://schemas.microsoft.com/office/drawing/2010/main"/>
                </a:ext>
                <a:ext uri="{96DAC541-7B7A-43D3-8B79-37D633B846F1}">
                  <asvg:svgBlip xmlns:asvg="http://schemas.microsoft.com/office/drawing/2016/SVG/main" r:embed="rId53"/>
                </a:ext>
              </a:extLst>
            </a:blip>
            <a:stretch>
              <a:fillRect/>
            </a:stretch>
          </p:blipFill>
          <p:spPr>
            <a:xfrm>
              <a:off x="11241210" y="5135989"/>
              <a:ext cx="314059" cy="314059"/>
            </a:xfrm>
            <a:prstGeom prst="rect">
              <a:avLst/>
            </a:prstGeom>
          </p:spPr>
        </p:pic>
        <p:pic>
          <p:nvPicPr>
            <p:cNvPr id="241" name="ico-server-rack">
              <a:extLst>
                <a:ext uri="{FF2B5EF4-FFF2-40B4-BE49-F238E27FC236}">
                  <a16:creationId xmlns:a16="http://schemas.microsoft.com/office/drawing/2014/main" id="{598869B3-94B1-444A-82DA-CCEB9358F166}"/>
                </a:ext>
              </a:extLst>
            </p:cNvPr>
            <p:cNvPicPr>
              <a:picLocks noChangeAspect="1"/>
            </p:cNvPicPr>
            <p:nvPr/>
          </p:nvPicPr>
          <p:blipFill>
            <a:blip r:embed="rId54">
              <a:extLst>
                <a:ext uri="{28A0092B-C50C-407E-A947-70E740481C1C}">
                  <a14:useLocalDpi xmlns:a14="http://schemas.microsoft.com/office/drawing/2010/main"/>
                </a:ext>
                <a:ext uri="{96DAC541-7B7A-43D3-8B79-37D633B846F1}">
                  <asvg:svgBlip xmlns:asvg="http://schemas.microsoft.com/office/drawing/2016/SVG/main" r:embed="rId55"/>
                </a:ext>
              </a:extLst>
            </a:blip>
            <a:stretch>
              <a:fillRect/>
            </a:stretch>
          </p:blipFill>
          <p:spPr>
            <a:xfrm>
              <a:off x="11201199" y="2857375"/>
              <a:ext cx="354070" cy="354070"/>
            </a:xfrm>
            <a:prstGeom prst="rect">
              <a:avLst/>
            </a:prstGeom>
          </p:spPr>
        </p:pic>
      </p:grpSp>
      <p:sp>
        <p:nvSpPr>
          <p:cNvPr id="9" name="Title 8">
            <a:extLst>
              <a:ext uri="{FF2B5EF4-FFF2-40B4-BE49-F238E27FC236}">
                <a16:creationId xmlns:a16="http://schemas.microsoft.com/office/drawing/2014/main" id="{43E24495-70C3-45B6-8C60-9F37ADEA6D01}"/>
              </a:ext>
            </a:extLst>
          </p:cNvPr>
          <p:cNvSpPr>
            <a:spLocks noGrp="1"/>
          </p:cNvSpPr>
          <p:nvPr>
            <p:ph type="title"/>
          </p:nvPr>
        </p:nvSpPr>
        <p:spPr/>
        <p:txBody>
          <a:bodyPr vert="horz"/>
          <a:lstStyle/>
          <a:p>
            <a:r>
              <a:rPr lang="en-GB"/>
              <a:t>5 main risks </a:t>
            </a:r>
            <a:r>
              <a:rPr lang="en-GB">
                <a:solidFill>
                  <a:srgbClr val="8096B2"/>
                </a:solidFill>
              </a:rPr>
              <a:t>expected in the coming decades</a:t>
            </a:r>
            <a:br>
              <a:rPr lang="en-GB">
                <a:solidFill>
                  <a:srgbClr val="8096B2"/>
                </a:solidFill>
              </a:rPr>
            </a:br>
            <a:r>
              <a:rPr lang="en-GB">
                <a:cs typeface="Calibri" panose="020F0502020204030204" pitchFamily="34" charset="0"/>
              </a:rPr>
              <a:t>32 disruptions </a:t>
            </a:r>
            <a:r>
              <a:rPr lang="en-GB">
                <a:solidFill>
                  <a:srgbClr val="8096B2"/>
                </a:solidFill>
                <a:cs typeface="Calibri" panose="020F0502020204030204" pitchFamily="34" charset="0"/>
              </a:rPr>
              <a:t>identifie</a:t>
            </a:r>
            <a:r>
              <a:rPr lang="en-GB">
                <a:solidFill>
                  <a:srgbClr val="8096B2"/>
                </a:solidFill>
              </a:rPr>
              <a:t>d</a:t>
            </a:r>
            <a:endParaRPr lang="en-GB">
              <a:solidFill>
                <a:srgbClr val="8096B2"/>
              </a:solidFill>
              <a:cs typeface="Calibri" panose="020F0502020204030204" pitchFamily="34" charset="0"/>
            </a:endParaRPr>
          </a:p>
        </p:txBody>
      </p:sp>
      <p:grpSp>
        <p:nvGrpSpPr>
          <p:cNvPr id="17" name="Group 16">
            <a:extLst>
              <a:ext uri="{FF2B5EF4-FFF2-40B4-BE49-F238E27FC236}">
                <a16:creationId xmlns:a16="http://schemas.microsoft.com/office/drawing/2014/main" id="{379E975B-55C0-16A9-E724-F1AE697011AE}"/>
              </a:ext>
            </a:extLst>
          </p:cNvPr>
          <p:cNvGrpSpPr/>
          <p:nvPr/>
        </p:nvGrpSpPr>
        <p:grpSpPr>
          <a:xfrm>
            <a:off x="6056286" y="1324517"/>
            <a:ext cx="3635524" cy="4257707"/>
            <a:chOff x="6056286" y="1324517"/>
            <a:chExt cx="3635524" cy="4257707"/>
          </a:xfrm>
        </p:grpSpPr>
        <p:grpSp>
          <p:nvGrpSpPr>
            <p:cNvPr id="8" name="Group 7">
              <a:extLst>
                <a:ext uri="{FF2B5EF4-FFF2-40B4-BE49-F238E27FC236}">
                  <a16:creationId xmlns:a16="http://schemas.microsoft.com/office/drawing/2014/main" id="{324C48AC-7CA0-7D19-BE97-30C4F4C3C723}"/>
                </a:ext>
              </a:extLst>
            </p:cNvPr>
            <p:cNvGrpSpPr/>
            <p:nvPr/>
          </p:nvGrpSpPr>
          <p:grpSpPr>
            <a:xfrm>
              <a:off x="6056286" y="1752802"/>
              <a:ext cx="96118" cy="3082072"/>
              <a:chOff x="6153642" y="1752802"/>
              <a:chExt cx="96118" cy="3082072"/>
            </a:xfrm>
          </p:grpSpPr>
          <p:cxnSp>
            <p:nvCxnSpPr>
              <p:cNvPr id="721" name="Straight Connector 720">
                <a:extLst>
                  <a:ext uri="{FF2B5EF4-FFF2-40B4-BE49-F238E27FC236}">
                    <a16:creationId xmlns:a16="http://schemas.microsoft.com/office/drawing/2014/main" id="{0D37D601-F261-4F0D-9BA9-0A0F6B468AFD}"/>
                  </a:ext>
                </a:extLst>
              </p:cNvPr>
              <p:cNvCxnSpPr>
                <a:cxnSpLocks/>
              </p:cNvCxnSpPr>
              <p:nvPr/>
            </p:nvCxnSpPr>
            <p:spPr>
              <a:xfrm>
                <a:off x="6201701" y="1889753"/>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2" name="Straight Connector 721">
                <a:extLst>
                  <a:ext uri="{FF2B5EF4-FFF2-40B4-BE49-F238E27FC236}">
                    <a16:creationId xmlns:a16="http://schemas.microsoft.com/office/drawing/2014/main" id="{934FC313-ADA4-4A15-A9FD-4FFC9A8014E8}"/>
                  </a:ext>
                </a:extLst>
              </p:cNvPr>
              <p:cNvCxnSpPr>
                <a:cxnSpLocks/>
              </p:cNvCxnSpPr>
              <p:nvPr/>
            </p:nvCxnSpPr>
            <p:spPr>
              <a:xfrm>
                <a:off x="6201701" y="2636504"/>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3" name="Straight Connector 722">
                <a:extLst>
                  <a:ext uri="{FF2B5EF4-FFF2-40B4-BE49-F238E27FC236}">
                    <a16:creationId xmlns:a16="http://schemas.microsoft.com/office/drawing/2014/main" id="{E592C3DB-D37E-4517-8D21-ADF7CAB16832}"/>
                  </a:ext>
                </a:extLst>
              </p:cNvPr>
              <p:cNvCxnSpPr>
                <a:cxnSpLocks/>
              </p:cNvCxnSpPr>
              <p:nvPr/>
            </p:nvCxnSpPr>
            <p:spPr>
              <a:xfrm>
                <a:off x="6201701" y="3383256"/>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4" name="Straight Connector 723">
                <a:extLst>
                  <a:ext uri="{FF2B5EF4-FFF2-40B4-BE49-F238E27FC236}">
                    <a16:creationId xmlns:a16="http://schemas.microsoft.com/office/drawing/2014/main" id="{695FE7E9-1FFA-4FF8-8D76-8CC7CD1E1CCA}"/>
                  </a:ext>
                </a:extLst>
              </p:cNvPr>
              <p:cNvCxnSpPr>
                <a:cxnSpLocks/>
              </p:cNvCxnSpPr>
              <p:nvPr/>
            </p:nvCxnSpPr>
            <p:spPr>
              <a:xfrm>
                <a:off x="6201701" y="4130007"/>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2" name="Flowchart: Connector 811">
                <a:extLst>
                  <a:ext uri="{FF2B5EF4-FFF2-40B4-BE49-F238E27FC236}">
                    <a16:creationId xmlns:a16="http://schemas.microsoft.com/office/drawing/2014/main" id="{4EEBD9BA-D2EF-4605-A928-954E20A48DEE}"/>
                  </a:ext>
                </a:extLst>
              </p:cNvPr>
              <p:cNvSpPr/>
              <p:nvPr/>
            </p:nvSpPr>
            <p:spPr>
              <a:xfrm>
                <a:off x="6153642" y="1752802"/>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13" name="Flowchart: Connector 812">
                <a:extLst>
                  <a:ext uri="{FF2B5EF4-FFF2-40B4-BE49-F238E27FC236}">
                    <a16:creationId xmlns:a16="http://schemas.microsoft.com/office/drawing/2014/main" id="{4A686D7B-7073-4A44-A51A-6D96E3B6BB79}"/>
                  </a:ext>
                </a:extLst>
              </p:cNvPr>
              <p:cNvSpPr/>
              <p:nvPr/>
            </p:nvSpPr>
            <p:spPr>
              <a:xfrm>
                <a:off x="6153642" y="2500152"/>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14" name="Flowchart: Connector 813">
                <a:extLst>
                  <a:ext uri="{FF2B5EF4-FFF2-40B4-BE49-F238E27FC236}">
                    <a16:creationId xmlns:a16="http://schemas.microsoft.com/office/drawing/2014/main" id="{FF359380-3887-42B7-BD8C-C1FB18445186}"/>
                  </a:ext>
                </a:extLst>
              </p:cNvPr>
              <p:cNvSpPr/>
              <p:nvPr/>
            </p:nvSpPr>
            <p:spPr>
              <a:xfrm>
                <a:off x="6153642" y="3244199"/>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15" name="Flowchart: Connector 814">
                <a:extLst>
                  <a:ext uri="{FF2B5EF4-FFF2-40B4-BE49-F238E27FC236}">
                    <a16:creationId xmlns:a16="http://schemas.microsoft.com/office/drawing/2014/main" id="{19F25243-F31A-45EB-B434-4AF61B17F1C6}"/>
                  </a:ext>
                </a:extLst>
              </p:cNvPr>
              <p:cNvSpPr/>
              <p:nvPr/>
            </p:nvSpPr>
            <p:spPr>
              <a:xfrm>
                <a:off x="6153642" y="3991549"/>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816" name="Flowchart: Connector 815">
                <a:extLst>
                  <a:ext uri="{FF2B5EF4-FFF2-40B4-BE49-F238E27FC236}">
                    <a16:creationId xmlns:a16="http://schemas.microsoft.com/office/drawing/2014/main" id="{9B55E1D5-9E66-48BA-8379-53D1527FB419}"/>
                  </a:ext>
                </a:extLst>
              </p:cNvPr>
              <p:cNvSpPr/>
              <p:nvPr/>
            </p:nvSpPr>
            <p:spPr>
              <a:xfrm>
                <a:off x="6153642" y="4738756"/>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grpSp>
        <p:grpSp>
          <p:nvGrpSpPr>
            <p:cNvPr id="15" name="Group 14">
              <a:extLst>
                <a:ext uri="{FF2B5EF4-FFF2-40B4-BE49-F238E27FC236}">
                  <a16:creationId xmlns:a16="http://schemas.microsoft.com/office/drawing/2014/main" id="{14016004-FC12-A58F-6162-9A1A7B6BFCD6}"/>
                </a:ext>
              </a:extLst>
            </p:cNvPr>
            <p:cNvGrpSpPr/>
            <p:nvPr/>
          </p:nvGrpSpPr>
          <p:grpSpPr>
            <a:xfrm>
              <a:off x="6243798" y="1324517"/>
              <a:ext cx="3448012" cy="4257707"/>
              <a:chOff x="6243798" y="1324517"/>
              <a:chExt cx="3448012" cy="4257707"/>
            </a:xfrm>
          </p:grpSpPr>
          <p:cxnSp>
            <p:nvCxnSpPr>
              <p:cNvPr id="296" name="Straight Connector 295">
                <a:extLst>
                  <a:ext uri="{FF2B5EF4-FFF2-40B4-BE49-F238E27FC236}">
                    <a16:creationId xmlns:a16="http://schemas.microsoft.com/office/drawing/2014/main" id="{34C7BAF6-0403-463D-894A-35AC1EB7C804}"/>
                  </a:ext>
                </a:extLst>
              </p:cNvPr>
              <p:cNvCxnSpPr>
                <a:cxnSpLocks/>
              </p:cNvCxnSpPr>
              <p:nvPr/>
            </p:nvCxnSpPr>
            <p:spPr>
              <a:xfrm>
                <a:off x="6243798" y="1688230"/>
                <a:ext cx="3448012"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2" name="Rectangle 661">
                <a:extLst>
                  <a:ext uri="{FF2B5EF4-FFF2-40B4-BE49-F238E27FC236}">
                    <a16:creationId xmlns:a16="http://schemas.microsoft.com/office/drawing/2014/main" id="{245367AC-3242-4117-9381-3F7CCE4860F8}"/>
                  </a:ext>
                </a:extLst>
              </p:cNvPr>
              <p:cNvSpPr/>
              <p:nvPr/>
            </p:nvSpPr>
            <p:spPr>
              <a:xfrm>
                <a:off x="7003028" y="1324517"/>
                <a:ext cx="1929550" cy="362014"/>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8096B2"/>
                    </a:solidFill>
                    <a:effectLst/>
                    <a:uLnTx/>
                    <a:uFillTx/>
                    <a:latin typeface="MMC Display Condensed"/>
                    <a:ea typeface="+mn-ea"/>
                    <a:cs typeface="Calibri" panose="020F0502020204030204" pitchFamily="34" charset="0"/>
                  </a:rPr>
                  <a:t>Societal </a:t>
                </a:r>
              </a:p>
            </p:txBody>
          </p:sp>
          <p:sp>
            <p:nvSpPr>
              <p:cNvPr id="670" name="Rectangle 669">
                <a:extLst>
                  <a:ext uri="{FF2B5EF4-FFF2-40B4-BE49-F238E27FC236}">
                    <a16:creationId xmlns:a16="http://schemas.microsoft.com/office/drawing/2014/main" id="{7F600801-C368-411E-8464-135F152DBA91}"/>
                  </a:ext>
                </a:extLst>
              </p:cNvPr>
              <p:cNvSpPr>
                <a:spLocks/>
              </p:cNvSpPr>
              <p:nvPr/>
            </p:nvSpPr>
            <p:spPr>
              <a:xfrm>
                <a:off x="6243798"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8096B2"/>
                    </a:solidFill>
                    <a:effectLst/>
                    <a:uLnTx/>
                    <a:uFillTx/>
                    <a:latin typeface="Calibri"/>
                    <a:ea typeface="+mn-ea"/>
                    <a:cs typeface="Calibri" panose="020F0502020204030204" pitchFamily="34" charset="0"/>
                  </a:rPr>
                  <a:t>Collapse or lack of public infrastructure and services</a:t>
                </a:r>
              </a:p>
            </p:txBody>
          </p:sp>
          <p:sp>
            <p:nvSpPr>
              <p:cNvPr id="681" name="Rectangle 680">
                <a:extLst>
                  <a:ext uri="{FF2B5EF4-FFF2-40B4-BE49-F238E27FC236}">
                    <a16:creationId xmlns:a16="http://schemas.microsoft.com/office/drawing/2014/main" id="{4AE0484A-2224-4399-8631-8674BECDC24B}"/>
                  </a:ext>
                </a:extLst>
              </p:cNvPr>
              <p:cNvSpPr>
                <a:spLocks/>
              </p:cNvSpPr>
              <p:nvPr/>
            </p:nvSpPr>
            <p:spPr>
              <a:xfrm>
                <a:off x="6243798" y="261309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8096B2"/>
                    </a:solidFill>
                    <a:effectLst/>
                    <a:uLnTx/>
                    <a:uFillTx/>
                    <a:latin typeface="Calibri"/>
                    <a:ea typeface="+mn-ea"/>
                    <a:cs typeface="Calibri" panose="020F0502020204030204" pitchFamily="34" charset="0"/>
                  </a:rPr>
                  <a:t>Severe mental health deterioration</a:t>
                </a:r>
              </a:p>
            </p:txBody>
          </p:sp>
          <p:sp>
            <p:nvSpPr>
              <p:cNvPr id="687" name="Rectangle 686">
                <a:extLst>
                  <a:ext uri="{FF2B5EF4-FFF2-40B4-BE49-F238E27FC236}">
                    <a16:creationId xmlns:a16="http://schemas.microsoft.com/office/drawing/2014/main" id="{9686EA5C-3D74-4A90-9448-0D28B64AE4E4}"/>
                  </a:ext>
                </a:extLst>
              </p:cNvPr>
              <p:cNvSpPr>
                <a:spLocks/>
              </p:cNvSpPr>
              <p:nvPr/>
            </p:nvSpPr>
            <p:spPr>
              <a:xfrm>
                <a:off x="6243798" y="3357141"/>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8096B2"/>
                    </a:solidFill>
                    <a:effectLst/>
                    <a:uLnTx/>
                    <a:uFillTx/>
                    <a:latin typeface="Calibri"/>
                    <a:ea typeface="+mn-ea"/>
                    <a:cs typeface="Calibri" panose="020F0502020204030204" pitchFamily="34" charset="0"/>
                  </a:rPr>
                  <a:t>Erosion of social cohesion and polarization</a:t>
                </a:r>
              </a:p>
            </p:txBody>
          </p:sp>
          <p:sp>
            <p:nvSpPr>
              <p:cNvPr id="693" name="Rectangle 692">
                <a:extLst>
                  <a:ext uri="{FF2B5EF4-FFF2-40B4-BE49-F238E27FC236}">
                    <a16:creationId xmlns:a16="http://schemas.microsoft.com/office/drawing/2014/main" id="{38E387AA-8F38-4C20-8477-822331903AB6}"/>
                  </a:ext>
                </a:extLst>
              </p:cNvPr>
              <p:cNvSpPr>
                <a:spLocks/>
              </p:cNvSpPr>
              <p:nvPr/>
            </p:nvSpPr>
            <p:spPr>
              <a:xfrm>
                <a:off x="6243798" y="4104491"/>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8096B2"/>
                    </a:solidFill>
                    <a:effectLst/>
                    <a:uLnTx/>
                    <a:uFillTx/>
                    <a:latin typeface="Calibri"/>
                    <a:ea typeface="+mn-ea"/>
                    <a:cs typeface="Calibri" panose="020F0502020204030204" pitchFamily="34" charset="0"/>
                  </a:rPr>
                  <a:t>Cost-of-living crisis</a:t>
                </a:r>
              </a:p>
            </p:txBody>
          </p:sp>
          <p:cxnSp>
            <p:nvCxnSpPr>
              <p:cNvPr id="754" name="Straight Connector 753">
                <a:extLst>
                  <a:ext uri="{FF2B5EF4-FFF2-40B4-BE49-F238E27FC236}">
                    <a16:creationId xmlns:a16="http://schemas.microsoft.com/office/drawing/2014/main" id="{B1DC2422-EDA2-4F56-A29A-A6F735B15035}"/>
                  </a:ext>
                </a:extLst>
              </p:cNvPr>
              <p:cNvCxnSpPr>
                <a:cxnSpLocks/>
              </p:cNvCxnSpPr>
              <p:nvPr/>
            </p:nvCxnSpPr>
            <p:spPr>
              <a:xfrm>
                <a:off x="6243798" y="2536861"/>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B59017BE-2BD3-4905-BD67-A1FA03D5B4B9}"/>
                  </a:ext>
                </a:extLst>
              </p:cNvPr>
              <p:cNvCxnSpPr>
                <a:cxnSpLocks/>
              </p:cNvCxnSpPr>
              <p:nvPr/>
            </p:nvCxnSpPr>
            <p:spPr>
              <a:xfrm>
                <a:off x="6243798" y="328166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6" name="Straight Connector 765">
                <a:extLst>
                  <a:ext uri="{FF2B5EF4-FFF2-40B4-BE49-F238E27FC236}">
                    <a16:creationId xmlns:a16="http://schemas.microsoft.com/office/drawing/2014/main" id="{178BECDB-4CD2-43D1-ACE0-FCA171CD2BAA}"/>
                  </a:ext>
                </a:extLst>
              </p:cNvPr>
              <p:cNvCxnSpPr>
                <a:cxnSpLocks/>
              </p:cNvCxnSpPr>
              <p:nvPr/>
            </p:nvCxnSpPr>
            <p:spPr>
              <a:xfrm>
                <a:off x="6243798" y="4023888"/>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3" name="Straight Connector 772">
                <a:extLst>
                  <a:ext uri="{FF2B5EF4-FFF2-40B4-BE49-F238E27FC236}">
                    <a16:creationId xmlns:a16="http://schemas.microsoft.com/office/drawing/2014/main" id="{D29BAFCC-C375-4035-AE4B-6EB7C200520C}"/>
                  </a:ext>
                </a:extLst>
              </p:cNvPr>
              <p:cNvCxnSpPr>
                <a:cxnSpLocks/>
              </p:cNvCxnSpPr>
              <p:nvPr/>
            </p:nvCxnSpPr>
            <p:spPr>
              <a:xfrm>
                <a:off x="6243798" y="478020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27" name="ico-ambulance">
                <a:extLst>
                  <a:ext uri="{FF2B5EF4-FFF2-40B4-BE49-F238E27FC236}">
                    <a16:creationId xmlns:a16="http://schemas.microsoft.com/office/drawing/2014/main" id="{F0976F78-0384-48BC-B539-AAB01538A523}"/>
                  </a:ext>
                </a:extLst>
              </p:cNvPr>
              <p:cNvPicPr>
                <a:picLocks noChangeAspect="1"/>
              </p:cNvPicPr>
              <p:nvPr/>
            </p:nvPicPr>
            <p:blipFill>
              <a:blip r:embed="rId56">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7519563" y="3645006"/>
                <a:ext cx="308788" cy="308788"/>
              </a:xfrm>
              <a:prstGeom prst="rect">
                <a:avLst/>
              </a:prstGeom>
            </p:spPr>
          </p:pic>
          <p:pic>
            <p:nvPicPr>
              <p:cNvPr id="306" name="ico-bag-remove-19">
                <a:extLst>
                  <a:ext uri="{FF2B5EF4-FFF2-40B4-BE49-F238E27FC236}">
                    <a16:creationId xmlns:a16="http://schemas.microsoft.com/office/drawing/2014/main" id="{D8564B77-07C9-4772-9688-A2299A46E95F}"/>
                  </a:ext>
                </a:extLst>
              </p:cNvPr>
              <p:cNvPicPr>
                <a:picLocks noChangeAspect="1"/>
              </p:cNvPicPr>
              <p:nvPr/>
            </p:nvPicPr>
            <p:blipFill>
              <a:blip r:embed="rId58">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7519563" y="4392356"/>
                <a:ext cx="308788" cy="308788"/>
              </a:xfrm>
              <a:prstGeom prst="rect">
                <a:avLst/>
              </a:prstGeom>
            </p:spPr>
          </p:pic>
          <p:sp>
            <p:nvSpPr>
              <p:cNvPr id="278" name="Rectangle 277">
                <a:extLst>
                  <a:ext uri="{FF2B5EF4-FFF2-40B4-BE49-F238E27FC236}">
                    <a16:creationId xmlns:a16="http://schemas.microsoft.com/office/drawing/2014/main" id="{402F8717-6286-49AC-96D9-3EA8A5E5FC3E}"/>
                  </a:ext>
                </a:extLst>
              </p:cNvPr>
              <p:cNvSpPr>
                <a:spLocks/>
              </p:cNvSpPr>
              <p:nvPr/>
            </p:nvSpPr>
            <p:spPr>
              <a:xfrm>
                <a:off x="8107257"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8096B2"/>
                    </a:solidFill>
                    <a:effectLst/>
                    <a:uLnTx/>
                    <a:uFillTx/>
                    <a:latin typeface="Calibri"/>
                    <a:ea typeface="+mn-ea"/>
                    <a:cs typeface="Calibri" panose="020F0502020204030204" pitchFamily="34" charset="0"/>
                  </a:rPr>
                  <a:t>Infectious diseases</a:t>
                </a:r>
              </a:p>
            </p:txBody>
          </p:sp>
          <p:sp>
            <p:nvSpPr>
              <p:cNvPr id="279" name="Rectangle 278">
                <a:extLst>
                  <a:ext uri="{FF2B5EF4-FFF2-40B4-BE49-F238E27FC236}">
                    <a16:creationId xmlns:a16="http://schemas.microsoft.com/office/drawing/2014/main" id="{34514C02-496A-4FC1-9029-73B45AA9E315}"/>
                  </a:ext>
                </a:extLst>
              </p:cNvPr>
              <p:cNvSpPr>
                <a:spLocks/>
              </p:cNvSpPr>
              <p:nvPr/>
            </p:nvSpPr>
            <p:spPr>
              <a:xfrm>
                <a:off x="8107257" y="261309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8096B2"/>
                    </a:solidFill>
                    <a:effectLst/>
                    <a:uLnTx/>
                    <a:uFillTx/>
                    <a:latin typeface="Calibri"/>
                    <a:ea typeface="+mn-ea"/>
                    <a:cs typeface="Calibri" panose="020F0502020204030204" pitchFamily="34" charset="0"/>
                  </a:rPr>
                  <a:t>Chronic diseases and health conditions</a:t>
                </a:r>
              </a:p>
            </p:txBody>
          </p:sp>
          <p:sp>
            <p:nvSpPr>
              <p:cNvPr id="280" name="Rectangle 279">
                <a:extLst>
                  <a:ext uri="{FF2B5EF4-FFF2-40B4-BE49-F238E27FC236}">
                    <a16:creationId xmlns:a16="http://schemas.microsoft.com/office/drawing/2014/main" id="{BF2C4276-87C5-415C-B146-F70AAD27968A}"/>
                  </a:ext>
                </a:extLst>
              </p:cNvPr>
              <p:cNvSpPr>
                <a:spLocks/>
              </p:cNvSpPr>
              <p:nvPr/>
            </p:nvSpPr>
            <p:spPr>
              <a:xfrm>
                <a:off x="8107257" y="3357142"/>
                <a:ext cx="1584553" cy="548390"/>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8096B2"/>
                    </a:solidFill>
                    <a:effectLst/>
                    <a:uLnTx/>
                    <a:uFillTx/>
                    <a:latin typeface="Calibri"/>
                    <a:ea typeface="+mn-ea"/>
                    <a:cs typeface="Calibri" panose="020F0502020204030204" pitchFamily="34" charset="0"/>
                  </a:rPr>
                  <a:t>Employment crisis</a:t>
                </a:r>
              </a:p>
            </p:txBody>
          </p:sp>
          <p:sp>
            <p:nvSpPr>
              <p:cNvPr id="281" name="Rectangle 280">
                <a:extLst>
                  <a:ext uri="{FF2B5EF4-FFF2-40B4-BE49-F238E27FC236}">
                    <a16:creationId xmlns:a16="http://schemas.microsoft.com/office/drawing/2014/main" id="{3A882B7B-0D91-442B-9537-A4ACF5C75F14}"/>
                  </a:ext>
                </a:extLst>
              </p:cNvPr>
              <p:cNvSpPr>
                <a:spLocks/>
              </p:cNvSpPr>
              <p:nvPr/>
            </p:nvSpPr>
            <p:spPr>
              <a:xfrm>
                <a:off x="8107257" y="4104491"/>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8096B2"/>
                    </a:solidFill>
                    <a:effectLst/>
                    <a:uLnTx/>
                    <a:uFillTx/>
                    <a:latin typeface="Calibri"/>
                    <a:ea typeface="+mn-ea"/>
                    <a:cs typeface="Calibri" panose="020F0502020204030204" pitchFamily="34" charset="0"/>
                  </a:rPr>
                  <a:t>Misinformation and disinformation</a:t>
                </a:r>
              </a:p>
            </p:txBody>
          </p:sp>
          <p:cxnSp>
            <p:nvCxnSpPr>
              <p:cNvPr id="290" name="Straight Connector 289">
                <a:extLst>
                  <a:ext uri="{FF2B5EF4-FFF2-40B4-BE49-F238E27FC236}">
                    <a16:creationId xmlns:a16="http://schemas.microsoft.com/office/drawing/2014/main" id="{A5CFDB90-4317-4F86-B321-A088C842CF50}"/>
                  </a:ext>
                </a:extLst>
              </p:cNvPr>
              <p:cNvCxnSpPr>
                <a:cxnSpLocks/>
              </p:cNvCxnSpPr>
              <p:nvPr/>
            </p:nvCxnSpPr>
            <p:spPr>
              <a:xfrm>
                <a:off x="8107257" y="2536861"/>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10698A1F-733E-439B-A5DB-0ECBD5C23B51}"/>
                  </a:ext>
                </a:extLst>
              </p:cNvPr>
              <p:cNvCxnSpPr>
                <a:cxnSpLocks/>
              </p:cNvCxnSpPr>
              <p:nvPr/>
            </p:nvCxnSpPr>
            <p:spPr>
              <a:xfrm>
                <a:off x="8107257" y="3281660"/>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FCBBC122-2589-4AB7-AA3D-735FF585294A}"/>
                  </a:ext>
                </a:extLst>
              </p:cNvPr>
              <p:cNvCxnSpPr>
                <a:cxnSpLocks/>
              </p:cNvCxnSpPr>
              <p:nvPr/>
            </p:nvCxnSpPr>
            <p:spPr>
              <a:xfrm>
                <a:off x="8107257" y="4023888"/>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2F5E8B25-1E46-4A12-AC0F-979B8E224DD6}"/>
                  </a:ext>
                </a:extLst>
              </p:cNvPr>
              <p:cNvCxnSpPr>
                <a:cxnSpLocks/>
              </p:cNvCxnSpPr>
              <p:nvPr/>
            </p:nvCxnSpPr>
            <p:spPr>
              <a:xfrm>
                <a:off x="8107257" y="478020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60F2450-8D44-2730-8CBE-1CF3940387CE}"/>
                  </a:ext>
                </a:extLst>
              </p:cNvPr>
              <p:cNvGrpSpPr/>
              <p:nvPr/>
            </p:nvGrpSpPr>
            <p:grpSpPr>
              <a:xfrm>
                <a:off x="7919745" y="1752802"/>
                <a:ext cx="96118" cy="3082072"/>
                <a:chOff x="7994539" y="1752802"/>
                <a:chExt cx="96118" cy="3082072"/>
              </a:xfrm>
            </p:grpSpPr>
            <p:cxnSp>
              <p:nvCxnSpPr>
                <p:cNvPr id="284" name="Straight Connector 283">
                  <a:extLst>
                    <a:ext uri="{FF2B5EF4-FFF2-40B4-BE49-F238E27FC236}">
                      <a16:creationId xmlns:a16="http://schemas.microsoft.com/office/drawing/2014/main" id="{FE8BC1D0-5A5C-4133-B5E6-F1AF9CD924D2}"/>
                    </a:ext>
                  </a:extLst>
                </p:cNvPr>
                <p:cNvCxnSpPr>
                  <a:cxnSpLocks/>
                </p:cNvCxnSpPr>
                <p:nvPr/>
              </p:nvCxnSpPr>
              <p:spPr>
                <a:xfrm>
                  <a:off x="8042598" y="1889753"/>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B0825B29-02B2-43E8-9BF1-3B8200ED27B6}"/>
                    </a:ext>
                  </a:extLst>
                </p:cNvPr>
                <p:cNvCxnSpPr>
                  <a:cxnSpLocks/>
                </p:cNvCxnSpPr>
                <p:nvPr/>
              </p:nvCxnSpPr>
              <p:spPr>
                <a:xfrm>
                  <a:off x="8042598" y="2636504"/>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CE817916-8951-4EEB-9959-1B8D7B8DC306}"/>
                    </a:ext>
                  </a:extLst>
                </p:cNvPr>
                <p:cNvCxnSpPr>
                  <a:cxnSpLocks/>
                </p:cNvCxnSpPr>
                <p:nvPr/>
              </p:nvCxnSpPr>
              <p:spPr>
                <a:xfrm>
                  <a:off x="8042598" y="3383256"/>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ED30D4E1-9820-490A-929D-E1AE1D9E694E}"/>
                    </a:ext>
                  </a:extLst>
                </p:cNvPr>
                <p:cNvCxnSpPr>
                  <a:cxnSpLocks/>
                </p:cNvCxnSpPr>
                <p:nvPr/>
              </p:nvCxnSpPr>
              <p:spPr>
                <a:xfrm>
                  <a:off x="8042598" y="4130007"/>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7" name="Flowchart: Connector 296">
                  <a:extLst>
                    <a:ext uri="{FF2B5EF4-FFF2-40B4-BE49-F238E27FC236}">
                      <a16:creationId xmlns:a16="http://schemas.microsoft.com/office/drawing/2014/main" id="{952D34F1-FA09-4079-855F-9F1C91F4D1AE}"/>
                    </a:ext>
                  </a:extLst>
                </p:cNvPr>
                <p:cNvSpPr/>
                <p:nvPr/>
              </p:nvSpPr>
              <p:spPr>
                <a:xfrm>
                  <a:off x="7994539" y="1752802"/>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298" name="Flowchart: Connector 297">
                  <a:extLst>
                    <a:ext uri="{FF2B5EF4-FFF2-40B4-BE49-F238E27FC236}">
                      <a16:creationId xmlns:a16="http://schemas.microsoft.com/office/drawing/2014/main" id="{C4546F0A-4E67-4FFF-83ED-AC007E000270}"/>
                    </a:ext>
                  </a:extLst>
                </p:cNvPr>
                <p:cNvSpPr/>
                <p:nvPr/>
              </p:nvSpPr>
              <p:spPr>
                <a:xfrm>
                  <a:off x="7994539" y="2500152"/>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299" name="Flowchart: Connector 298">
                  <a:extLst>
                    <a:ext uri="{FF2B5EF4-FFF2-40B4-BE49-F238E27FC236}">
                      <a16:creationId xmlns:a16="http://schemas.microsoft.com/office/drawing/2014/main" id="{954E99A6-196D-4059-BB3D-3D12F3D0910E}"/>
                    </a:ext>
                  </a:extLst>
                </p:cNvPr>
                <p:cNvSpPr/>
                <p:nvPr/>
              </p:nvSpPr>
              <p:spPr>
                <a:xfrm>
                  <a:off x="7994539" y="3244199"/>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300" name="Flowchart: Connector 299">
                  <a:extLst>
                    <a:ext uri="{FF2B5EF4-FFF2-40B4-BE49-F238E27FC236}">
                      <a16:creationId xmlns:a16="http://schemas.microsoft.com/office/drawing/2014/main" id="{CF6374EC-BF5A-4A7C-8834-DD0F22DB7BCF}"/>
                    </a:ext>
                  </a:extLst>
                </p:cNvPr>
                <p:cNvSpPr/>
                <p:nvPr/>
              </p:nvSpPr>
              <p:spPr>
                <a:xfrm>
                  <a:off x="7994539" y="3991549"/>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301" name="Flowchart: Connector 300">
                  <a:extLst>
                    <a:ext uri="{FF2B5EF4-FFF2-40B4-BE49-F238E27FC236}">
                      <a16:creationId xmlns:a16="http://schemas.microsoft.com/office/drawing/2014/main" id="{BC6A437B-9775-4BC5-AF73-C580E5E2FC80}"/>
                    </a:ext>
                  </a:extLst>
                </p:cNvPr>
                <p:cNvSpPr/>
                <p:nvPr/>
              </p:nvSpPr>
              <p:spPr>
                <a:xfrm>
                  <a:off x="7994539" y="4738756"/>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grpSp>
          <p:pic>
            <p:nvPicPr>
              <p:cNvPr id="237" name="ico-folder-question">
                <a:extLst>
                  <a:ext uri="{FF2B5EF4-FFF2-40B4-BE49-F238E27FC236}">
                    <a16:creationId xmlns:a16="http://schemas.microsoft.com/office/drawing/2014/main" id="{69F111CF-D814-4DA7-BD9C-498BE9A63350}"/>
                  </a:ext>
                </a:extLst>
              </p:cNvPr>
              <p:cNvPicPr>
                <a:picLocks noChangeAspect="1"/>
              </p:cNvPicPr>
              <p:nvPr/>
            </p:nvPicPr>
            <p:blipFill>
              <a:blip r:embed="rId60">
                <a:extLst>
                  <a:ext uri="{28A0092B-C50C-407E-A947-70E740481C1C}">
                    <a14:useLocalDpi xmlns:a14="http://schemas.microsoft.com/office/drawing/2010/main"/>
                  </a:ext>
                  <a:ext uri="{96DAC541-7B7A-43D3-8B79-37D633B846F1}">
                    <asvg:svgBlip xmlns:asvg="http://schemas.microsoft.com/office/drawing/2016/SVG/main" r:embed="rId61"/>
                  </a:ext>
                </a:extLst>
              </a:blip>
              <a:stretch>
                <a:fillRect/>
              </a:stretch>
            </p:blipFill>
            <p:spPr>
              <a:xfrm>
                <a:off x="9374533" y="4383867"/>
                <a:ext cx="317277" cy="317277"/>
              </a:xfrm>
              <a:prstGeom prst="rect">
                <a:avLst/>
              </a:prstGeom>
            </p:spPr>
          </p:pic>
          <p:grpSp>
            <p:nvGrpSpPr>
              <p:cNvPr id="26" name="Group 25">
                <a:extLst>
                  <a:ext uri="{FF2B5EF4-FFF2-40B4-BE49-F238E27FC236}">
                    <a16:creationId xmlns:a16="http://schemas.microsoft.com/office/drawing/2014/main" id="{698D29BA-E2B6-FE30-E592-ED396FCA2F4F}"/>
                  </a:ext>
                </a:extLst>
              </p:cNvPr>
              <p:cNvGrpSpPr/>
              <p:nvPr/>
            </p:nvGrpSpPr>
            <p:grpSpPr>
              <a:xfrm>
                <a:off x="7101354" y="4851697"/>
                <a:ext cx="1735701" cy="730527"/>
                <a:chOff x="7051114" y="4851697"/>
                <a:chExt cx="1735701" cy="730527"/>
              </a:xfrm>
            </p:grpSpPr>
            <p:sp>
              <p:nvSpPr>
                <p:cNvPr id="282" name="Rectangle 281">
                  <a:extLst>
                    <a:ext uri="{FF2B5EF4-FFF2-40B4-BE49-F238E27FC236}">
                      <a16:creationId xmlns:a16="http://schemas.microsoft.com/office/drawing/2014/main" id="{9DBF7230-D50E-4256-9374-B8C9311084E5}"/>
                    </a:ext>
                  </a:extLst>
                </p:cNvPr>
                <p:cNvSpPr>
                  <a:spLocks/>
                </p:cNvSpPr>
                <p:nvPr/>
              </p:nvSpPr>
              <p:spPr>
                <a:xfrm>
                  <a:off x="7202262" y="4851697"/>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rgbClr val="8096B2"/>
                      </a:solidFill>
                      <a:effectLst/>
                      <a:uLnTx/>
                      <a:uFillTx/>
                      <a:latin typeface="Calibri"/>
                      <a:ea typeface="+mn-ea"/>
                      <a:cs typeface="Calibri" panose="020F0502020204030204" pitchFamily="34" charset="0"/>
                    </a:rPr>
                    <a:t>Large-scale involuntary migration</a:t>
                  </a:r>
                </a:p>
              </p:txBody>
            </p:sp>
            <p:cxnSp>
              <p:nvCxnSpPr>
                <p:cNvPr id="288" name="Straight Connector 287">
                  <a:extLst>
                    <a:ext uri="{FF2B5EF4-FFF2-40B4-BE49-F238E27FC236}">
                      <a16:creationId xmlns:a16="http://schemas.microsoft.com/office/drawing/2014/main" id="{50CE0D29-6695-4979-B632-ED002BF8D222}"/>
                    </a:ext>
                  </a:extLst>
                </p:cNvPr>
                <p:cNvCxnSpPr>
                  <a:cxnSpLocks/>
                </p:cNvCxnSpPr>
                <p:nvPr/>
              </p:nvCxnSpPr>
              <p:spPr>
                <a:xfrm>
                  <a:off x="7099173" y="4876758"/>
                  <a:ext cx="0" cy="568967"/>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0DA09CBA-F55F-41D6-92E2-4D0E72620705}"/>
                    </a:ext>
                  </a:extLst>
                </p:cNvPr>
                <p:cNvCxnSpPr>
                  <a:cxnSpLocks/>
                </p:cNvCxnSpPr>
                <p:nvPr/>
              </p:nvCxnSpPr>
              <p:spPr>
                <a:xfrm>
                  <a:off x="7202262" y="5526337"/>
                  <a:ext cx="1584553" cy="0"/>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2" name="Flowchart: Connector 301">
                  <a:extLst>
                    <a:ext uri="{FF2B5EF4-FFF2-40B4-BE49-F238E27FC236}">
                      <a16:creationId xmlns:a16="http://schemas.microsoft.com/office/drawing/2014/main" id="{C7E3A239-9707-48EE-9143-AA23F0B35260}"/>
                    </a:ext>
                  </a:extLst>
                </p:cNvPr>
                <p:cNvSpPr/>
                <p:nvPr/>
              </p:nvSpPr>
              <p:spPr>
                <a:xfrm>
                  <a:off x="7051114" y="5486106"/>
                  <a:ext cx="96118" cy="96118"/>
                </a:xfrm>
                <a:prstGeom prst="flowChartConnector">
                  <a:avLst/>
                </a:prstGeom>
                <a:solidFill>
                  <a:srgbClr val="8096B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pic>
              <p:nvPicPr>
                <p:cNvPr id="235" name="ico-a-remove">
                  <a:extLst>
                    <a:ext uri="{FF2B5EF4-FFF2-40B4-BE49-F238E27FC236}">
                      <a16:creationId xmlns:a16="http://schemas.microsoft.com/office/drawing/2014/main" id="{7B188CDB-6B6C-4915-B3DB-426999C883A5}"/>
                    </a:ext>
                  </a:extLst>
                </p:cNvPr>
                <p:cNvPicPr>
                  <a:picLocks noChangeAspect="1"/>
                </p:cNvPicPr>
                <p:nvPr/>
              </p:nvPicPr>
              <p:blipFill>
                <a:blip r:embed="rId62">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8444967" y="5106503"/>
                  <a:ext cx="341847" cy="341847"/>
                </a:xfrm>
                <a:prstGeom prst="rect">
                  <a:avLst/>
                </a:prstGeom>
              </p:spPr>
            </p:pic>
          </p:grpSp>
          <p:pic>
            <p:nvPicPr>
              <p:cNvPr id="234" name="ico-sf-bridge">
                <a:extLst>
                  <a:ext uri="{FF2B5EF4-FFF2-40B4-BE49-F238E27FC236}">
                    <a16:creationId xmlns:a16="http://schemas.microsoft.com/office/drawing/2014/main" id="{40C94164-DDEC-4192-B40D-22CD1DAC698F}"/>
                  </a:ext>
                </a:extLst>
              </p:cNvPr>
              <p:cNvPicPr>
                <a:picLocks noChangeAspect="1"/>
              </p:cNvPicPr>
              <p:nvPr/>
            </p:nvPicPr>
            <p:blipFill>
              <a:blip r:embed="rId64">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a:off x="7519563" y="2153608"/>
                <a:ext cx="308788" cy="308788"/>
              </a:xfrm>
              <a:prstGeom prst="rect">
                <a:avLst/>
              </a:prstGeom>
            </p:spPr>
          </p:pic>
          <p:pic>
            <p:nvPicPr>
              <p:cNvPr id="236" name="ico-virus">
                <a:extLst>
                  <a:ext uri="{FF2B5EF4-FFF2-40B4-BE49-F238E27FC236}">
                    <a16:creationId xmlns:a16="http://schemas.microsoft.com/office/drawing/2014/main" id="{5D5F029E-EB1A-4137-8582-607D760D88D1}"/>
                  </a:ext>
                </a:extLst>
              </p:cNvPr>
              <p:cNvPicPr>
                <a:picLocks noChangeAspect="1"/>
              </p:cNvPicPr>
              <p:nvPr/>
            </p:nvPicPr>
            <p:blipFill>
              <a:blip r:embed="rId66">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9305100" y="2075686"/>
                <a:ext cx="386710" cy="386710"/>
              </a:xfrm>
              <a:prstGeom prst="rect">
                <a:avLst/>
              </a:prstGeom>
            </p:spPr>
          </p:pic>
          <p:pic>
            <p:nvPicPr>
              <p:cNvPr id="305" name="ico-ambulance">
                <a:extLst>
                  <a:ext uri="{FF2B5EF4-FFF2-40B4-BE49-F238E27FC236}">
                    <a16:creationId xmlns:a16="http://schemas.microsoft.com/office/drawing/2014/main" id="{A3B59122-198F-4B21-B23C-C20C36BC9859}"/>
                  </a:ext>
                </a:extLst>
              </p:cNvPr>
              <p:cNvPicPr>
                <a:picLocks noChangeAspect="1"/>
              </p:cNvPicPr>
              <p:nvPr/>
            </p:nvPicPr>
            <p:blipFill>
              <a:blip r:embed="rId56">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9305100" y="2823036"/>
                <a:ext cx="386710" cy="386710"/>
              </a:xfrm>
              <a:prstGeom prst="rect">
                <a:avLst/>
              </a:prstGeom>
            </p:spPr>
          </p:pic>
          <p:pic>
            <p:nvPicPr>
              <p:cNvPr id="854" name="ico-customer-experience">
                <a:extLst>
                  <a:ext uri="{FF2B5EF4-FFF2-40B4-BE49-F238E27FC236}">
                    <a16:creationId xmlns:a16="http://schemas.microsoft.com/office/drawing/2014/main" id="{780FB874-486B-437F-AB0E-608C9CC2708F}"/>
                  </a:ext>
                </a:extLst>
              </p:cNvPr>
              <p:cNvPicPr>
                <a:picLocks noChangeAspect="1"/>
              </p:cNvPicPr>
              <p:nvPr/>
            </p:nvPicPr>
            <p:blipFill>
              <a:blip r:embed="rId68">
                <a:extLst>
                  <a:ext uri="{28A0092B-C50C-407E-A947-70E740481C1C}">
                    <a14:useLocalDpi xmlns:a14="http://schemas.microsoft.com/office/drawing/2010/main"/>
                  </a:ext>
                  <a:ext uri="{96DAC541-7B7A-43D3-8B79-37D633B846F1}">
                    <asvg:svgBlip xmlns:asvg="http://schemas.microsoft.com/office/drawing/2016/SVG/main" r:embed="rId69"/>
                  </a:ext>
                </a:extLst>
              </a:blip>
              <a:stretch>
                <a:fillRect/>
              </a:stretch>
            </p:blipFill>
            <p:spPr>
              <a:xfrm>
                <a:off x="7519563" y="2900958"/>
                <a:ext cx="308788" cy="308788"/>
              </a:xfrm>
              <a:prstGeom prst="rect">
                <a:avLst/>
              </a:prstGeom>
            </p:spPr>
          </p:pic>
          <p:pic>
            <p:nvPicPr>
              <p:cNvPr id="820" name="ico-meeting">
                <a:extLst>
                  <a:ext uri="{FF2B5EF4-FFF2-40B4-BE49-F238E27FC236}">
                    <a16:creationId xmlns:a16="http://schemas.microsoft.com/office/drawing/2014/main" id="{CC4F5364-0174-4753-BDDC-EB1889BE37D0}"/>
                  </a:ext>
                </a:extLst>
              </p:cNvPr>
              <p:cNvPicPr>
                <a:picLocks noChangeAspect="1"/>
              </p:cNvPicPr>
              <p:nvPr/>
            </p:nvPicPr>
            <p:blipFill>
              <a:blip r:embed="rId70">
                <a:extLst>
                  <a:ext uri="{28A0092B-C50C-407E-A947-70E740481C1C}">
                    <a14:useLocalDpi xmlns:a14="http://schemas.microsoft.com/office/drawing/2010/main"/>
                  </a:ext>
                  <a:ext uri="{96DAC541-7B7A-43D3-8B79-37D633B846F1}">
                    <asvg:svgBlip xmlns:asvg="http://schemas.microsoft.com/office/drawing/2016/SVG/main" r:embed="rId71"/>
                  </a:ext>
                </a:extLst>
              </a:blip>
              <a:stretch>
                <a:fillRect/>
              </a:stretch>
            </p:blipFill>
            <p:spPr>
              <a:xfrm>
                <a:off x="9317367" y="3531089"/>
                <a:ext cx="374443" cy="374443"/>
              </a:xfrm>
              <a:prstGeom prst="rect">
                <a:avLst/>
              </a:prstGeom>
            </p:spPr>
          </p:pic>
        </p:grpSp>
      </p:grpSp>
      <p:sp>
        <p:nvSpPr>
          <p:cNvPr id="193" name="Ghost">
            <a:extLst>
              <a:ext uri="{FF2B5EF4-FFF2-40B4-BE49-F238E27FC236}">
                <a16:creationId xmlns:a16="http://schemas.microsoft.com/office/drawing/2014/main" id="{0562E6EE-5A81-433C-BD30-208575294612}"/>
              </a:ext>
            </a:extLst>
          </p:cNvPr>
          <p:cNvSpPr/>
          <p:nvPr/>
        </p:nvSpPr>
        <p:spPr>
          <a:xfrm>
            <a:off x="457200" y="107385"/>
            <a:ext cx="257121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Understanding the perma-crisis environment</a:t>
            </a:r>
          </a:p>
        </p:txBody>
      </p:sp>
    </p:spTree>
    <p:extLst>
      <p:ext uri="{BB962C8B-B14F-4D97-AF65-F5344CB8AC3E}">
        <p14:creationId xmlns:p14="http://schemas.microsoft.com/office/powerpoint/2010/main" val="772384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Dur="0" restart="never" fill="hold" nodeType="withEffect">
                                  <p:stCondLst>
                                    <p:cond delay="0"/>
                                  </p:stCondLst>
                                  <p:childTnLst>
                                    <p:set>
                                      <p:cBhvr additive="base" accumulate="none">
                                        <p:cTn id="6" dur="1" fill="hold">
                                          <p:stCondLst>
                                            <p:cond delay="0"/>
                                          </p:stCondLst>
                                        </p:cTn>
                                        <p:tgtEl>
                                          <p:spTgt spid="10"/>
                                        </p:tgtEl>
                                        <p:attrNameLst>
                                          <p:attrName>style.visibility</p:attrName>
                                        </p:attrNameLst>
                                      </p:cBhvr>
                                      <p:to>
                                        <p:strVal val="visible"/>
                                      </p:to>
                                    </p:set>
                                    <p:animEffect transition="in" filter="fade">
                                      <p:cBhvr additive="base" accumulate="none">
                                        <p:cTn id="7" dur="250"/>
                                        <p:tgtEl>
                                          <p:spTgt spid="10"/>
                                        </p:tgtEl>
                                      </p:cBhvr>
                                    </p:animEffect>
                                  </p:childTnLst>
                                </p:cTn>
                              </p:par>
                              <p:par>
                                <p:cTn id="8" presetID="42" presetClass="path" presetSubtype="0" repeatDur="0" decel="100000" restart="never" fill="hold" nodeType="withEffect">
                                  <p:stCondLst>
                                    <p:cond delay="0"/>
                                  </p:stCondLst>
                                  <p:childTnLst>
                                    <p:animMotion origin="layout" path="M -8.33333E-7 0.03889 L -8.33333E-7 1.48148E-6 " pathEditMode="relative" ptsTypes="">
                                      <p:cBhvr additive="base" accumulate="none">
                                        <p:cTn id="9" dur="500" fill="hold"/>
                                        <p:tgtEl>
                                          <p:spTgt spid="10"/>
                                        </p:tgtEl>
                                        <p:attrNameLst>
                                          <p:attrName>ppt_x</p:attrName>
                                          <p:attrName>ppt_y</p:attrName>
                                        </p:attrNameLst>
                                      </p:cBhvr>
                                    </p:animMotion>
                                  </p:childTnLst>
                                </p:cTn>
                              </p:par>
                              <p:par>
                                <p:cTn id="10" presetID="10" presetClass="entr" presetSubtype="0" repeatDur="0" restart="never" fill="hold" nodeType="withEffect">
                                  <p:stCondLst>
                                    <p:cond delay="200"/>
                                  </p:stCondLst>
                                  <p:childTnLst>
                                    <p:set>
                                      <p:cBhvr additive="base" accumulate="none">
                                        <p:cTn id="11" dur="1" fill="hold">
                                          <p:stCondLst>
                                            <p:cond delay="0"/>
                                          </p:stCondLst>
                                        </p:cTn>
                                        <p:tgtEl>
                                          <p:spTgt spid="13"/>
                                        </p:tgtEl>
                                        <p:attrNameLst>
                                          <p:attrName>style.visibility</p:attrName>
                                        </p:attrNameLst>
                                      </p:cBhvr>
                                      <p:to>
                                        <p:strVal val="visible"/>
                                      </p:to>
                                    </p:set>
                                    <p:animEffect transition="in" filter="fade">
                                      <p:cBhvr additive="base" accumulate="none">
                                        <p:cTn id="12" dur="250"/>
                                        <p:tgtEl>
                                          <p:spTgt spid="13"/>
                                        </p:tgtEl>
                                      </p:cBhvr>
                                    </p:animEffect>
                                  </p:childTnLst>
                                </p:cTn>
                              </p:par>
                              <p:par>
                                <p:cTn id="13" presetID="42" presetClass="path" presetSubtype="0" repeatDur="0" decel="100000" restart="never" fill="hold" nodeType="withEffect">
                                  <p:stCondLst>
                                    <p:cond delay="200"/>
                                  </p:stCondLst>
                                  <p:childTnLst>
                                    <p:animMotion origin="layout" path="M -8.33333E-7 0.03889 L -8.33333E-7 1.48148E-6 " pathEditMode="relative" ptsTypes="">
                                      <p:cBhvr additive="base" accumulate="none">
                                        <p:cTn id="14" dur="500" fill="hold"/>
                                        <p:tgtEl>
                                          <p:spTgt spid="13"/>
                                        </p:tgtEl>
                                        <p:attrNameLst>
                                          <p:attrName>ppt_x</p:attrName>
                                          <p:attrName>ppt_y</p:attrName>
                                        </p:attrNameLst>
                                      </p:cBhvr>
                                    </p:animMotion>
                                  </p:childTnLst>
                                </p:cTn>
                              </p:par>
                              <p:par>
                                <p:cTn id="15" presetID="10" presetClass="entr" presetSubtype="0" repeatDur="0" restart="never" fill="hold" nodeType="withEffect">
                                  <p:stCondLst>
                                    <p:cond delay="400"/>
                                  </p:stCondLst>
                                  <p:childTnLst>
                                    <p:set>
                                      <p:cBhvr additive="base" accumulate="none">
                                        <p:cTn id="16" dur="1" fill="hold">
                                          <p:stCondLst>
                                            <p:cond delay="0"/>
                                          </p:stCondLst>
                                        </p:cTn>
                                        <p:tgtEl>
                                          <p:spTgt spid="14"/>
                                        </p:tgtEl>
                                        <p:attrNameLst>
                                          <p:attrName>style.visibility</p:attrName>
                                        </p:attrNameLst>
                                      </p:cBhvr>
                                      <p:to>
                                        <p:strVal val="visible"/>
                                      </p:to>
                                    </p:set>
                                    <p:animEffect transition="in" filter="fade">
                                      <p:cBhvr additive="base" accumulate="none">
                                        <p:cTn id="17" dur="250"/>
                                        <p:tgtEl>
                                          <p:spTgt spid="14"/>
                                        </p:tgtEl>
                                      </p:cBhvr>
                                    </p:animEffect>
                                  </p:childTnLst>
                                </p:cTn>
                              </p:par>
                              <p:par>
                                <p:cTn id="18" presetID="42" presetClass="path" presetSubtype="0" repeatDur="0" decel="100000" restart="never" fill="hold" nodeType="withEffect">
                                  <p:stCondLst>
                                    <p:cond delay="400"/>
                                  </p:stCondLst>
                                  <p:childTnLst>
                                    <p:animMotion origin="layout" path="M -8.33333E-7 0.03889 L -8.33333E-7 1.48148E-6 " pathEditMode="relative" ptsTypes="">
                                      <p:cBhvr additive="base" accumulate="none">
                                        <p:cTn id="19" dur="500" fill="hold"/>
                                        <p:tgtEl>
                                          <p:spTgt spid="14"/>
                                        </p:tgtEl>
                                        <p:attrNameLst>
                                          <p:attrName>ppt_x</p:attrName>
                                          <p:attrName>ppt_y</p:attrName>
                                        </p:attrNameLst>
                                      </p:cBhvr>
                                    </p:animMotion>
                                  </p:childTnLst>
                                </p:cTn>
                              </p:par>
                              <p:par>
                                <p:cTn id="20" presetID="10" presetClass="entr" presetSubtype="0" repeatDur="0" restart="never" fill="hold" nodeType="withEffect">
                                  <p:stCondLst>
                                    <p:cond delay="600"/>
                                  </p:stCondLst>
                                  <p:childTnLst>
                                    <p:set>
                                      <p:cBhvr additive="base" accumulate="none">
                                        <p:cTn id="21" dur="1" fill="hold">
                                          <p:stCondLst>
                                            <p:cond delay="0"/>
                                          </p:stCondLst>
                                        </p:cTn>
                                        <p:tgtEl>
                                          <p:spTgt spid="17"/>
                                        </p:tgtEl>
                                        <p:attrNameLst>
                                          <p:attrName>style.visibility</p:attrName>
                                        </p:attrNameLst>
                                      </p:cBhvr>
                                      <p:to>
                                        <p:strVal val="visible"/>
                                      </p:to>
                                    </p:set>
                                    <p:animEffect transition="in" filter="fade">
                                      <p:cBhvr additive="base" accumulate="none">
                                        <p:cTn id="22" dur="250"/>
                                        <p:tgtEl>
                                          <p:spTgt spid="17"/>
                                        </p:tgtEl>
                                      </p:cBhvr>
                                    </p:animEffect>
                                  </p:childTnLst>
                                </p:cTn>
                              </p:par>
                              <p:par>
                                <p:cTn id="23" presetID="42" presetClass="path" presetSubtype="0" repeatDur="0" decel="100000" restart="never" fill="hold" nodeType="withEffect">
                                  <p:stCondLst>
                                    <p:cond delay="600"/>
                                  </p:stCondLst>
                                  <p:childTnLst>
                                    <p:animMotion origin="layout" path="M -8.33333E-7 0.03889 L -8.33333E-7 1.48148E-6 " pathEditMode="relative" ptsTypes="">
                                      <p:cBhvr additive="base" accumulate="none">
                                        <p:cTn id="24" dur="500" fill="hold"/>
                                        <p:tgtEl>
                                          <p:spTgt spid="17"/>
                                        </p:tgtEl>
                                        <p:attrNameLst>
                                          <p:attrName>ppt_x</p:attrName>
                                          <p:attrName>ppt_y</p:attrName>
                                        </p:attrNameLst>
                                      </p:cBhvr>
                                    </p:animMotion>
                                  </p:childTnLst>
                                </p:cTn>
                              </p:par>
                              <p:par>
                                <p:cTn id="25" presetID="10" presetClass="entr" presetSubtype="0" repeatDur="0" restart="never" fill="hold" nodeType="withEffect">
                                  <p:stCondLst>
                                    <p:cond delay="800"/>
                                  </p:stCondLst>
                                  <p:childTnLst>
                                    <p:set>
                                      <p:cBhvr additive="base" accumulate="none">
                                        <p:cTn id="26" dur="1" fill="hold">
                                          <p:stCondLst>
                                            <p:cond delay="0"/>
                                          </p:stCondLst>
                                        </p:cTn>
                                        <p:tgtEl>
                                          <p:spTgt spid="16"/>
                                        </p:tgtEl>
                                        <p:attrNameLst>
                                          <p:attrName>style.visibility</p:attrName>
                                        </p:attrNameLst>
                                      </p:cBhvr>
                                      <p:to>
                                        <p:strVal val="visible"/>
                                      </p:to>
                                    </p:set>
                                    <p:animEffect transition="in" filter="fade">
                                      <p:cBhvr additive="base" accumulate="none">
                                        <p:cTn id="27" dur="250"/>
                                        <p:tgtEl>
                                          <p:spTgt spid="16"/>
                                        </p:tgtEl>
                                      </p:cBhvr>
                                    </p:animEffect>
                                  </p:childTnLst>
                                </p:cTn>
                              </p:par>
                              <p:par>
                                <p:cTn id="28" presetID="42" presetClass="path" presetSubtype="0" repeatDur="0" decel="100000" restart="never" fill="hold" nodeType="withEffect">
                                  <p:stCondLst>
                                    <p:cond delay="800"/>
                                  </p:stCondLst>
                                  <p:childTnLst>
                                    <p:animMotion origin="layout" path="M -8.33333E-7 0.03889 L -8.33333E-7 1.48148E-6 " pathEditMode="relative" ptsTypes="">
                                      <p:cBhvr additive="base" accumulate="none">
                                        <p:cTn id="29" dur="500" fill="hold"/>
                                        <p:tgtEl>
                                          <p:spTgt spid="16"/>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43A78-BC03-4E68-BD2E-A6B3057E7A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76" imgH="676" progId="TCLayout.ActiveDocument.1">
                  <p:embed/>
                </p:oleObj>
              </mc:Choice>
              <mc:Fallback>
                <p:oleObj name="think-cell Slide" r:id="rId4" imgW="676" imgH="676" progId="TCLayout.ActiveDocument.1">
                  <p:embed/>
                  <p:pic>
                    <p:nvPicPr>
                      <p:cNvPr id="6" name="Object 5" hidden="1">
                        <a:extLst>
                          <a:ext uri="{FF2B5EF4-FFF2-40B4-BE49-F238E27FC236}">
                            <a16:creationId xmlns:a16="http://schemas.microsoft.com/office/drawing/2014/main" id="{06343A78-BC03-4E68-BD2E-A6B3057E7A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43E24495-70C3-45B6-8C60-9F37ADEA6D01}"/>
              </a:ext>
            </a:extLst>
          </p:cNvPr>
          <p:cNvSpPr>
            <a:spLocks noGrp="1"/>
          </p:cNvSpPr>
          <p:nvPr>
            <p:ph type="title"/>
          </p:nvPr>
        </p:nvSpPr>
        <p:spPr/>
        <p:txBody>
          <a:bodyPr vert="horz"/>
          <a:lstStyle/>
          <a:p>
            <a:r>
              <a:rPr lang="en-GB">
                <a:solidFill>
                  <a:srgbClr val="8096B2"/>
                </a:solidFill>
              </a:rPr>
              <a:t>8</a:t>
            </a:r>
            <a:r>
              <a:rPr lang="en-GB">
                <a:solidFill>
                  <a:srgbClr val="8096B2"/>
                </a:solidFill>
                <a:cs typeface="Calibri" panose="020F0502020204030204" pitchFamily="34" charset="0"/>
              </a:rPr>
              <a:t> major SHORT-TERM disruptions </a:t>
            </a:r>
            <a:r>
              <a:rPr lang="en-GB">
                <a:cs typeface="Calibri" panose="020F0502020204030204" pitchFamily="34" charset="0"/>
              </a:rPr>
              <a:t>To manage Simultaneously</a:t>
            </a:r>
          </a:p>
        </p:txBody>
      </p:sp>
      <p:cxnSp>
        <p:nvCxnSpPr>
          <p:cNvPr id="3" name="Straight Connector 2">
            <a:extLst>
              <a:ext uri="{FF2B5EF4-FFF2-40B4-BE49-F238E27FC236}">
                <a16:creationId xmlns:a16="http://schemas.microsoft.com/office/drawing/2014/main" id="{46EB8017-1B09-26D5-919C-A9EE6FA58E41}"/>
              </a:ext>
            </a:extLst>
          </p:cNvPr>
          <p:cNvCxnSpPr>
            <a:cxnSpLocks/>
          </p:cNvCxnSpPr>
          <p:nvPr/>
        </p:nvCxnSpPr>
        <p:spPr>
          <a:xfrm>
            <a:off x="6243798" y="1688230"/>
            <a:ext cx="3448012"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8498614-351A-FEA8-8BC5-C87BD2839503}"/>
              </a:ext>
            </a:extLst>
          </p:cNvPr>
          <p:cNvSpPr/>
          <p:nvPr/>
        </p:nvSpPr>
        <p:spPr>
          <a:xfrm>
            <a:off x="688335" y="1326215"/>
            <a:ext cx="1542996" cy="36201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000000"/>
                </a:solidFill>
                <a:effectLst/>
                <a:uLnTx/>
                <a:uFillTx/>
                <a:latin typeface="MMC Display Condensed"/>
                <a:ea typeface="+mn-ea"/>
                <a:cs typeface="Calibri" panose="020F0502020204030204" pitchFamily="34" charset="0"/>
              </a:rPr>
              <a:t>geopolitical</a:t>
            </a:r>
          </a:p>
        </p:txBody>
      </p:sp>
      <p:sp>
        <p:nvSpPr>
          <p:cNvPr id="5" name="Rectangle 4">
            <a:extLst>
              <a:ext uri="{FF2B5EF4-FFF2-40B4-BE49-F238E27FC236}">
                <a16:creationId xmlns:a16="http://schemas.microsoft.com/office/drawing/2014/main" id="{15303CF9-C545-8375-7339-229F52462315}"/>
              </a:ext>
            </a:extLst>
          </p:cNvPr>
          <p:cNvSpPr/>
          <p:nvPr/>
        </p:nvSpPr>
        <p:spPr>
          <a:xfrm>
            <a:off x="9886836" y="1326215"/>
            <a:ext cx="1767579" cy="36201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A2B7CD"/>
                </a:solidFill>
                <a:effectLst/>
                <a:uLnTx/>
                <a:uFillTx/>
                <a:latin typeface="MMC Display Condensed"/>
                <a:ea typeface="+mn-ea"/>
                <a:cs typeface="Calibri" panose="020F0502020204030204" pitchFamily="34" charset="0"/>
              </a:rPr>
              <a:t>Technological</a:t>
            </a:r>
          </a:p>
        </p:txBody>
      </p:sp>
      <p:sp>
        <p:nvSpPr>
          <p:cNvPr id="7" name="Rectangle 6">
            <a:extLst>
              <a:ext uri="{FF2B5EF4-FFF2-40B4-BE49-F238E27FC236}">
                <a16:creationId xmlns:a16="http://schemas.microsoft.com/office/drawing/2014/main" id="{3B12349F-5BA1-C6B4-DAC3-73599C48154D}"/>
              </a:ext>
            </a:extLst>
          </p:cNvPr>
          <p:cNvSpPr/>
          <p:nvPr/>
        </p:nvSpPr>
        <p:spPr>
          <a:xfrm>
            <a:off x="7003028" y="1324517"/>
            <a:ext cx="1929550" cy="36201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8096B2"/>
                </a:solidFill>
                <a:effectLst/>
                <a:uLnTx/>
                <a:uFillTx/>
                <a:latin typeface="MMC Display Condensed"/>
                <a:ea typeface="+mn-ea"/>
                <a:cs typeface="Calibri" panose="020F0502020204030204" pitchFamily="34" charset="0"/>
              </a:rPr>
              <a:t>Societal </a:t>
            </a:r>
          </a:p>
        </p:txBody>
      </p:sp>
      <p:sp>
        <p:nvSpPr>
          <p:cNvPr id="8" name="Rectangle 7">
            <a:extLst>
              <a:ext uri="{FF2B5EF4-FFF2-40B4-BE49-F238E27FC236}">
                <a16:creationId xmlns:a16="http://schemas.microsoft.com/office/drawing/2014/main" id="{D76B3B28-8FE2-7FAC-E14E-479BE35D60F9}"/>
              </a:ext>
            </a:extLst>
          </p:cNvPr>
          <p:cNvSpPr/>
          <p:nvPr/>
        </p:nvSpPr>
        <p:spPr>
          <a:xfrm>
            <a:off x="4209807" y="1326215"/>
            <a:ext cx="1929550" cy="36201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4E6287"/>
                </a:solidFill>
                <a:effectLst/>
                <a:uLnTx/>
                <a:uFillTx/>
                <a:latin typeface="MMC Display Condensed"/>
                <a:ea typeface="+mn-ea"/>
                <a:cs typeface="Calibri" panose="020F0502020204030204" pitchFamily="34" charset="0"/>
              </a:rPr>
              <a:t>Environmental</a:t>
            </a:r>
          </a:p>
        </p:txBody>
      </p:sp>
      <p:sp>
        <p:nvSpPr>
          <p:cNvPr id="10" name="Rectangle 9">
            <a:extLst>
              <a:ext uri="{FF2B5EF4-FFF2-40B4-BE49-F238E27FC236}">
                <a16:creationId xmlns:a16="http://schemas.microsoft.com/office/drawing/2014/main" id="{FA24A3F3-BA71-3609-07C1-77AC3B3DC1B8}"/>
              </a:ext>
            </a:extLst>
          </p:cNvPr>
          <p:cNvSpPr/>
          <p:nvPr/>
        </p:nvSpPr>
        <p:spPr>
          <a:xfrm>
            <a:off x="2593752" y="1326215"/>
            <a:ext cx="1471336" cy="36201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767676"/>
                </a:solidFill>
                <a:effectLst/>
                <a:uLnTx/>
                <a:uFillTx/>
                <a:latin typeface="MMC Display Condensed"/>
                <a:ea typeface="+mn-ea"/>
                <a:cs typeface="Calibri" panose="020F0502020204030204" pitchFamily="34" charset="0"/>
              </a:rPr>
              <a:t>Economic</a:t>
            </a:r>
          </a:p>
        </p:txBody>
      </p:sp>
      <p:sp>
        <p:nvSpPr>
          <p:cNvPr id="11" name="Rectangle 10">
            <a:extLst>
              <a:ext uri="{FF2B5EF4-FFF2-40B4-BE49-F238E27FC236}">
                <a16:creationId xmlns:a16="http://schemas.microsoft.com/office/drawing/2014/main" id="{0292DB9C-DD4E-6816-6270-AA1182C4232C}"/>
              </a:ext>
            </a:extLst>
          </p:cNvPr>
          <p:cNvSpPr>
            <a:spLocks/>
          </p:cNvSpPr>
          <p:nvPr/>
        </p:nvSpPr>
        <p:spPr>
          <a:xfrm>
            <a:off x="653421"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Interstate conflict</a:t>
            </a:r>
          </a:p>
        </p:txBody>
      </p:sp>
      <p:sp>
        <p:nvSpPr>
          <p:cNvPr id="12" name="Rectangle 11">
            <a:extLst>
              <a:ext uri="{FF2B5EF4-FFF2-40B4-BE49-F238E27FC236}">
                <a16:creationId xmlns:a16="http://schemas.microsoft.com/office/drawing/2014/main" id="{5E686D19-6391-3A9D-1DA4-F71E23177AD7}"/>
              </a:ext>
            </a:extLst>
          </p:cNvPr>
          <p:cNvSpPr>
            <a:spLocks/>
          </p:cNvSpPr>
          <p:nvPr/>
        </p:nvSpPr>
        <p:spPr>
          <a:xfrm>
            <a:off x="9970716"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Widespread cybercrime and cyber insecurity</a:t>
            </a:r>
          </a:p>
        </p:txBody>
      </p:sp>
      <p:sp>
        <p:nvSpPr>
          <p:cNvPr id="13" name="Rectangle 12">
            <a:extLst>
              <a:ext uri="{FF2B5EF4-FFF2-40B4-BE49-F238E27FC236}">
                <a16:creationId xmlns:a16="http://schemas.microsoft.com/office/drawing/2014/main" id="{F6B22773-D298-E628-DE66-25D04162990C}"/>
              </a:ext>
            </a:extLst>
          </p:cNvPr>
          <p:cNvSpPr>
            <a:spLocks/>
          </p:cNvSpPr>
          <p:nvPr/>
        </p:nvSpPr>
        <p:spPr>
          <a:xfrm>
            <a:off x="6243798"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Collapse or lack of public infrastructure and services</a:t>
            </a:r>
          </a:p>
        </p:txBody>
      </p:sp>
      <p:sp>
        <p:nvSpPr>
          <p:cNvPr id="14" name="Rectangle 13">
            <a:extLst>
              <a:ext uri="{FF2B5EF4-FFF2-40B4-BE49-F238E27FC236}">
                <a16:creationId xmlns:a16="http://schemas.microsoft.com/office/drawing/2014/main" id="{9EE2341A-71A8-594B-C82B-C316B15A1230}"/>
              </a:ext>
            </a:extLst>
          </p:cNvPr>
          <p:cNvSpPr>
            <a:spLocks/>
          </p:cNvSpPr>
          <p:nvPr/>
        </p:nvSpPr>
        <p:spPr>
          <a:xfrm>
            <a:off x="4380339"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Natural disasters and extreme weather events</a:t>
            </a:r>
          </a:p>
          <a:p>
            <a:pPr>
              <a:defRPr/>
            </a:pPr>
            <a:endParaRPr kumimoji="0" lang="en-GB" sz="1000" b="1" i="0" u="none" strike="noStrike" kern="0" cap="none" spc="0" normalizeH="0" baseline="0" noProof="0">
              <a:ln>
                <a:noFill/>
              </a:ln>
              <a:solidFill>
                <a:schemeClr val="accent3"/>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807E750A-5E8D-10ED-9408-D8F820B30A02}"/>
              </a:ext>
            </a:extLst>
          </p:cNvPr>
          <p:cNvSpPr>
            <a:spLocks/>
          </p:cNvSpPr>
          <p:nvPr/>
        </p:nvSpPr>
        <p:spPr>
          <a:xfrm>
            <a:off x="653421" y="2614792"/>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Geoeconomic confrontation</a:t>
            </a:r>
          </a:p>
        </p:txBody>
      </p:sp>
      <p:sp>
        <p:nvSpPr>
          <p:cNvPr id="16" name="Rectangle 15">
            <a:extLst>
              <a:ext uri="{FF2B5EF4-FFF2-40B4-BE49-F238E27FC236}">
                <a16:creationId xmlns:a16="http://schemas.microsoft.com/office/drawing/2014/main" id="{9D5E0827-7DCA-0D85-14C8-962F6E8403B5}"/>
              </a:ext>
            </a:extLst>
          </p:cNvPr>
          <p:cNvSpPr>
            <a:spLocks/>
          </p:cNvSpPr>
          <p:nvPr/>
        </p:nvSpPr>
        <p:spPr>
          <a:xfrm>
            <a:off x="9970716" y="2614792"/>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Breakdown of critical information infrastructure</a:t>
            </a:r>
          </a:p>
        </p:txBody>
      </p:sp>
      <p:sp>
        <p:nvSpPr>
          <p:cNvPr id="17" name="Rectangle 16">
            <a:extLst>
              <a:ext uri="{FF2B5EF4-FFF2-40B4-BE49-F238E27FC236}">
                <a16:creationId xmlns:a16="http://schemas.microsoft.com/office/drawing/2014/main" id="{82055A2C-23E6-3D5E-DB88-BD3479BD6E8C}"/>
              </a:ext>
            </a:extLst>
          </p:cNvPr>
          <p:cNvSpPr>
            <a:spLocks/>
          </p:cNvSpPr>
          <p:nvPr/>
        </p:nvSpPr>
        <p:spPr>
          <a:xfrm>
            <a:off x="4380339" y="2614792"/>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Failure to mitigate climate change</a:t>
            </a:r>
          </a:p>
        </p:txBody>
      </p:sp>
      <p:sp>
        <p:nvSpPr>
          <p:cNvPr id="18" name="Rectangle 17">
            <a:extLst>
              <a:ext uri="{FF2B5EF4-FFF2-40B4-BE49-F238E27FC236}">
                <a16:creationId xmlns:a16="http://schemas.microsoft.com/office/drawing/2014/main" id="{97A48B35-22FB-EC00-EDBB-4EA158344A2D}"/>
              </a:ext>
            </a:extLst>
          </p:cNvPr>
          <p:cNvSpPr>
            <a:spLocks/>
          </p:cNvSpPr>
          <p:nvPr/>
        </p:nvSpPr>
        <p:spPr>
          <a:xfrm>
            <a:off x="6243798" y="261309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Severe mental health deterioration</a:t>
            </a:r>
          </a:p>
        </p:txBody>
      </p:sp>
      <p:sp>
        <p:nvSpPr>
          <p:cNvPr id="19" name="Rectangle 18">
            <a:extLst>
              <a:ext uri="{FF2B5EF4-FFF2-40B4-BE49-F238E27FC236}">
                <a16:creationId xmlns:a16="http://schemas.microsoft.com/office/drawing/2014/main" id="{3872B926-6B9D-8996-F849-22401D71BDAD}"/>
              </a:ext>
            </a:extLst>
          </p:cNvPr>
          <p:cNvSpPr>
            <a:spLocks/>
          </p:cNvSpPr>
          <p:nvPr/>
        </p:nvSpPr>
        <p:spPr>
          <a:xfrm>
            <a:off x="2516880" y="2614792"/>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Asset bubble bursts</a:t>
            </a:r>
          </a:p>
        </p:txBody>
      </p:sp>
      <p:sp>
        <p:nvSpPr>
          <p:cNvPr id="20" name="Rectangle 19">
            <a:extLst>
              <a:ext uri="{FF2B5EF4-FFF2-40B4-BE49-F238E27FC236}">
                <a16:creationId xmlns:a16="http://schemas.microsoft.com/office/drawing/2014/main" id="{6DAEA5E9-287E-2D2C-B67D-346B5F233E33}"/>
              </a:ext>
            </a:extLst>
          </p:cNvPr>
          <p:cNvSpPr>
            <a:spLocks/>
          </p:cNvSpPr>
          <p:nvPr/>
        </p:nvSpPr>
        <p:spPr>
          <a:xfrm>
            <a:off x="653421" y="335883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State collapse or </a:t>
            </a:r>
            <a:b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b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severe instability</a:t>
            </a:r>
          </a:p>
        </p:txBody>
      </p:sp>
      <p:sp>
        <p:nvSpPr>
          <p:cNvPr id="21" name="Rectangle 20">
            <a:extLst>
              <a:ext uri="{FF2B5EF4-FFF2-40B4-BE49-F238E27FC236}">
                <a16:creationId xmlns:a16="http://schemas.microsoft.com/office/drawing/2014/main" id="{C4AA60CD-E8A9-CB01-3DCA-7B3D9DDB3901}"/>
              </a:ext>
            </a:extLst>
          </p:cNvPr>
          <p:cNvSpPr>
            <a:spLocks/>
          </p:cNvSpPr>
          <p:nvPr/>
        </p:nvSpPr>
        <p:spPr>
          <a:xfrm>
            <a:off x="9970716" y="335883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Digital power concentration</a:t>
            </a:r>
          </a:p>
        </p:txBody>
      </p:sp>
      <p:sp>
        <p:nvSpPr>
          <p:cNvPr id="22" name="Rectangle 21">
            <a:extLst>
              <a:ext uri="{FF2B5EF4-FFF2-40B4-BE49-F238E27FC236}">
                <a16:creationId xmlns:a16="http://schemas.microsoft.com/office/drawing/2014/main" id="{9C28F375-42C9-3C3E-ACDF-C05BF42D2845}"/>
              </a:ext>
            </a:extLst>
          </p:cNvPr>
          <p:cNvSpPr>
            <a:spLocks/>
          </p:cNvSpPr>
          <p:nvPr/>
        </p:nvSpPr>
        <p:spPr>
          <a:xfrm>
            <a:off x="4380339" y="335883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Failure of climate-change adaption</a:t>
            </a:r>
          </a:p>
        </p:txBody>
      </p:sp>
      <p:sp>
        <p:nvSpPr>
          <p:cNvPr id="23" name="Rectangle 22">
            <a:extLst>
              <a:ext uri="{FF2B5EF4-FFF2-40B4-BE49-F238E27FC236}">
                <a16:creationId xmlns:a16="http://schemas.microsoft.com/office/drawing/2014/main" id="{3E018681-064C-5180-E29A-6AE7AEFC7804}"/>
              </a:ext>
            </a:extLst>
          </p:cNvPr>
          <p:cNvSpPr>
            <a:spLocks/>
          </p:cNvSpPr>
          <p:nvPr/>
        </p:nvSpPr>
        <p:spPr>
          <a:xfrm>
            <a:off x="6243798" y="3357141"/>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Erosion of social cohesion and polarization</a:t>
            </a:r>
          </a:p>
        </p:txBody>
      </p:sp>
      <p:sp>
        <p:nvSpPr>
          <p:cNvPr id="24" name="Rectangle 23">
            <a:extLst>
              <a:ext uri="{FF2B5EF4-FFF2-40B4-BE49-F238E27FC236}">
                <a16:creationId xmlns:a16="http://schemas.microsoft.com/office/drawing/2014/main" id="{6EB07C59-5F5F-9B6B-F273-C5C459B70E56}"/>
              </a:ext>
            </a:extLst>
          </p:cNvPr>
          <p:cNvSpPr>
            <a:spLocks/>
          </p:cNvSpPr>
          <p:nvPr/>
        </p:nvSpPr>
        <p:spPr>
          <a:xfrm>
            <a:off x="2516880" y="335883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Debt crisis</a:t>
            </a:r>
          </a:p>
        </p:txBody>
      </p:sp>
      <p:sp>
        <p:nvSpPr>
          <p:cNvPr id="25" name="Rectangle 24">
            <a:extLst>
              <a:ext uri="{FF2B5EF4-FFF2-40B4-BE49-F238E27FC236}">
                <a16:creationId xmlns:a16="http://schemas.microsoft.com/office/drawing/2014/main" id="{22373B5E-DE95-1E19-064D-BFA11113AC68}"/>
              </a:ext>
            </a:extLst>
          </p:cNvPr>
          <p:cNvSpPr>
            <a:spLocks/>
          </p:cNvSpPr>
          <p:nvPr/>
        </p:nvSpPr>
        <p:spPr>
          <a:xfrm>
            <a:off x="653421" y="410618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Ineffectiveness of international</a:t>
            </a:r>
            <a:r>
              <a:rPr lang="en-GB" sz="1000" b="1" kern="0">
                <a:solidFill>
                  <a:schemeClr val="accent3"/>
                </a:solidFill>
                <a:latin typeface="Calibri"/>
                <a:cs typeface="Calibri" panose="020F0502020204030204" pitchFamily="34" charset="0"/>
              </a:rPr>
              <a:t> cooperation</a:t>
            </a:r>
            <a:endPar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chemeClr val="accent3"/>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F1F7FCAB-D36B-263C-251D-60617E13BECA}"/>
              </a:ext>
            </a:extLst>
          </p:cNvPr>
          <p:cNvSpPr>
            <a:spLocks/>
          </p:cNvSpPr>
          <p:nvPr/>
        </p:nvSpPr>
        <p:spPr>
          <a:xfrm>
            <a:off x="9970716" y="410618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Digital inequality </a:t>
            </a:r>
            <a:b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b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and lack of access </a:t>
            </a:r>
            <a:b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b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to digital services</a:t>
            </a:r>
          </a:p>
        </p:txBody>
      </p:sp>
      <p:sp>
        <p:nvSpPr>
          <p:cNvPr id="27" name="Rectangle 26">
            <a:extLst>
              <a:ext uri="{FF2B5EF4-FFF2-40B4-BE49-F238E27FC236}">
                <a16:creationId xmlns:a16="http://schemas.microsoft.com/office/drawing/2014/main" id="{8177FE3B-ACB8-EAD2-9EF6-BF8441DB68B9}"/>
              </a:ext>
            </a:extLst>
          </p:cNvPr>
          <p:cNvSpPr>
            <a:spLocks/>
          </p:cNvSpPr>
          <p:nvPr/>
        </p:nvSpPr>
        <p:spPr>
          <a:xfrm>
            <a:off x="6243798" y="4104491"/>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Cost-of-living crisis</a:t>
            </a:r>
          </a:p>
        </p:txBody>
      </p:sp>
      <p:sp>
        <p:nvSpPr>
          <p:cNvPr id="28" name="Rectangle 27">
            <a:extLst>
              <a:ext uri="{FF2B5EF4-FFF2-40B4-BE49-F238E27FC236}">
                <a16:creationId xmlns:a16="http://schemas.microsoft.com/office/drawing/2014/main" id="{20362054-4FA5-2125-EF93-97B591DB318B}"/>
              </a:ext>
            </a:extLst>
          </p:cNvPr>
          <p:cNvSpPr>
            <a:spLocks/>
          </p:cNvSpPr>
          <p:nvPr/>
        </p:nvSpPr>
        <p:spPr>
          <a:xfrm>
            <a:off x="4380339" y="410618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Natural resource crises</a:t>
            </a:r>
          </a:p>
        </p:txBody>
      </p:sp>
      <p:sp>
        <p:nvSpPr>
          <p:cNvPr id="29" name="Rectangle 28">
            <a:extLst>
              <a:ext uri="{FF2B5EF4-FFF2-40B4-BE49-F238E27FC236}">
                <a16:creationId xmlns:a16="http://schemas.microsoft.com/office/drawing/2014/main" id="{E2B9D4E4-9371-FD2C-D76E-8E608FBF1D3B}"/>
              </a:ext>
            </a:extLst>
          </p:cNvPr>
          <p:cNvSpPr>
            <a:spLocks/>
          </p:cNvSpPr>
          <p:nvPr/>
        </p:nvSpPr>
        <p:spPr>
          <a:xfrm>
            <a:off x="2516880" y="4106189"/>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Prolonged economic downturn</a:t>
            </a:r>
          </a:p>
        </p:txBody>
      </p:sp>
      <p:sp>
        <p:nvSpPr>
          <p:cNvPr id="30" name="Rectangle 29">
            <a:extLst>
              <a:ext uri="{FF2B5EF4-FFF2-40B4-BE49-F238E27FC236}">
                <a16:creationId xmlns:a16="http://schemas.microsoft.com/office/drawing/2014/main" id="{CD81A86B-3E5F-1DE4-02E8-6D7B34C3913D}"/>
              </a:ext>
            </a:extLst>
          </p:cNvPr>
          <p:cNvSpPr>
            <a:spLocks/>
          </p:cNvSpPr>
          <p:nvPr/>
        </p:nvSpPr>
        <p:spPr>
          <a:xfrm>
            <a:off x="653421" y="485339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Use of weapon of mass destruction</a:t>
            </a:r>
          </a:p>
        </p:txBody>
      </p:sp>
      <p:sp>
        <p:nvSpPr>
          <p:cNvPr id="31" name="Rectangle 30">
            <a:extLst>
              <a:ext uri="{FF2B5EF4-FFF2-40B4-BE49-F238E27FC236}">
                <a16:creationId xmlns:a16="http://schemas.microsoft.com/office/drawing/2014/main" id="{7A718D03-B056-09AF-1AC3-3EA75C33AE7B}"/>
              </a:ext>
            </a:extLst>
          </p:cNvPr>
          <p:cNvSpPr>
            <a:spLocks/>
          </p:cNvSpPr>
          <p:nvPr/>
        </p:nvSpPr>
        <p:spPr>
          <a:xfrm>
            <a:off x="9970716" y="485339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Adverse outcomes of frontier technologies</a:t>
            </a:r>
          </a:p>
        </p:txBody>
      </p:sp>
      <p:sp>
        <p:nvSpPr>
          <p:cNvPr id="32" name="Rectangle 31">
            <a:extLst>
              <a:ext uri="{FF2B5EF4-FFF2-40B4-BE49-F238E27FC236}">
                <a16:creationId xmlns:a16="http://schemas.microsoft.com/office/drawing/2014/main" id="{E33D45D6-BECD-A081-A2BD-243C40D03266}"/>
              </a:ext>
            </a:extLst>
          </p:cNvPr>
          <p:cNvSpPr>
            <a:spLocks/>
          </p:cNvSpPr>
          <p:nvPr/>
        </p:nvSpPr>
        <p:spPr>
          <a:xfrm>
            <a:off x="4380339" y="485339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bg1">
                    <a:lumMod val="75000"/>
                  </a:schemeClr>
                </a:solidFill>
                <a:effectLst/>
                <a:uLnTx/>
                <a:uFillTx/>
                <a:latin typeface="Calibri"/>
                <a:ea typeface="+mn-ea"/>
                <a:cs typeface="Calibri" panose="020F0502020204030204" pitchFamily="34" charset="0"/>
              </a:rPr>
              <a:t>Biodiversity loss and ecosystem collapse</a:t>
            </a:r>
          </a:p>
        </p:txBody>
      </p:sp>
      <p:sp>
        <p:nvSpPr>
          <p:cNvPr id="33" name="Rectangle 32">
            <a:extLst>
              <a:ext uri="{FF2B5EF4-FFF2-40B4-BE49-F238E27FC236}">
                <a16:creationId xmlns:a16="http://schemas.microsoft.com/office/drawing/2014/main" id="{8297E8D2-AB91-E848-0C63-1BBCA5053946}"/>
              </a:ext>
            </a:extLst>
          </p:cNvPr>
          <p:cNvSpPr>
            <a:spLocks/>
          </p:cNvSpPr>
          <p:nvPr/>
        </p:nvSpPr>
        <p:spPr>
          <a:xfrm>
            <a:off x="2516880" y="485339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Failure to stabilize price trajectories</a:t>
            </a:r>
          </a:p>
        </p:txBody>
      </p:sp>
      <p:sp>
        <p:nvSpPr>
          <p:cNvPr id="34" name="Rectangle 33">
            <a:extLst>
              <a:ext uri="{FF2B5EF4-FFF2-40B4-BE49-F238E27FC236}">
                <a16:creationId xmlns:a16="http://schemas.microsoft.com/office/drawing/2014/main" id="{4D0AD1B1-1DAC-66BC-C70C-744C82436B14}"/>
              </a:ext>
            </a:extLst>
          </p:cNvPr>
          <p:cNvSpPr>
            <a:spLocks/>
          </p:cNvSpPr>
          <p:nvPr/>
        </p:nvSpPr>
        <p:spPr>
          <a:xfrm>
            <a:off x="653421" y="560074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lumMod val="75000"/>
                  </a:schemeClr>
                </a:solidFill>
                <a:effectLst/>
                <a:uLnTx/>
                <a:uFillTx/>
                <a:latin typeface="Calibri"/>
                <a:ea typeface="+mn-ea"/>
                <a:cs typeface="Calibri" panose="020F0502020204030204" pitchFamily="34" charset="0"/>
              </a:rPr>
              <a:t>Terrorist attacks</a:t>
            </a:r>
          </a:p>
        </p:txBody>
      </p:sp>
      <p:sp>
        <p:nvSpPr>
          <p:cNvPr id="35" name="Rectangle 34">
            <a:extLst>
              <a:ext uri="{FF2B5EF4-FFF2-40B4-BE49-F238E27FC236}">
                <a16:creationId xmlns:a16="http://schemas.microsoft.com/office/drawing/2014/main" id="{ADFC34F8-80A6-59AB-3ACB-CCCFB317EEE3}"/>
              </a:ext>
            </a:extLst>
          </p:cNvPr>
          <p:cNvSpPr>
            <a:spLocks/>
          </p:cNvSpPr>
          <p:nvPr/>
        </p:nvSpPr>
        <p:spPr>
          <a:xfrm>
            <a:off x="4380339" y="560074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bg1">
                    <a:lumMod val="75000"/>
                  </a:schemeClr>
                </a:solidFill>
                <a:effectLst/>
                <a:uLnTx/>
                <a:uFillTx/>
                <a:latin typeface="Calibri"/>
                <a:ea typeface="+mn-ea"/>
                <a:cs typeface="Calibri" panose="020F0502020204030204" pitchFamily="34" charset="0"/>
              </a:rPr>
              <a:t>Large-scale environmental </a:t>
            </a:r>
            <a:br>
              <a:rPr kumimoji="0" lang="en-GB" sz="1000" b="1" i="0" u="none" strike="noStrike" kern="0" cap="none" spc="0" normalizeH="0" baseline="0" noProof="0">
                <a:ln>
                  <a:noFill/>
                </a:ln>
                <a:solidFill>
                  <a:schemeClr val="bg1">
                    <a:lumMod val="75000"/>
                  </a:schemeClr>
                </a:solidFill>
                <a:effectLst/>
                <a:uLnTx/>
                <a:uFillTx/>
                <a:latin typeface="Calibri"/>
                <a:ea typeface="+mn-ea"/>
                <a:cs typeface="Calibri" panose="020F0502020204030204" pitchFamily="34" charset="0"/>
              </a:rPr>
            </a:br>
            <a:r>
              <a:rPr kumimoji="0" lang="en-GB" sz="1000" b="1" i="0" u="none" strike="noStrike" kern="0" cap="none" spc="0" normalizeH="0" baseline="0" noProof="0">
                <a:ln>
                  <a:noFill/>
                </a:ln>
                <a:solidFill>
                  <a:schemeClr val="bg1">
                    <a:lumMod val="75000"/>
                  </a:schemeClr>
                </a:solidFill>
                <a:effectLst/>
                <a:uLnTx/>
                <a:uFillTx/>
                <a:latin typeface="Calibri"/>
                <a:ea typeface="+mn-ea"/>
                <a:cs typeface="Calibri" panose="020F0502020204030204" pitchFamily="34" charset="0"/>
              </a:rPr>
              <a:t>damage incidents</a:t>
            </a:r>
          </a:p>
        </p:txBody>
      </p:sp>
      <p:sp>
        <p:nvSpPr>
          <p:cNvPr id="36" name="Rectangle 35">
            <a:extLst>
              <a:ext uri="{FF2B5EF4-FFF2-40B4-BE49-F238E27FC236}">
                <a16:creationId xmlns:a16="http://schemas.microsoft.com/office/drawing/2014/main" id="{9C917088-DA55-7A7A-F755-524E940ABBC1}"/>
              </a:ext>
            </a:extLst>
          </p:cNvPr>
          <p:cNvSpPr>
            <a:spLocks/>
          </p:cNvSpPr>
          <p:nvPr/>
        </p:nvSpPr>
        <p:spPr>
          <a:xfrm>
            <a:off x="2516880" y="5600745"/>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lumMod val="75000"/>
                  </a:schemeClr>
                </a:solidFill>
                <a:effectLst/>
                <a:uLnTx/>
                <a:uFillTx/>
                <a:latin typeface="Calibri"/>
                <a:ea typeface="+mn-ea"/>
                <a:cs typeface="Calibri" panose="020F0502020204030204" pitchFamily="34" charset="0"/>
              </a:rPr>
              <a:t>Proliferation of illicit economic activity</a:t>
            </a:r>
          </a:p>
        </p:txBody>
      </p:sp>
      <p:cxnSp>
        <p:nvCxnSpPr>
          <p:cNvPr id="37" name="Straight Connector 36">
            <a:extLst>
              <a:ext uri="{FF2B5EF4-FFF2-40B4-BE49-F238E27FC236}">
                <a16:creationId xmlns:a16="http://schemas.microsoft.com/office/drawing/2014/main" id="{F698437F-61A8-1999-5719-C1C5FE3B59C6}"/>
              </a:ext>
            </a:extLst>
          </p:cNvPr>
          <p:cNvCxnSpPr>
            <a:cxnSpLocks/>
          </p:cNvCxnSpPr>
          <p:nvPr/>
        </p:nvCxnSpPr>
        <p:spPr>
          <a:xfrm>
            <a:off x="653421" y="253856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E05BB83-BBC1-4D6D-A0DE-77D331FD078F}"/>
              </a:ext>
            </a:extLst>
          </p:cNvPr>
          <p:cNvCxnSpPr>
            <a:cxnSpLocks/>
          </p:cNvCxnSpPr>
          <p:nvPr/>
        </p:nvCxnSpPr>
        <p:spPr>
          <a:xfrm>
            <a:off x="9970716" y="253856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441ADB-12EC-4467-87D8-6AB2B3161630}"/>
              </a:ext>
            </a:extLst>
          </p:cNvPr>
          <p:cNvCxnSpPr>
            <a:cxnSpLocks/>
          </p:cNvCxnSpPr>
          <p:nvPr/>
        </p:nvCxnSpPr>
        <p:spPr>
          <a:xfrm>
            <a:off x="6243798" y="2536861"/>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DA135B6-B766-AAB5-81D3-83262A0FA5A3}"/>
              </a:ext>
            </a:extLst>
          </p:cNvPr>
          <p:cNvCxnSpPr>
            <a:cxnSpLocks/>
          </p:cNvCxnSpPr>
          <p:nvPr/>
        </p:nvCxnSpPr>
        <p:spPr>
          <a:xfrm>
            <a:off x="4380339" y="253856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30B5B30-BC15-4606-0E17-6070DEB07A22}"/>
              </a:ext>
            </a:extLst>
          </p:cNvPr>
          <p:cNvCxnSpPr>
            <a:cxnSpLocks/>
          </p:cNvCxnSpPr>
          <p:nvPr/>
        </p:nvCxnSpPr>
        <p:spPr>
          <a:xfrm>
            <a:off x="2516880" y="253856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E782FBE-71FE-F7F5-1353-5CCC9DDF3AB6}"/>
              </a:ext>
            </a:extLst>
          </p:cNvPr>
          <p:cNvCxnSpPr>
            <a:cxnSpLocks/>
          </p:cNvCxnSpPr>
          <p:nvPr/>
        </p:nvCxnSpPr>
        <p:spPr>
          <a:xfrm>
            <a:off x="653421" y="328335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77D556-31D1-E694-8DC8-D1D3579ACC81}"/>
              </a:ext>
            </a:extLst>
          </p:cNvPr>
          <p:cNvCxnSpPr>
            <a:cxnSpLocks/>
          </p:cNvCxnSpPr>
          <p:nvPr/>
        </p:nvCxnSpPr>
        <p:spPr>
          <a:xfrm>
            <a:off x="9970716" y="328335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F808161-7AA6-BEA4-C5CC-EDA4E991B8FB}"/>
              </a:ext>
            </a:extLst>
          </p:cNvPr>
          <p:cNvCxnSpPr>
            <a:cxnSpLocks/>
          </p:cNvCxnSpPr>
          <p:nvPr/>
        </p:nvCxnSpPr>
        <p:spPr>
          <a:xfrm>
            <a:off x="6243798" y="328166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C41685D-3E25-1A7F-5BED-A2109F82551A}"/>
              </a:ext>
            </a:extLst>
          </p:cNvPr>
          <p:cNvCxnSpPr>
            <a:cxnSpLocks/>
          </p:cNvCxnSpPr>
          <p:nvPr/>
        </p:nvCxnSpPr>
        <p:spPr>
          <a:xfrm>
            <a:off x="4380339" y="328335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E3A81AC-9192-D597-69A1-424B657EEB8F}"/>
              </a:ext>
            </a:extLst>
          </p:cNvPr>
          <p:cNvCxnSpPr>
            <a:cxnSpLocks/>
          </p:cNvCxnSpPr>
          <p:nvPr/>
        </p:nvCxnSpPr>
        <p:spPr>
          <a:xfrm>
            <a:off x="2516880" y="328335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894E0C6-B944-99F1-79B0-D6D380329F64}"/>
              </a:ext>
            </a:extLst>
          </p:cNvPr>
          <p:cNvCxnSpPr>
            <a:cxnSpLocks/>
          </p:cNvCxnSpPr>
          <p:nvPr/>
        </p:nvCxnSpPr>
        <p:spPr>
          <a:xfrm>
            <a:off x="653421" y="402558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D62DA48-5006-3980-0F79-BBDDEF684DC7}"/>
              </a:ext>
            </a:extLst>
          </p:cNvPr>
          <p:cNvCxnSpPr>
            <a:cxnSpLocks/>
          </p:cNvCxnSpPr>
          <p:nvPr/>
        </p:nvCxnSpPr>
        <p:spPr>
          <a:xfrm>
            <a:off x="9970716" y="402558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17BC462-E9D4-817C-C29A-4E4E8B9E69C7}"/>
              </a:ext>
            </a:extLst>
          </p:cNvPr>
          <p:cNvCxnSpPr>
            <a:cxnSpLocks/>
          </p:cNvCxnSpPr>
          <p:nvPr/>
        </p:nvCxnSpPr>
        <p:spPr>
          <a:xfrm>
            <a:off x="6243798" y="402388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737DF44-CD10-222A-0305-4223B6408505}"/>
              </a:ext>
            </a:extLst>
          </p:cNvPr>
          <p:cNvCxnSpPr>
            <a:cxnSpLocks/>
          </p:cNvCxnSpPr>
          <p:nvPr/>
        </p:nvCxnSpPr>
        <p:spPr>
          <a:xfrm>
            <a:off x="4380339" y="402558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8DFF47D-907B-CD01-E7A1-E6728597A47A}"/>
              </a:ext>
            </a:extLst>
          </p:cNvPr>
          <p:cNvCxnSpPr>
            <a:cxnSpLocks/>
          </p:cNvCxnSpPr>
          <p:nvPr/>
        </p:nvCxnSpPr>
        <p:spPr>
          <a:xfrm>
            <a:off x="2516880" y="402558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F5A6236-D232-04EE-2BBF-03724898CAF4}"/>
              </a:ext>
            </a:extLst>
          </p:cNvPr>
          <p:cNvCxnSpPr>
            <a:cxnSpLocks/>
          </p:cNvCxnSpPr>
          <p:nvPr/>
        </p:nvCxnSpPr>
        <p:spPr>
          <a:xfrm>
            <a:off x="653421" y="478190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E3EC220-D13D-98AA-374D-02D20E677CB3}"/>
              </a:ext>
            </a:extLst>
          </p:cNvPr>
          <p:cNvCxnSpPr>
            <a:cxnSpLocks/>
          </p:cNvCxnSpPr>
          <p:nvPr/>
        </p:nvCxnSpPr>
        <p:spPr>
          <a:xfrm>
            <a:off x="9970716" y="478190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9E97511-46E4-AABE-91AC-2AB9903A4196}"/>
              </a:ext>
            </a:extLst>
          </p:cNvPr>
          <p:cNvCxnSpPr>
            <a:cxnSpLocks/>
          </p:cNvCxnSpPr>
          <p:nvPr/>
        </p:nvCxnSpPr>
        <p:spPr>
          <a:xfrm>
            <a:off x="6243798" y="478020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10992F-DD8F-CDA1-4A48-C03B1E7A5A14}"/>
              </a:ext>
            </a:extLst>
          </p:cNvPr>
          <p:cNvCxnSpPr>
            <a:cxnSpLocks/>
          </p:cNvCxnSpPr>
          <p:nvPr/>
        </p:nvCxnSpPr>
        <p:spPr>
          <a:xfrm>
            <a:off x="4380339" y="4781907"/>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7D5B70E-01C0-C13F-81BE-3CB517B46397}"/>
              </a:ext>
            </a:extLst>
          </p:cNvPr>
          <p:cNvCxnSpPr>
            <a:cxnSpLocks/>
          </p:cNvCxnSpPr>
          <p:nvPr/>
        </p:nvCxnSpPr>
        <p:spPr>
          <a:xfrm>
            <a:off x="653421" y="5528036"/>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7E27CF-41D9-6364-1621-6708D73C6948}"/>
              </a:ext>
            </a:extLst>
          </p:cNvPr>
          <p:cNvCxnSpPr>
            <a:cxnSpLocks/>
          </p:cNvCxnSpPr>
          <p:nvPr/>
        </p:nvCxnSpPr>
        <p:spPr>
          <a:xfrm>
            <a:off x="9970716" y="5528036"/>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AAED846-C953-C5B3-73EF-54760148D64B}"/>
              </a:ext>
            </a:extLst>
          </p:cNvPr>
          <p:cNvCxnSpPr>
            <a:cxnSpLocks/>
          </p:cNvCxnSpPr>
          <p:nvPr/>
        </p:nvCxnSpPr>
        <p:spPr>
          <a:xfrm>
            <a:off x="4380339" y="5528036"/>
            <a:ext cx="1584553" cy="0"/>
          </a:xfrm>
          <a:prstGeom prst="line">
            <a:avLst/>
          </a:prstGeom>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0FB24C6-2AA6-4A3F-4947-2B56DA857D77}"/>
              </a:ext>
            </a:extLst>
          </p:cNvPr>
          <p:cNvCxnSpPr>
            <a:cxnSpLocks/>
          </p:cNvCxnSpPr>
          <p:nvPr/>
        </p:nvCxnSpPr>
        <p:spPr>
          <a:xfrm>
            <a:off x="2516880" y="5528036"/>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1D352E9-E495-23CA-4758-D91AF867E3C7}"/>
              </a:ext>
            </a:extLst>
          </p:cNvPr>
          <p:cNvCxnSpPr>
            <a:cxnSpLocks/>
          </p:cNvCxnSpPr>
          <p:nvPr/>
        </p:nvCxnSpPr>
        <p:spPr>
          <a:xfrm>
            <a:off x="653421" y="6277376"/>
            <a:ext cx="1584553" cy="0"/>
          </a:xfrm>
          <a:prstGeom prst="line">
            <a:avLst/>
          </a:prstGeom>
          <a:ln w="9525">
            <a:solidFill>
              <a:schemeClr val="bg2">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F03CA0D-DE34-275F-E204-230006E13884}"/>
              </a:ext>
            </a:extLst>
          </p:cNvPr>
          <p:cNvCxnSpPr>
            <a:cxnSpLocks/>
          </p:cNvCxnSpPr>
          <p:nvPr/>
        </p:nvCxnSpPr>
        <p:spPr>
          <a:xfrm>
            <a:off x="4447604" y="6277376"/>
            <a:ext cx="1584553" cy="0"/>
          </a:xfrm>
          <a:prstGeom prst="line">
            <a:avLst/>
          </a:prstGeom>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9F9B4B9-0DA1-F952-9AC9-89134FB9FDA3}"/>
              </a:ext>
            </a:extLst>
          </p:cNvPr>
          <p:cNvCxnSpPr>
            <a:cxnSpLocks/>
          </p:cNvCxnSpPr>
          <p:nvPr/>
        </p:nvCxnSpPr>
        <p:spPr>
          <a:xfrm>
            <a:off x="2516880" y="6277376"/>
            <a:ext cx="1584553" cy="0"/>
          </a:xfrm>
          <a:prstGeom prst="line">
            <a:avLst/>
          </a:prstGeom>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3" name="ico-chart-bar-33">
            <a:extLst>
              <a:ext uri="{FF2B5EF4-FFF2-40B4-BE49-F238E27FC236}">
                <a16:creationId xmlns:a16="http://schemas.microsoft.com/office/drawing/2014/main" id="{22A02ED1-1415-3F76-4EDA-4B1BE0ACED06}"/>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33434" y="2162345"/>
            <a:ext cx="308788" cy="308788"/>
          </a:xfrm>
          <a:prstGeom prst="rect">
            <a:avLst/>
          </a:prstGeom>
        </p:spPr>
      </p:pic>
      <p:cxnSp>
        <p:nvCxnSpPr>
          <p:cNvPr id="512" name="Straight Connector 511">
            <a:extLst>
              <a:ext uri="{FF2B5EF4-FFF2-40B4-BE49-F238E27FC236}">
                <a16:creationId xmlns:a16="http://schemas.microsoft.com/office/drawing/2014/main" id="{2D7926F7-1743-ECF3-F5D5-FBA956A6AC45}"/>
              </a:ext>
            </a:extLst>
          </p:cNvPr>
          <p:cNvCxnSpPr>
            <a:cxnSpLocks/>
          </p:cNvCxnSpPr>
          <p:nvPr/>
        </p:nvCxnSpPr>
        <p:spPr>
          <a:xfrm>
            <a:off x="653421" y="168823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3" name="Straight Connector 512">
            <a:extLst>
              <a:ext uri="{FF2B5EF4-FFF2-40B4-BE49-F238E27FC236}">
                <a16:creationId xmlns:a16="http://schemas.microsoft.com/office/drawing/2014/main" id="{63F2279D-ED36-4253-67D5-BCD13A565F9B}"/>
              </a:ext>
            </a:extLst>
          </p:cNvPr>
          <p:cNvCxnSpPr>
            <a:cxnSpLocks/>
          </p:cNvCxnSpPr>
          <p:nvPr/>
        </p:nvCxnSpPr>
        <p:spPr>
          <a:xfrm>
            <a:off x="9970716" y="168823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E9CCAA6A-F402-F54C-872E-FD066E8025B8}"/>
              </a:ext>
            </a:extLst>
          </p:cNvPr>
          <p:cNvCxnSpPr>
            <a:cxnSpLocks/>
          </p:cNvCxnSpPr>
          <p:nvPr/>
        </p:nvCxnSpPr>
        <p:spPr>
          <a:xfrm>
            <a:off x="4380339" y="168823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7F3D5F78-3378-E3EE-D57E-787655F9DF90}"/>
              </a:ext>
            </a:extLst>
          </p:cNvPr>
          <p:cNvCxnSpPr>
            <a:cxnSpLocks/>
          </p:cNvCxnSpPr>
          <p:nvPr/>
        </p:nvCxnSpPr>
        <p:spPr>
          <a:xfrm>
            <a:off x="2516880" y="168823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6" name="Rectangle 515">
            <a:extLst>
              <a:ext uri="{FF2B5EF4-FFF2-40B4-BE49-F238E27FC236}">
                <a16:creationId xmlns:a16="http://schemas.microsoft.com/office/drawing/2014/main" id="{84773AD2-5E2D-ED43-429F-19EDEAA76F6D}"/>
              </a:ext>
            </a:extLst>
          </p:cNvPr>
          <p:cNvSpPr>
            <a:spLocks/>
          </p:cNvSpPr>
          <p:nvPr/>
        </p:nvSpPr>
        <p:spPr>
          <a:xfrm>
            <a:off x="2516880"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Collapse of important industry or supply chains</a:t>
            </a:r>
          </a:p>
        </p:txBody>
      </p:sp>
      <p:grpSp>
        <p:nvGrpSpPr>
          <p:cNvPr id="517" name="Group 516">
            <a:extLst>
              <a:ext uri="{FF2B5EF4-FFF2-40B4-BE49-F238E27FC236}">
                <a16:creationId xmlns:a16="http://schemas.microsoft.com/office/drawing/2014/main" id="{90B95CB7-727E-7C34-AAAF-09F11B599765}"/>
              </a:ext>
            </a:extLst>
          </p:cNvPr>
          <p:cNvGrpSpPr/>
          <p:nvPr/>
        </p:nvGrpSpPr>
        <p:grpSpPr>
          <a:xfrm>
            <a:off x="465909" y="1754500"/>
            <a:ext cx="96118" cy="4576628"/>
            <a:chOff x="465909" y="1754500"/>
            <a:chExt cx="96118" cy="4576628"/>
          </a:xfrm>
          <a:solidFill>
            <a:schemeClr val="bg1">
              <a:lumMod val="95000"/>
            </a:schemeClr>
          </a:solidFill>
        </p:grpSpPr>
        <p:cxnSp>
          <p:nvCxnSpPr>
            <p:cNvPr id="518" name="Straight Connector 517">
              <a:extLst>
                <a:ext uri="{FF2B5EF4-FFF2-40B4-BE49-F238E27FC236}">
                  <a16:creationId xmlns:a16="http://schemas.microsoft.com/office/drawing/2014/main" id="{F16B7CE7-9939-9E66-F2DD-B63DBF1929A7}"/>
                </a:ext>
              </a:extLst>
            </p:cNvPr>
            <p:cNvCxnSpPr>
              <a:cxnSpLocks/>
            </p:cNvCxnSpPr>
            <p:nvPr/>
          </p:nvCxnSpPr>
          <p:spPr>
            <a:xfrm>
              <a:off x="513968" y="1891451"/>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71A2AB65-14F1-0466-4E51-D95ABBA72BE3}"/>
                </a:ext>
              </a:extLst>
            </p:cNvPr>
            <p:cNvCxnSpPr>
              <a:cxnSpLocks/>
            </p:cNvCxnSpPr>
            <p:nvPr/>
          </p:nvCxnSpPr>
          <p:spPr>
            <a:xfrm>
              <a:off x="513968" y="2638203"/>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CE2196FF-31CB-0FFC-41C2-719BF88760B3}"/>
                </a:ext>
              </a:extLst>
            </p:cNvPr>
            <p:cNvCxnSpPr>
              <a:cxnSpLocks/>
            </p:cNvCxnSpPr>
            <p:nvPr/>
          </p:nvCxnSpPr>
          <p:spPr>
            <a:xfrm>
              <a:off x="513968" y="3384954"/>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1" name="Straight Connector 520">
              <a:extLst>
                <a:ext uri="{FF2B5EF4-FFF2-40B4-BE49-F238E27FC236}">
                  <a16:creationId xmlns:a16="http://schemas.microsoft.com/office/drawing/2014/main" id="{287863E8-0610-C278-4F02-F466A75EFBC2}"/>
                </a:ext>
              </a:extLst>
            </p:cNvPr>
            <p:cNvCxnSpPr>
              <a:cxnSpLocks/>
            </p:cNvCxnSpPr>
            <p:nvPr/>
          </p:nvCxnSpPr>
          <p:spPr>
            <a:xfrm>
              <a:off x="513968" y="4131705"/>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2" name="Straight Connector 521">
              <a:extLst>
                <a:ext uri="{FF2B5EF4-FFF2-40B4-BE49-F238E27FC236}">
                  <a16:creationId xmlns:a16="http://schemas.microsoft.com/office/drawing/2014/main" id="{275780F2-9C8A-16C4-C1C0-DFA21140498B}"/>
                </a:ext>
              </a:extLst>
            </p:cNvPr>
            <p:cNvCxnSpPr>
              <a:cxnSpLocks/>
            </p:cNvCxnSpPr>
            <p:nvPr/>
          </p:nvCxnSpPr>
          <p:spPr>
            <a:xfrm>
              <a:off x="513968" y="4878457"/>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6722DE0F-1F11-AE9B-BDF1-0A4ACBF000A5}"/>
                </a:ext>
              </a:extLst>
            </p:cNvPr>
            <p:cNvCxnSpPr>
              <a:cxnSpLocks/>
            </p:cNvCxnSpPr>
            <p:nvPr/>
          </p:nvCxnSpPr>
          <p:spPr>
            <a:xfrm>
              <a:off x="513968" y="5625208"/>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4" name="Flowchart: Connector 523">
              <a:extLst>
                <a:ext uri="{FF2B5EF4-FFF2-40B4-BE49-F238E27FC236}">
                  <a16:creationId xmlns:a16="http://schemas.microsoft.com/office/drawing/2014/main" id="{7201448C-D736-DBD7-E6B1-FDDA4F254A1C}"/>
                </a:ext>
              </a:extLst>
            </p:cNvPr>
            <p:cNvSpPr/>
            <p:nvPr/>
          </p:nvSpPr>
          <p:spPr>
            <a:xfrm>
              <a:off x="465909" y="175450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525" name="Flowchart: Connector 524">
              <a:extLst>
                <a:ext uri="{FF2B5EF4-FFF2-40B4-BE49-F238E27FC236}">
                  <a16:creationId xmlns:a16="http://schemas.microsoft.com/office/drawing/2014/main" id="{3EE98625-A133-2DBB-0A84-206A3764582E}"/>
                </a:ext>
              </a:extLst>
            </p:cNvPr>
            <p:cNvSpPr/>
            <p:nvPr/>
          </p:nvSpPr>
          <p:spPr>
            <a:xfrm>
              <a:off x="465909" y="2501252"/>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526" name="Flowchart: Connector 525">
              <a:extLst>
                <a:ext uri="{FF2B5EF4-FFF2-40B4-BE49-F238E27FC236}">
                  <a16:creationId xmlns:a16="http://schemas.microsoft.com/office/drawing/2014/main" id="{6A9538C0-7640-DC30-194A-DD85C2532FEF}"/>
                </a:ext>
              </a:extLst>
            </p:cNvPr>
            <p:cNvSpPr/>
            <p:nvPr/>
          </p:nvSpPr>
          <p:spPr>
            <a:xfrm>
              <a:off x="465909" y="3248003"/>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527" name="Flowchart: Connector 526">
              <a:extLst>
                <a:ext uri="{FF2B5EF4-FFF2-40B4-BE49-F238E27FC236}">
                  <a16:creationId xmlns:a16="http://schemas.microsoft.com/office/drawing/2014/main" id="{73BE34EE-E499-FAF3-4118-09F612A55276}"/>
                </a:ext>
              </a:extLst>
            </p:cNvPr>
            <p:cNvSpPr/>
            <p:nvPr/>
          </p:nvSpPr>
          <p:spPr>
            <a:xfrm>
              <a:off x="465909" y="3994754"/>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528" name="Flowchart: Connector 527">
              <a:extLst>
                <a:ext uri="{FF2B5EF4-FFF2-40B4-BE49-F238E27FC236}">
                  <a16:creationId xmlns:a16="http://schemas.microsoft.com/office/drawing/2014/main" id="{F0CBE3FD-0BEF-38B7-8D25-235AEB5144D9}"/>
                </a:ext>
              </a:extLst>
            </p:cNvPr>
            <p:cNvSpPr/>
            <p:nvPr/>
          </p:nvSpPr>
          <p:spPr>
            <a:xfrm>
              <a:off x="465909" y="4741506"/>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530" name="Flowchart: Connector 529">
              <a:extLst>
                <a:ext uri="{FF2B5EF4-FFF2-40B4-BE49-F238E27FC236}">
                  <a16:creationId xmlns:a16="http://schemas.microsoft.com/office/drawing/2014/main" id="{F6B8FBBD-1550-CA3A-93A9-4CF5FDDC296F}"/>
                </a:ext>
              </a:extLst>
            </p:cNvPr>
            <p:cNvSpPr/>
            <p:nvPr/>
          </p:nvSpPr>
          <p:spPr>
            <a:xfrm>
              <a:off x="465909" y="5488257"/>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sp>
          <p:nvSpPr>
            <p:cNvPr id="531" name="Flowchart: Connector 530">
              <a:extLst>
                <a:ext uri="{FF2B5EF4-FFF2-40B4-BE49-F238E27FC236}">
                  <a16:creationId xmlns:a16="http://schemas.microsoft.com/office/drawing/2014/main" id="{F6E7A7FB-F405-668E-140F-8E4623A3EAAB}"/>
                </a:ext>
              </a:extLst>
            </p:cNvPr>
            <p:cNvSpPr/>
            <p:nvPr/>
          </p:nvSpPr>
          <p:spPr>
            <a:xfrm>
              <a:off x="465909" y="623501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chemeClr val="tx1"/>
                </a:solidFill>
                <a:effectLst/>
                <a:uLnTx/>
                <a:uFillTx/>
                <a:latin typeface="Calibri"/>
                <a:ea typeface="+mn-ea"/>
                <a:cs typeface="Calibri" panose="020F0502020204030204" pitchFamily="34" charset="0"/>
              </a:endParaRPr>
            </a:p>
          </p:txBody>
        </p:sp>
      </p:grpSp>
      <p:grpSp>
        <p:nvGrpSpPr>
          <p:cNvPr id="532" name="Group 531">
            <a:extLst>
              <a:ext uri="{FF2B5EF4-FFF2-40B4-BE49-F238E27FC236}">
                <a16:creationId xmlns:a16="http://schemas.microsoft.com/office/drawing/2014/main" id="{48683E0D-9E2F-245D-92CF-C3ED6196E0BC}"/>
              </a:ext>
            </a:extLst>
          </p:cNvPr>
          <p:cNvGrpSpPr/>
          <p:nvPr/>
        </p:nvGrpSpPr>
        <p:grpSpPr>
          <a:xfrm>
            <a:off x="9783204" y="1754500"/>
            <a:ext cx="96118" cy="3829422"/>
            <a:chOff x="9919162" y="1754500"/>
            <a:chExt cx="96118" cy="3829422"/>
          </a:xfrm>
          <a:solidFill>
            <a:schemeClr val="bg1">
              <a:lumMod val="95000"/>
            </a:schemeClr>
          </a:solidFill>
        </p:grpSpPr>
        <p:cxnSp>
          <p:nvCxnSpPr>
            <p:cNvPr id="533" name="Straight Connector 532">
              <a:extLst>
                <a:ext uri="{FF2B5EF4-FFF2-40B4-BE49-F238E27FC236}">
                  <a16:creationId xmlns:a16="http://schemas.microsoft.com/office/drawing/2014/main" id="{26207F37-465B-C59C-AE0A-943D5DE7E407}"/>
                </a:ext>
              </a:extLst>
            </p:cNvPr>
            <p:cNvCxnSpPr>
              <a:cxnSpLocks/>
            </p:cNvCxnSpPr>
            <p:nvPr/>
          </p:nvCxnSpPr>
          <p:spPr>
            <a:xfrm>
              <a:off x="9967221" y="1891451"/>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4" name="Straight Connector 533">
              <a:extLst>
                <a:ext uri="{FF2B5EF4-FFF2-40B4-BE49-F238E27FC236}">
                  <a16:creationId xmlns:a16="http://schemas.microsoft.com/office/drawing/2014/main" id="{058CF36A-29B1-0601-601B-F09C911D31C2}"/>
                </a:ext>
              </a:extLst>
            </p:cNvPr>
            <p:cNvCxnSpPr>
              <a:cxnSpLocks/>
            </p:cNvCxnSpPr>
            <p:nvPr/>
          </p:nvCxnSpPr>
          <p:spPr>
            <a:xfrm>
              <a:off x="9967221" y="2638203"/>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5" name="Straight Connector 534">
              <a:extLst>
                <a:ext uri="{FF2B5EF4-FFF2-40B4-BE49-F238E27FC236}">
                  <a16:creationId xmlns:a16="http://schemas.microsoft.com/office/drawing/2014/main" id="{920CA15D-C87E-29C4-0CB7-2DB5B2552A4F}"/>
                </a:ext>
              </a:extLst>
            </p:cNvPr>
            <p:cNvCxnSpPr>
              <a:cxnSpLocks/>
            </p:cNvCxnSpPr>
            <p:nvPr/>
          </p:nvCxnSpPr>
          <p:spPr>
            <a:xfrm>
              <a:off x="9967221" y="3384954"/>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6" name="Straight Connector 535">
              <a:extLst>
                <a:ext uri="{FF2B5EF4-FFF2-40B4-BE49-F238E27FC236}">
                  <a16:creationId xmlns:a16="http://schemas.microsoft.com/office/drawing/2014/main" id="{B4780512-E1A2-F21E-8E46-F559B3469449}"/>
                </a:ext>
              </a:extLst>
            </p:cNvPr>
            <p:cNvCxnSpPr>
              <a:cxnSpLocks/>
            </p:cNvCxnSpPr>
            <p:nvPr/>
          </p:nvCxnSpPr>
          <p:spPr>
            <a:xfrm>
              <a:off x="9967221" y="4131705"/>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7" name="Straight Connector 536">
              <a:extLst>
                <a:ext uri="{FF2B5EF4-FFF2-40B4-BE49-F238E27FC236}">
                  <a16:creationId xmlns:a16="http://schemas.microsoft.com/office/drawing/2014/main" id="{4C5F210D-0E02-44A5-9F55-645D0B8C3FDB}"/>
                </a:ext>
              </a:extLst>
            </p:cNvPr>
            <p:cNvCxnSpPr>
              <a:cxnSpLocks/>
            </p:cNvCxnSpPr>
            <p:nvPr/>
          </p:nvCxnSpPr>
          <p:spPr>
            <a:xfrm>
              <a:off x="9967221" y="4878457"/>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8" name="Flowchart: Connector 537">
              <a:extLst>
                <a:ext uri="{FF2B5EF4-FFF2-40B4-BE49-F238E27FC236}">
                  <a16:creationId xmlns:a16="http://schemas.microsoft.com/office/drawing/2014/main" id="{C6EB350A-C891-B3F5-3386-723842439E23}"/>
                </a:ext>
              </a:extLst>
            </p:cNvPr>
            <p:cNvSpPr/>
            <p:nvPr/>
          </p:nvSpPr>
          <p:spPr>
            <a:xfrm>
              <a:off x="9919162" y="175450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B2025B"/>
                </a:solidFill>
                <a:effectLst/>
                <a:uLnTx/>
                <a:uFillTx/>
                <a:latin typeface="Calibri"/>
                <a:ea typeface="+mn-ea"/>
                <a:cs typeface="Calibri" panose="020F0502020204030204" pitchFamily="34" charset="0"/>
              </a:endParaRPr>
            </a:p>
          </p:txBody>
        </p:sp>
        <p:sp>
          <p:nvSpPr>
            <p:cNvPr id="539" name="Flowchart: Connector 538">
              <a:extLst>
                <a:ext uri="{FF2B5EF4-FFF2-40B4-BE49-F238E27FC236}">
                  <a16:creationId xmlns:a16="http://schemas.microsoft.com/office/drawing/2014/main" id="{D3C76994-7BB1-04E7-6712-19A71CCF9555}"/>
                </a:ext>
              </a:extLst>
            </p:cNvPr>
            <p:cNvSpPr/>
            <p:nvPr/>
          </p:nvSpPr>
          <p:spPr>
            <a:xfrm>
              <a:off x="9919162" y="250185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40" name="Flowchart: Connector 539">
              <a:extLst>
                <a:ext uri="{FF2B5EF4-FFF2-40B4-BE49-F238E27FC236}">
                  <a16:creationId xmlns:a16="http://schemas.microsoft.com/office/drawing/2014/main" id="{DF499E5F-0507-78DD-DA6C-B1AEF741F2C6}"/>
                </a:ext>
              </a:extLst>
            </p:cNvPr>
            <p:cNvSpPr/>
            <p:nvPr/>
          </p:nvSpPr>
          <p:spPr>
            <a:xfrm>
              <a:off x="9919162" y="3245898"/>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41" name="Flowchart: Connector 540">
              <a:extLst>
                <a:ext uri="{FF2B5EF4-FFF2-40B4-BE49-F238E27FC236}">
                  <a16:creationId xmlns:a16="http://schemas.microsoft.com/office/drawing/2014/main" id="{D398545C-57F3-6058-F4FD-27B0140252C3}"/>
                </a:ext>
              </a:extLst>
            </p:cNvPr>
            <p:cNvSpPr/>
            <p:nvPr/>
          </p:nvSpPr>
          <p:spPr>
            <a:xfrm>
              <a:off x="9919162" y="3993248"/>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42" name="Flowchart: Connector 541">
              <a:extLst>
                <a:ext uri="{FF2B5EF4-FFF2-40B4-BE49-F238E27FC236}">
                  <a16:creationId xmlns:a16="http://schemas.microsoft.com/office/drawing/2014/main" id="{D8780308-54F9-1768-FBA6-0B4F5254538F}"/>
                </a:ext>
              </a:extLst>
            </p:cNvPr>
            <p:cNvSpPr/>
            <p:nvPr/>
          </p:nvSpPr>
          <p:spPr>
            <a:xfrm>
              <a:off x="9919162" y="4740454"/>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43" name="Flowchart: Connector 542">
              <a:extLst>
                <a:ext uri="{FF2B5EF4-FFF2-40B4-BE49-F238E27FC236}">
                  <a16:creationId xmlns:a16="http://schemas.microsoft.com/office/drawing/2014/main" id="{8C0CF767-84C3-3132-5A88-D9BC35683960}"/>
                </a:ext>
              </a:extLst>
            </p:cNvPr>
            <p:cNvSpPr/>
            <p:nvPr/>
          </p:nvSpPr>
          <p:spPr>
            <a:xfrm>
              <a:off x="9919162" y="5487804"/>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grpSp>
      <p:grpSp>
        <p:nvGrpSpPr>
          <p:cNvPr id="544" name="Group 543">
            <a:extLst>
              <a:ext uri="{FF2B5EF4-FFF2-40B4-BE49-F238E27FC236}">
                <a16:creationId xmlns:a16="http://schemas.microsoft.com/office/drawing/2014/main" id="{4E0FB3C1-00A5-F7F6-05EF-B2F10E7FBD36}"/>
              </a:ext>
            </a:extLst>
          </p:cNvPr>
          <p:cNvGrpSpPr/>
          <p:nvPr/>
        </p:nvGrpSpPr>
        <p:grpSpPr>
          <a:xfrm>
            <a:off x="6056286" y="1752802"/>
            <a:ext cx="96118" cy="3082072"/>
            <a:chOff x="6153642" y="1752802"/>
            <a:chExt cx="96118" cy="3082072"/>
          </a:xfrm>
          <a:solidFill>
            <a:schemeClr val="bg1">
              <a:lumMod val="95000"/>
            </a:schemeClr>
          </a:solidFill>
        </p:grpSpPr>
        <p:cxnSp>
          <p:nvCxnSpPr>
            <p:cNvPr id="545" name="Straight Connector 544">
              <a:extLst>
                <a:ext uri="{FF2B5EF4-FFF2-40B4-BE49-F238E27FC236}">
                  <a16:creationId xmlns:a16="http://schemas.microsoft.com/office/drawing/2014/main" id="{D7E6FB4C-D7ED-9BA1-C04E-0FCCE59420C6}"/>
                </a:ext>
              </a:extLst>
            </p:cNvPr>
            <p:cNvCxnSpPr>
              <a:cxnSpLocks/>
            </p:cNvCxnSpPr>
            <p:nvPr/>
          </p:nvCxnSpPr>
          <p:spPr>
            <a:xfrm>
              <a:off x="6201701" y="1889753"/>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4950B10D-11C1-4374-AD76-DA43355C844C}"/>
                </a:ext>
              </a:extLst>
            </p:cNvPr>
            <p:cNvCxnSpPr>
              <a:cxnSpLocks/>
            </p:cNvCxnSpPr>
            <p:nvPr/>
          </p:nvCxnSpPr>
          <p:spPr>
            <a:xfrm>
              <a:off x="6201701" y="2636504"/>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7" name="Straight Connector 546">
              <a:extLst>
                <a:ext uri="{FF2B5EF4-FFF2-40B4-BE49-F238E27FC236}">
                  <a16:creationId xmlns:a16="http://schemas.microsoft.com/office/drawing/2014/main" id="{0109B039-F103-53F8-6542-69501A25A8DC}"/>
                </a:ext>
              </a:extLst>
            </p:cNvPr>
            <p:cNvCxnSpPr>
              <a:cxnSpLocks/>
            </p:cNvCxnSpPr>
            <p:nvPr/>
          </p:nvCxnSpPr>
          <p:spPr>
            <a:xfrm>
              <a:off x="6201701" y="3383256"/>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8" name="Straight Connector 547">
              <a:extLst>
                <a:ext uri="{FF2B5EF4-FFF2-40B4-BE49-F238E27FC236}">
                  <a16:creationId xmlns:a16="http://schemas.microsoft.com/office/drawing/2014/main" id="{7F0CBBDD-70E8-3A4D-37AB-84E4BFAEB87D}"/>
                </a:ext>
              </a:extLst>
            </p:cNvPr>
            <p:cNvCxnSpPr>
              <a:cxnSpLocks/>
            </p:cNvCxnSpPr>
            <p:nvPr/>
          </p:nvCxnSpPr>
          <p:spPr>
            <a:xfrm>
              <a:off x="6201701" y="4130007"/>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9" name="Flowchart: Connector 548">
              <a:extLst>
                <a:ext uri="{FF2B5EF4-FFF2-40B4-BE49-F238E27FC236}">
                  <a16:creationId xmlns:a16="http://schemas.microsoft.com/office/drawing/2014/main" id="{87C33C3C-4C6C-B0AB-46C2-033DB1A9E5C7}"/>
                </a:ext>
              </a:extLst>
            </p:cNvPr>
            <p:cNvSpPr/>
            <p:nvPr/>
          </p:nvSpPr>
          <p:spPr>
            <a:xfrm>
              <a:off x="6153642" y="1752802"/>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50" name="Flowchart: Connector 549">
              <a:extLst>
                <a:ext uri="{FF2B5EF4-FFF2-40B4-BE49-F238E27FC236}">
                  <a16:creationId xmlns:a16="http://schemas.microsoft.com/office/drawing/2014/main" id="{48EDAF32-1725-146F-FE74-B061893F523C}"/>
                </a:ext>
              </a:extLst>
            </p:cNvPr>
            <p:cNvSpPr/>
            <p:nvPr/>
          </p:nvSpPr>
          <p:spPr>
            <a:xfrm>
              <a:off x="6153642" y="2500152"/>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51" name="Flowchart: Connector 550">
              <a:extLst>
                <a:ext uri="{FF2B5EF4-FFF2-40B4-BE49-F238E27FC236}">
                  <a16:creationId xmlns:a16="http://schemas.microsoft.com/office/drawing/2014/main" id="{C358358A-4286-0CFF-00FC-09D064EFDC9F}"/>
                </a:ext>
              </a:extLst>
            </p:cNvPr>
            <p:cNvSpPr/>
            <p:nvPr/>
          </p:nvSpPr>
          <p:spPr>
            <a:xfrm>
              <a:off x="6153642" y="3244199"/>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52" name="Flowchart: Connector 551">
              <a:extLst>
                <a:ext uri="{FF2B5EF4-FFF2-40B4-BE49-F238E27FC236}">
                  <a16:creationId xmlns:a16="http://schemas.microsoft.com/office/drawing/2014/main" id="{1337482D-96C1-C413-4127-C62546AEB0EA}"/>
                </a:ext>
              </a:extLst>
            </p:cNvPr>
            <p:cNvSpPr/>
            <p:nvPr/>
          </p:nvSpPr>
          <p:spPr>
            <a:xfrm>
              <a:off x="6153642" y="3991549"/>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53" name="Flowchart: Connector 552">
              <a:extLst>
                <a:ext uri="{FF2B5EF4-FFF2-40B4-BE49-F238E27FC236}">
                  <a16:creationId xmlns:a16="http://schemas.microsoft.com/office/drawing/2014/main" id="{B97317A4-CBD3-4298-DA1B-085B3A53BBB8}"/>
                </a:ext>
              </a:extLst>
            </p:cNvPr>
            <p:cNvSpPr/>
            <p:nvPr/>
          </p:nvSpPr>
          <p:spPr>
            <a:xfrm>
              <a:off x="6153642" y="4738756"/>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grpSp>
      <p:pic>
        <p:nvPicPr>
          <p:cNvPr id="554" name="ico-lead">
            <a:extLst>
              <a:ext uri="{FF2B5EF4-FFF2-40B4-BE49-F238E27FC236}">
                <a16:creationId xmlns:a16="http://schemas.microsoft.com/office/drawing/2014/main" id="{9675FE87-625F-A257-200B-15D454F4F499}"/>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246481" y="3646704"/>
            <a:ext cx="308788" cy="308788"/>
          </a:xfrm>
          <a:prstGeom prst="rect">
            <a:avLst/>
          </a:prstGeom>
        </p:spPr>
      </p:pic>
      <p:pic>
        <p:nvPicPr>
          <p:cNvPr id="555" name="ico-globe">
            <a:extLst>
              <a:ext uri="{FF2B5EF4-FFF2-40B4-BE49-F238E27FC236}">
                <a16:creationId xmlns:a16="http://schemas.microsoft.com/office/drawing/2014/main" id="{82CB3A32-51CA-E9C0-8FFA-A2CD099DB0E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953440" y="2926911"/>
            <a:ext cx="284534" cy="284534"/>
          </a:xfrm>
          <a:prstGeom prst="rect">
            <a:avLst/>
          </a:prstGeom>
        </p:spPr>
      </p:pic>
      <p:pic>
        <p:nvPicPr>
          <p:cNvPr id="556" name="ico-ambulance">
            <a:extLst>
              <a:ext uri="{FF2B5EF4-FFF2-40B4-BE49-F238E27FC236}">
                <a16:creationId xmlns:a16="http://schemas.microsoft.com/office/drawing/2014/main" id="{81C034B2-1B66-4F80-828D-2DB8FAEEE13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519563" y="3645006"/>
            <a:ext cx="308788" cy="308788"/>
          </a:xfrm>
          <a:prstGeom prst="rect">
            <a:avLst/>
          </a:prstGeom>
        </p:spPr>
      </p:pic>
      <p:pic>
        <p:nvPicPr>
          <p:cNvPr id="557" name="ico-line-graph">
            <a:extLst>
              <a:ext uri="{FF2B5EF4-FFF2-40B4-BE49-F238E27FC236}">
                <a16:creationId xmlns:a16="http://schemas.microsoft.com/office/drawing/2014/main" id="{A4DE0998-0526-7550-25B2-306B70BA383A}"/>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246481" y="4394054"/>
            <a:ext cx="308788" cy="308788"/>
          </a:xfrm>
          <a:prstGeom prst="rect">
            <a:avLst/>
          </a:prstGeom>
        </p:spPr>
      </p:pic>
      <p:pic>
        <p:nvPicPr>
          <p:cNvPr id="558" name="ico-white-house">
            <a:extLst>
              <a:ext uri="{FF2B5EF4-FFF2-40B4-BE49-F238E27FC236}">
                <a16:creationId xmlns:a16="http://schemas.microsoft.com/office/drawing/2014/main" id="{BF0E79E6-6DAC-9BE1-5B94-C030EFA39195}"/>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929186" y="3646704"/>
            <a:ext cx="308788" cy="308788"/>
          </a:xfrm>
          <a:prstGeom prst="rect">
            <a:avLst/>
          </a:prstGeom>
        </p:spPr>
      </p:pic>
      <p:pic>
        <p:nvPicPr>
          <p:cNvPr id="559" name="ico-flood">
            <a:extLst>
              <a:ext uri="{FF2B5EF4-FFF2-40B4-BE49-F238E27FC236}">
                <a16:creationId xmlns:a16="http://schemas.microsoft.com/office/drawing/2014/main" id="{1F44FF24-C46A-6EDF-B4D4-DF5C1F33B4D8}"/>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631794" y="2129298"/>
            <a:ext cx="333098" cy="333098"/>
          </a:xfrm>
          <a:prstGeom prst="rect">
            <a:avLst/>
          </a:prstGeom>
        </p:spPr>
      </p:pic>
      <p:pic>
        <p:nvPicPr>
          <p:cNvPr id="560" name="ico-coins">
            <a:extLst>
              <a:ext uri="{FF2B5EF4-FFF2-40B4-BE49-F238E27FC236}">
                <a16:creationId xmlns:a16="http://schemas.microsoft.com/office/drawing/2014/main" id="{D65780AA-C3F7-01A7-031B-76FB8161170B}"/>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3792645" y="3646704"/>
            <a:ext cx="308788" cy="308788"/>
          </a:xfrm>
          <a:prstGeom prst="rect">
            <a:avLst/>
          </a:prstGeom>
        </p:spPr>
      </p:pic>
      <p:pic>
        <p:nvPicPr>
          <p:cNvPr id="561" name="ico-resilience">
            <a:extLst>
              <a:ext uri="{FF2B5EF4-FFF2-40B4-BE49-F238E27FC236}">
                <a16:creationId xmlns:a16="http://schemas.microsoft.com/office/drawing/2014/main" id="{34FB0DEB-9A23-E38A-732F-BCFFB9601222}"/>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650832" y="3641432"/>
            <a:ext cx="314060" cy="314060"/>
          </a:xfrm>
          <a:prstGeom prst="rect">
            <a:avLst/>
          </a:prstGeom>
        </p:spPr>
      </p:pic>
      <p:pic>
        <p:nvPicPr>
          <p:cNvPr id="562" name="ico-trend-down">
            <a:extLst>
              <a:ext uri="{FF2B5EF4-FFF2-40B4-BE49-F238E27FC236}">
                <a16:creationId xmlns:a16="http://schemas.microsoft.com/office/drawing/2014/main" id="{15BB1B83-4118-A851-9958-42080DE27FBB}"/>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3792645" y="2902657"/>
            <a:ext cx="308788" cy="308788"/>
          </a:xfrm>
          <a:prstGeom prst="rect">
            <a:avLst/>
          </a:prstGeom>
        </p:spPr>
      </p:pic>
      <p:pic>
        <p:nvPicPr>
          <p:cNvPr id="563" name="ico-disperse">
            <a:extLst>
              <a:ext uri="{FF2B5EF4-FFF2-40B4-BE49-F238E27FC236}">
                <a16:creationId xmlns:a16="http://schemas.microsoft.com/office/drawing/2014/main" id="{1ED0A432-E3BB-AD02-6062-2CB8148218E1}"/>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929186" y="4394054"/>
            <a:ext cx="308788" cy="308788"/>
          </a:xfrm>
          <a:prstGeom prst="rect">
            <a:avLst/>
          </a:prstGeom>
        </p:spPr>
      </p:pic>
      <p:pic>
        <p:nvPicPr>
          <p:cNvPr id="564" name="ico-global-warming">
            <a:extLst>
              <a:ext uri="{FF2B5EF4-FFF2-40B4-BE49-F238E27FC236}">
                <a16:creationId xmlns:a16="http://schemas.microsoft.com/office/drawing/2014/main" id="{201989F5-7BF0-DFBF-E211-D44E8EFE0FA6}"/>
              </a:ext>
            </a:extLst>
          </p:cNvPr>
          <p:cNvPicPr>
            <a:picLocks noChangeAspect="1"/>
          </p:cNvPicPr>
          <p:nvPr/>
        </p:nvPicPr>
        <p:blipFill>
          <a:blip r:embed="rId28">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3792645" y="4394054"/>
            <a:ext cx="308788" cy="308788"/>
          </a:xfrm>
          <a:prstGeom prst="rect">
            <a:avLst/>
          </a:prstGeom>
        </p:spPr>
      </p:pic>
      <p:pic>
        <p:nvPicPr>
          <p:cNvPr id="565" name="ico-bag-remove-19">
            <a:extLst>
              <a:ext uri="{FF2B5EF4-FFF2-40B4-BE49-F238E27FC236}">
                <a16:creationId xmlns:a16="http://schemas.microsoft.com/office/drawing/2014/main" id="{C8A5FEA7-A0A5-6F6D-F5DF-E878EFFEE968}"/>
              </a:ext>
            </a:extLst>
          </p:cNvPr>
          <p:cNvPicPr>
            <a:picLocks noChangeAspect="1"/>
          </p:cNvPicPr>
          <p:nvPr/>
        </p:nvPicPr>
        <p:blipFill>
          <a:blip r:embed="rId30">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7519563" y="4392356"/>
            <a:ext cx="308788" cy="308788"/>
          </a:xfrm>
          <a:prstGeom prst="rect">
            <a:avLst/>
          </a:prstGeom>
        </p:spPr>
      </p:pic>
      <p:grpSp>
        <p:nvGrpSpPr>
          <p:cNvPr id="566" name="Group 565">
            <a:extLst>
              <a:ext uri="{FF2B5EF4-FFF2-40B4-BE49-F238E27FC236}">
                <a16:creationId xmlns:a16="http://schemas.microsoft.com/office/drawing/2014/main" id="{262351A3-A479-716D-9F2A-D4E3A6BAACFE}"/>
              </a:ext>
            </a:extLst>
          </p:cNvPr>
          <p:cNvGrpSpPr/>
          <p:nvPr/>
        </p:nvGrpSpPr>
        <p:grpSpPr>
          <a:xfrm>
            <a:off x="4192827" y="1754500"/>
            <a:ext cx="96118" cy="4576628"/>
            <a:chOff x="4262228" y="1754500"/>
            <a:chExt cx="96118" cy="4576628"/>
          </a:xfrm>
          <a:solidFill>
            <a:schemeClr val="bg1">
              <a:lumMod val="95000"/>
            </a:schemeClr>
          </a:solidFill>
        </p:grpSpPr>
        <p:cxnSp>
          <p:nvCxnSpPr>
            <p:cNvPr id="567" name="Straight Connector 566">
              <a:extLst>
                <a:ext uri="{FF2B5EF4-FFF2-40B4-BE49-F238E27FC236}">
                  <a16:creationId xmlns:a16="http://schemas.microsoft.com/office/drawing/2014/main" id="{F2ACD126-618C-0EA1-B01C-EAE443BC8476}"/>
                </a:ext>
              </a:extLst>
            </p:cNvPr>
            <p:cNvCxnSpPr>
              <a:cxnSpLocks/>
            </p:cNvCxnSpPr>
            <p:nvPr/>
          </p:nvCxnSpPr>
          <p:spPr>
            <a:xfrm>
              <a:off x="4310287" y="1891451"/>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95A78375-6FAD-8114-F054-9557CD4D4FBF}"/>
                </a:ext>
              </a:extLst>
            </p:cNvPr>
            <p:cNvCxnSpPr>
              <a:cxnSpLocks/>
            </p:cNvCxnSpPr>
            <p:nvPr/>
          </p:nvCxnSpPr>
          <p:spPr>
            <a:xfrm>
              <a:off x="4310287" y="2638203"/>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2EAA3CE-3763-4FAA-E556-21902CD224EB}"/>
                </a:ext>
              </a:extLst>
            </p:cNvPr>
            <p:cNvCxnSpPr>
              <a:cxnSpLocks/>
            </p:cNvCxnSpPr>
            <p:nvPr/>
          </p:nvCxnSpPr>
          <p:spPr>
            <a:xfrm>
              <a:off x="4310287" y="3384954"/>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0" name="Straight Connector 569">
              <a:extLst>
                <a:ext uri="{FF2B5EF4-FFF2-40B4-BE49-F238E27FC236}">
                  <a16:creationId xmlns:a16="http://schemas.microsoft.com/office/drawing/2014/main" id="{33CD50A6-785B-C263-AF88-03BBFFA4BB10}"/>
                </a:ext>
              </a:extLst>
            </p:cNvPr>
            <p:cNvCxnSpPr>
              <a:cxnSpLocks/>
            </p:cNvCxnSpPr>
            <p:nvPr/>
          </p:nvCxnSpPr>
          <p:spPr>
            <a:xfrm>
              <a:off x="4310287" y="4131705"/>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1" name="Straight Connector 570">
              <a:extLst>
                <a:ext uri="{FF2B5EF4-FFF2-40B4-BE49-F238E27FC236}">
                  <a16:creationId xmlns:a16="http://schemas.microsoft.com/office/drawing/2014/main" id="{26A147D9-D0F0-4984-7AF4-643280C14FDF}"/>
                </a:ext>
              </a:extLst>
            </p:cNvPr>
            <p:cNvCxnSpPr>
              <a:cxnSpLocks/>
            </p:cNvCxnSpPr>
            <p:nvPr/>
          </p:nvCxnSpPr>
          <p:spPr>
            <a:xfrm>
              <a:off x="4310287" y="4878457"/>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33C629D6-88CD-7308-9E2A-ABDB923E0527}"/>
                </a:ext>
              </a:extLst>
            </p:cNvPr>
            <p:cNvCxnSpPr>
              <a:cxnSpLocks/>
            </p:cNvCxnSpPr>
            <p:nvPr/>
          </p:nvCxnSpPr>
          <p:spPr>
            <a:xfrm>
              <a:off x="4310287" y="5625208"/>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3" name="Flowchart: Connector 572">
              <a:extLst>
                <a:ext uri="{FF2B5EF4-FFF2-40B4-BE49-F238E27FC236}">
                  <a16:creationId xmlns:a16="http://schemas.microsoft.com/office/drawing/2014/main" id="{D83EBC82-7533-E6EA-1B72-A684F62FEAC4}"/>
                </a:ext>
              </a:extLst>
            </p:cNvPr>
            <p:cNvSpPr/>
            <p:nvPr/>
          </p:nvSpPr>
          <p:spPr>
            <a:xfrm>
              <a:off x="4262228" y="175450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74" name="Flowchart: Connector 573">
              <a:extLst>
                <a:ext uri="{FF2B5EF4-FFF2-40B4-BE49-F238E27FC236}">
                  <a16:creationId xmlns:a16="http://schemas.microsoft.com/office/drawing/2014/main" id="{FEFD0356-8192-F414-786E-01AE612831C5}"/>
                </a:ext>
              </a:extLst>
            </p:cNvPr>
            <p:cNvSpPr/>
            <p:nvPr/>
          </p:nvSpPr>
          <p:spPr>
            <a:xfrm>
              <a:off x="4262228" y="250185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75" name="Flowchart: Connector 574">
              <a:extLst>
                <a:ext uri="{FF2B5EF4-FFF2-40B4-BE49-F238E27FC236}">
                  <a16:creationId xmlns:a16="http://schemas.microsoft.com/office/drawing/2014/main" id="{1649E2C9-CCCD-D1D8-43F9-A29CFA99D4F6}"/>
                </a:ext>
              </a:extLst>
            </p:cNvPr>
            <p:cNvSpPr/>
            <p:nvPr/>
          </p:nvSpPr>
          <p:spPr>
            <a:xfrm>
              <a:off x="4262228" y="3237162"/>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76" name="Flowchart: Connector 575">
              <a:extLst>
                <a:ext uri="{FF2B5EF4-FFF2-40B4-BE49-F238E27FC236}">
                  <a16:creationId xmlns:a16="http://schemas.microsoft.com/office/drawing/2014/main" id="{090D6F8F-0B7D-E6E4-E27D-5C36B87E92C3}"/>
                </a:ext>
              </a:extLst>
            </p:cNvPr>
            <p:cNvSpPr/>
            <p:nvPr/>
          </p:nvSpPr>
          <p:spPr>
            <a:xfrm>
              <a:off x="4262228" y="3993248"/>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77" name="Flowchart: Connector 576">
              <a:extLst>
                <a:ext uri="{FF2B5EF4-FFF2-40B4-BE49-F238E27FC236}">
                  <a16:creationId xmlns:a16="http://schemas.microsoft.com/office/drawing/2014/main" id="{D53B5E96-1B9E-D9FF-539A-463FE657CF43}"/>
                </a:ext>
              </a:extLst>
            </p:cNvPr>
            <p:cNvSpPr/>
            <p:nvPr/>
          </p:nvSpPr>
          <p:spPr>
            <a:xfrm>
              <a:off x="4262228" y="4740454"/>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78" name="Flowchart: Connector 577">
              <a:extLst>
                <a:ext uri="{FF2B5EF4-FFF2-40B4-BE49-F238E27FC236}">
                  <a16:creationId xmlns:a16="http://schemas.microsoft.com/office/drawing/2014/main" id="{C1E42A1E-6506-C3ED-789D-F0CDA6D239E1}"/>
                </a:ext>
              </a:extLst>
            </p:cNvPr>
            <p:cNvSpPr/>
            <p:nvPr/>
          </p:nvSpPr>
          <p:spPr>
            <a:xfrm>
              <a:off x="4262228" y="5487804"/>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579" name="Flowchart: Connector 578">
              <a:extLst>
                <a:ext uri="{FF2B5EF4-FFF2-40B4-BE49-F238E27FC236}">
                  <a16:creationId xmlns:a16="http://schemas.microsoft.com/office/drawing/2014/main" id="{D33BFAE6-F2BE-5BBC-0532-6DD74A733797}"/>
                </a:ext>
              </a:extLst>
            </p:cNvPr>
            <p:cNvSpPr/>
            <p:nvPr/>
          </p:nvSpPr>
          <p:spPr>
            <a:xfrm>
              <a:off x="4262228" y="623501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grpSp>
      <p:grpSp>
        <p:nvGrpSpPr>
          <p:cNvPr id="580" name="Group 579">
            <a:extLst>
              <a:ext uri="{FF2B5EF4-FFF2-40B4-BE49-F238E27FC236}">
                <a16:creationId xmlns:a16="http://schemas.microsoft.com/office/drawing/2014/main" id="{1C0C0895-DDC2-CAA1-9F00-3A843D5B1B0E}"/>
              </a:ext>
            </a:extLst>
          </p:cNvPr>
          <p:cNvGrpSpPr/>
          <p:nvPr/>
        </p:nvGrpSpPr>
        <p:grpSpPr>
          <a:xfrm>
            <a:off x="2329368" y="1754500"/>
            <a:ext cx="96118" cy="4576628"/>
            <a:chOff x="2356274" y="1754500"/>
            <a:chExt cx="96118" cy="4576628"/>
          </a:xfrm>
          <a:solidFill>
            <a:schemeClr val="bg1">
              <a:lumMod val="95000"/>
            </a:schemeClr>
          </a:solidFill>
        </p:grpSpPr>
        <p:cxnSp>
          <p:nvCxnSpPr>
            <p:cNvPr id="581" name="Straight Connector 580">
              <a:extLst>
                <a:ext uri="{FF2B5EF4-FFF2-40B4-BE49-F238E27FC236}">
                  <a16:creationId xmlns:a16="http://schemas.microsoft.com/office/drawing/2014/main" id="{E9946514-9055-EE43-94E8-9B1707629CFF}"/>
                </a:ext>
              </a:extLst>
            </p:cNvPr>
            <p:cNvCxnSpPr>
              <a:cxnSpLocks/>
            </p:cNvCxnSpPr>
            <p:nvPr/>
          </p:nvCxnSpPr>
          <p:spPr>
            <a:xfrm>
              <a:off x="2404333" y="1891451"/>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63538DEE-CD37-E035-0371-5A5B804CA663}"/>
                </a:ext>
              </a:extLst>
            </p:cNvPr>
            <p:cNvCxnSpPr>
              <a:cxnSpLocks/>
            </p:cNvCxnSpPr>
            <p:nvPr/>
          </p:nvCxnSpPr>
          <p:spPr>
            <a:xfrm>
              <a:off x="2404333" y="2638203"/>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31CAF224-B951-1539-BC68-27019D02288F}"/>
                </a:ext>
              </a:extLst>
            </p:cNvPr>
            <p:cNvCxnSpPr>
              <a:cxnSpLocks/>
            </p:cNvCxnSpPr>
            <p:nvPr/>
          </p:nvCxnSpPr>
          <p:spPr>
            <a:xfrm>
              <a:off x="2404333" y="3384954"/>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F963B3A5-2020-4E24-4A0D-E19F4BDDB8DB}"/>
                </a:ext>
              </a:extLst>
            </p:cNvPr>
            <p:cNvCxnSpPr>
              <a:cxnSpLocks/>
            </p:cNvCxnSpPr>
            <p:nvPr/>
          </p:nvCxnSpPr>
          <p:spPr>
            <a:xfrm>
              <a:off x="2404333" y="4131705"/>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5" name="Straight Connector 584">
              <a:extLst>
                <a:ext uri="{FF2B5EF4-FFF2-40B4-BE49-F238E27FC236}">
                  <a16:creationId xmlns:a16="http://schemas.microsoft.com/office/drawing/2014/main" id="{253EC2F6-F8B2-8E14-AFC4-D94AA477DA25}"/>
                </a:ext>
              </a:extLst>
            </p:cNvPr>
            <p:cNvCxnSpPr>
              <a:cxnSpLocks/>
            </p:cNvCxnSpPr>
            <p:nvPr/>
          </p:nvCxnSpPr>
          <p:spPr>
            <a:xfrm>
              <a:off x="2404333" y="4878457"/>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A43AC19A-5C0C-F9C4-60CE-81F593E0BF7C}"/>
                </a:ext>
              </a:extLst>
            </p:cNvPr>
            <p:cNvCxnSpPr>
              <a:cxnSpLocks/>
            </p:cNvCxnSpPr>
            <p:nvPr/>
          </p:nvCxnSpPr>
          <p:spPr>
            <a:xfrm>
              <a:off x="2404333" y="5625208"/>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7" name="Flowchart: Connector 586">
              <a:extLst>
                <a:ext uri="{FF2B5EF4-FFF2-40B4-BE49-F238E27FC236}">
                  <a16:creationId xmlns:a16="http://schemas.microsoft.com/office/drawing/2014/main" id="{7A2C32DB-030E-CB4B-238C-8B30866A8AA4}"/>
                </a:ext>
              </a:extLst>
            </p:cNvPr>
            <p:cNvSpPr/>
            <p:nvPr/>
          </p:nvSpPr>
          <p:spPr>
            <a:xfrm>
              <a:off x="2356274" y="175450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588" name="Flowchart: Connector 587">
              <a:extLst>
                <a:ext uri="{FF2B5EF4-FFF2-40B4-BE49-F238E27FC236}">
                  <a16:creationId xmlns:a16="http://schemas.microsoft.com/office/drawing/2014/main" id="{CE36EF63-324B-BAEF-3687-27BFBE35C04F}"/>
                </a:ext>
              </a:extLst>
            </p:cNvPr>
            <p:cNvSpPr/>
            <p:nvPr/>
          </p:nvSpPr>
          <p:spPr>
            <a:xfrm>
              <a:off x="2356274" y="250185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589" name="Flowchart: Connector 588">
              <a:extLst>
                <a:ext uri="{FF2B5EF4-FFF2-40B4-BE49-F238E27FC236}">
                  <a16:creationId xmlns:a16="http://schemas.microsoft.com/office/drawing/2014/main" id="{68A2BE2A-3208-D6F7-A562-92AB01ED6A62}"/>
                </a:ext>
              </a:extLst>
            </p:cNvPr>
            <p:cNvSpPr/>
            <p:nvPr/>
          </p:nvSpPr>
          <p:spPr>
            <a:xfrm>
              <a:off x="2356274" y="3245898"/>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590" name="Flowchart: Connector 589">
              <a:extLst>
                <a:ext uri="{FF2B5EF4-FFF2-40B4-BE49-F238E27FC236}">
                  <a16:creationId xmlns:a16="http://schemas.microsoft.com/office/drawing/2014/main" id="{67A64815-CD14-476B-79EF-F3529B9EF12D}"/>
                </a:ext>
              </a:extLst>
            </p:cNvPr>
            <p:cNvSpPr/>
            <p:nvPr/>
          </p:nvSpPr>
          <p:spPr>
            <a:xfrm>
              <a:off x="2356274" y="3993248"/>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591" name="Flowchart: Connector 590">
              <a:extLst>
                <a:ext uri="{FF2B5EF4-FFF2-40B4-BE49-F238E27FC236}">
                  <a16:creationId xmlns:a16="http://schemas.microsoft.com/office/drawing/2014/main" id="{E03CDE10-A189-617E-A2CA-1E8E46358EAD}"/>
                </a:ext>
              </a:extLst>
            </p:cNvPr>
            <p:cNvSpPr/>
            <p:nvPr/>
          </p:nvSpPr>
          <p:spPr>
            <a:xfrm>
              <a:off x="2356274" y="4740454"/>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592" name="Flowchart: Connector 591">
              <a:extLst>
                <a:ext uri="{FF2B5EF4-FFF2-40B4-BE49-F238E27FC236}">
                  <a16:creationId xmlns:a16="http://schemas.microsoft.com/office/drawing/2014/main" id="{9DB22CA9-0EFF-2E85-C212-31A7C39E6532}"/>
                </a:ext>
              </a:extLst>
            </p:cNvPr>
            <p:cNvSpPr/>
            <p:nvPr/>
          </p:nvSpPr>
          <p:spPr>
            <a:xfrm>
              <a:off x="2356274" y="5487804"/>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sp>
          <p:nvSpPr>
            <p:cNvPr id="593" name="Flowchart: Connector 592">
              <a:extLst>
                <a:ext uri="{FF2B5EF4-FFF2-40B4-BE49-F238E27FC236}">
                  <a16:creationId xmlns:a16="http://schemas.microsoft.com/office/drawing/2014/main" id="{D2D0D9CA-7E5E-04ED-F4E1-E5C99381FD76}"/>
                </a:ext>
              </a:extLst>
            </p:cNvPr>
            <p:cNvSpPr/>
            <p:nvPr/>
          </p:nvSpPr>
          <p:spPr>
            <a:xfrm>
              <a:off x="2356274" y="6235010"/>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A32E00"/>
                </a:solidFill>
                <a:effectLst/>
                <a:uLnTx/>
                <a:uFillTx/>
                <a:latin typeface="Calibri"/>
                <a:ea typeface="+mn-ea"/>
                <a:cs typeface="Calibri" panose="020F0502020204030204" pitchFamily="34" charset="0"/>
              </a:endParaRPr>
            </a:p>
          </p:txBody>
        </p:sp>
      </p:grpSp>
      <p:cxnSp>
        <p:nvCxnSpPr>
          <p:cNvPr id="594" name="Straight Connector 593">
            <a:extLst>
              <a:ext uri="{FF2B5EF4-FFF2-40B4-BE49-F238E27FC236}">
                <a16:creationId xmlns:a16="http://schemas.microsoft.com/office/drawing/2014/main" id="{90147B19-79EC-0523-8DC1-68FECA7D53CC}"/>
              </a:ext>
            </a:extLst>
          </p:cNvPr>
          <p:cNvCxnSpPr>
            <a:cxnSpLocks/>
          </p:cNvCxnSpPr>
          <p:nvPr/>
        </p:nvCxnSpPr>
        <p:spPr>
          <a:xfrm>
            <a:off x="2516880" y="4783146"/>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5" name="Rectangle 594">
            <a:extLst>
              <a:ext uri="{FF2B5EF4-FFF2-40B4-BE49-F238E27FC236}">
                <a16:creationId xmlns:a16="http://schemas.microsoft.com/office/drawing/2014/main" id="{A42D3BE4-2C51-2A9C-FE33-7CC099EE0627}"/>
              </a:ext>
            </a:extLst>
          </p:cNvPr>
          <p:cNvSpPr>
            <a:spLocks/>
          </p:cNvSpPr>
          <p:nvPr/>
        </p:nvSpPr>
        <p:spPr>
          <a:xfrm>
            <a:off x="8107257" y="186574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Infectious diseases</a:t>
            </a:r>
          </a:p>
        </p:txBody>
      </p:sp>
      <p:sp>
        <p:nvSpPr>
          <p:cNvPr id="596" name="Rectangle 595">
            <a:extLst>
              <a:ext uri="{FF2B5EF4-FFF2-40B4-BE49-F238E27FC236}">
                <a16:creationId xmlns:a16="http://schemas.microsoft.com/office/drawing/2014/main" id="{53B7C830-76E2-FDB3-6FBF-6644BD3A4E18}"/>
              </a:ext>
            </a:extLst>
          </p:cNvPr>
          <p:cNvSpPr>
            <a:spLocks/>
          </p:cNvSpPr>
          <p:nvPr/>
        </p:nvSpPr>
        <p:spPr>
          <a:xfrm>
            <a:off x="8107257" y="2613093"/>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Chronic diseases and health conditions</a:t>
            </a:r>
          </a:p>
        </p:txBody>
      </p:sp>
      <p:sp>
        <p:nvSpPr>
          <p:cNvPr id="597" name="Rectangle 596">
            <a:extLst>
              <a:ext uri="{FF2B5EF4-FFF2-40B4-BE49-F238E27FC236}">
                <a16:creationId xmlns:a16="http://schemas.microsoft.com/office/drawing/2014/main" id="{A26EEAD8-ED7A-0ACF-4325-6776DDEFCAB8}"/>
              </a:ext>
            </a:extLst>
          </p:cNvPr>
          <p:cNvSpPr>
            <a:spLocks/>
          </p:cNvSpPr>
          <p:nvPr/>
        </p:nvSpPr>
        <p:spPr>
          <a:xfrm>
            <a:off x="8107257" y="3357142"/>
            <a:ext cx="1584553" cy="548390"/>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Employment crisis</a:t>
            </a:r>
          </a:p>
        </p:txBody>
      </p:sp>
      <p:sp>
        <p:nvSpPr>
          <p:cNvPr id="598" name="Rectangle 597">
            <a:extLst>
              <a:ext uri="{FF2B5EF4-FFF2-40B4-BE49-F238E27FC236}">
                <a16:creationId xmlns:a16="http://schemas.microsoft.com/office/drawing/2014/main" id="{E95B6C1F-C6D0-468E-9ACA-23DAA3B7E730}"/>
              </a:ext>
            </a:extLst>
          </p:cNvPr>
          <p:cNvSpPr>
            <a:spLocks/>
          </p:cNvSpPr>
          <p:nvPr/>
        </p:nvSpPr>
        <p:spPr>
          <a:xfrm>
            <a:off x="8107257" y="4104491"/>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accent3"/>
                </a:solidFill>
                <a:effectLst/>
                <a:uLnTx/>
                <a:uFillTx/>
                <a:latin typeface="Calibri"/>
                <a:ea typeface="+mn-ea"/>
                <a:cs typeface="Calibri" panose="020F0502020204030204" pitchFamily="34" charset="0"/>
              </a:rPr>
              <a:t>Misinformation and disinformation</a:t>
            </a:r>
          </a:p>
        </p:txBody>
      </p:sp>
      <p:cxnSp>
        <p:nvCxnSpPr>
          <p:cNvPr id="599" name="Straight Connector 598">
            <a:extLst>
              <a:ext uri="{FF2B5EF4-FFF2-40B4-BE49-F238E27FC236}">
                <a16:creationId xmlns:a16="http://schemas.microsoft.com/office/drawing/2014/main" id="{A6256A79-B3CC-4B6C-FA1A-63ACD409FF84}"/>
              </a:ext>
            </a:extLst>
          </p:cNvPr>
          <p:cNvCxnSpPr>
            <a:cxnSpLocks/>
          </p:cNvCxnSpPr>
          <p:nvPr/>
        </p:nvCxnSpPr>
        <p:spPr>
          <a:xfrm>
            <a:off x="8107257" y="2536861"/>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0A59CEB8-3E37-4415-078A-04F2DA36C436}"/>
              </a:ext>
            </a:extLst>
          </p:cNvPr>
          <p:cNvCxnSpPr>
            <a:cxnSpLocks/>
          </p:cNvCxnSpPr>
          <p:nvPr/>
        </p:nvCxnSpPr>
        <p:spPr>
          <a:xfrm>
            <a:off x="8107257" y="3281660"/>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1" name="Straight Connector 600">
            <a:extLst>
              <a:ext uri="{FF2B5EF4-FFF2-40B4-BE49-F238E27FC236}">
                <a16:creationId xmlns:a16="http://schemas.microsoft.com/office/drawing/2014/main" id="{E17F8D65-86E6-3822-1F46-A73DFCDCCE3A}"/>
              </a:ext>
            </a:extLst>
          </p:cNvPr>
          <p:cNvCxnSpPr>
            <a:cxnSpLocks/>
          </p:cNvCxnSpPr>
          <p:nvPr/>
        </p:nvCxnSpPr>
        <p:spPr>
          <a:xfrm>
            <a:off x="8107257" y="402388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2" name="Straight Connector 601">
            <a:extLst>
              <a:ext uri="{FF2B5EF4-FFF2-40B4-BE49-F238E27FC236}">
                <a16:creationId xmlns:a16="http://schemas.microsoft.com/office/drawing/2014/main" id="{75839025-AADE-F28A-DC9A-9F0D9E66BE42}"/>
              </a:ext>
            </a:extLst>
          </p:cNvPr>
          <p:cNvCxnSpPr>
            <a:cxnSpLocks/>
          </p:cNvCxnSpPr>
          <p:nvPr/>
        </p:nvCxnSpPr>
        <p:spPr>
          <a:xfrm>
            <a:off x="8107257" y="4780208"/>
            <a:ext cx="1584553" cy="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03" name="Group 602">
            <a:extLst>
              <a:ext uri="{FF2B5EF4-FFF2-40B4-BE49-F238E27FC236}">
                <a16:creationId xmlns:a16="http://schemas.microsoft.com/office/drawing/2014/main" id="{BED5815D-16C6-8AFB-D3AA-7F74FDC276B4}"/>
              </a:ext>
            </a:extLst>
          </p:cNvPr>
          <p:cNvGrpSpPr/>
          <p:nvPr/>
        </p:nvGrpSpPr>
        <p:grpSpPr>
          <a:xfrm>
            <a:off x="7919745" y="1752802"/>
            <a:ext cx="96118" cy="3082072"/>
            <a:chOff x="7994539" y="1752802"/>
            <a:chExt cx="96118" cy="3082072"/>
          </a:xfrm>
          <a:solidFill>
            <a:schemeClr val="bg1">
              <a:lumMod val="95000"/>
            </a:schemeClr>
          </a:solidFill>
        </p:grpSpPr>
        <p:cxnSp>
          <p:nvCxnSpPr>
            <p:cNvPr id="604" name="Straight Connector 603">
              <a:extLst>
                <a:ext uri="{FF2B5EF4-FFF2-40B4-BE49-F238E27FC236}">
                  <a16:creationId xmlns:a16="http://schemas.microsoft.com/office/drawing/2014/main" id="{64ACCA8C-EAA7-E113-22AF-893C9495343B}"/>
                </a:ext>
              </a:extLst>
            </p:cNvPr>
            <p:cNvCxnSpPr>
              <a:cxnSpLocks/>
            </p:cNvCxnSpPr>
            <p:nvPr/>
          </p:nvCxnSpPr>
          <p:spPr>
            <a:xfrm>
              <a:off x="8042598" y="1889753"/>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5" name="Straight Connector 604">
              <a:extLst>
                <a:ext uri="{FF2B5EF4-FFF2-40B4-BE49-F238E27FC236}">
                  <a16:creationId xmlns:a16="http://schemas.microsoft.com/office/drawing/2014/main" id="{E264D52B-2119-F7BD-358B-E0370AAAB75C}"/>
                </a:ext>
              </a:extLst>
            </p:cNvPr>
            <p:cNvCxnSpPr>
              <a:cxnSpLocks/>
            </p:cNvCxnSpPr>
            <p:nvPr/>
          </p:nvCxnSpPr>
          <p:spPr>
            <a:xfrm>
              <a:off x="8042598" y="2636504"/>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6" name="Straight Connector 605">
              <a:extLst>
                <a:ext uri="{FF2B5EF4-FFF2-40B4-BE49-F238E27FC236}">
                  <a16:creationId xmlns:a16="http://schemas.microsoft.com/office/drawing/2014/main" id="{6032560C-E8D3-A0D0-FF0E-41CB36DC7CAE}"/>
                </a:ext>
              </a:extLst>
            </p:cNvPr>
            <p:cNvCxnSpPr>
              <a:cxnSpLocks/>
            </p:cNvCxnSpPr>
            <p:nvPr/>
          </p:nvCxnSpPr>
          <p:spPr>
            <a:xfrm>
              <a:off x="8042598" y="3383256"/>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FDD4B6FB-1218-5B96-9DA1-EBB757C922B8}"/>
                </a:ext>
              </a:extLst>
            </p:cNvPr>
            <p:cNvCxnSpPr>
              <a:cxnSpLocks/>
            </p:cNvCxnSpPr>
            <p:nvPr/>
          </p:nvCxnSpPr>
          <p:spPr>
            <a:xfrm>
              <a:off x="8042598" y="4130007"/>
              <a:ext cx="0" cy="568967"/>
            </a:xfrm>
            <a:prstGeom prst="line">
              <a:avLst/>
            </a:prstGeom>
            <a:grpFill/>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8" name="Flowchart: Connector 607">
              <a:extLst>
                <a:ext uri="{FF2B5EF4-FFF2-40B4-BE49-F238E27FC236}">
                  <a16:creationId xmlns:a16="http://schemas.microsoft.com/office/drawing/2014/main" id="{76EAB2FB-BAD1-5142-3549-8CADBA74CE6A}"/>
                </a:ext>
              </a:extLst>
            </p:cNvPr>
            <p:cNvSpPr/>
            <p:nvPr/>
          </p:nvSpPr>
          <p:spPr>
            <a:xfrm>
              <a:off x="7994539" y="1752802"/>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609" name="Flowchart: Connector 608">
              <a:extLst>
                <a:ext uri="{FF2B5EF4-FFF2-40B4-BE49-F238E27FC236}">
                  <a16:creationId xmlns:a16="http://schemas.microsoft.com/office/drawing/2014/main" id="{EFD21562-6364-1267-4B38-EB64ACB43EF3}"/>
                </a:ext>
              </a:extLst>
            </p:cNvPr>
            <p:cNvSpPr/>
            <p:nvPr/>
          </p:nvSpPr>
          <p:spPr>
            <a:xfrm>
              <a:off x="7994539" y="2500152"/>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610" name="Flowchart: Connector 609">
              <a:extLst>
                <a:ext uri="{FF2B5EF4-FFF2-40B4-BE49-F238E27FC236}">
                  <a16:creationId xmlns:a16="http://schemas.microsoft.com/office/drawing/2014/main" id="{F6438B27-5F7C-1775-9BBC-A91285808B8E}"/>
                </a:ext>
              </a:extLst>
            </p:cNvPr>
            <p:cNvSpPr/>
            <p:nvPr/>
          </p:nvSpPr>
          <p:spPr>
            <a:xfrm>
              <a:off x="7994539" y="3244199"/>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611" name="Flowchart: Connector 610">
              <a:extLst>
                <a:ext uri="{FF2B5EF4-FFF2-40B4-BE49-F238E27FC236}">
                  <a16:creationId xmlns:a16="http://schemas.microsoft.com/office/drawing/2014/main" id="{40A30F25-9E43-A024-7299-C9016D85F72C}"/>
                </a:ext>
              </a:extLst>
            </p:cNvPr>
            <p:cNvSpPr/>
            <p:nvPr/>
          </p:nvSpPr>
          <p:spPr>
            <a:xfrm>
              <a:off x="7994539" y="3991549"/>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612" name="Flowchart: Connector 611">
              <a:extLst>
                <a:ext uri="{FF2B5EF4-FFF2-40B4-BE49-F238E27FC236}">
                  <a16:creationId xmlns:a16="http://schemas.microsoft.com/office/drawing/2014/main" id="{83FF8270-FC13-8C54-D515-0D0016239187}"/>
                </a:ext>
              </a:extLst>
            </p:cNvPr>
            <p:cNvSpPr/>
            <p:nvPr/>
          </p:nvSpPr>
          <p:spPr>
            <a:xfrm>
              <a:off x="7994539" y="4738756"/>
              <a:ext cx="96118" cy="96118"/>
            </a:xfrm>
            <a:prstGeom prst="flowChartConnector">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grpSp>
      <p:pic>
        <p:nvPicPr>
          <p:cNvPr id="613" name="ico-folder-question">
            <a:extLst>
              <a:ext uri="{FF2B5EF4-FFF2-40B4-BE49-F238E27FC236}">
                <a16:creationId xmlns:a16="http://schemas.microsoft.com/office/drawing/2014/main" id="{B3421598-71ED-C861-89DE-C9739A31108E}"/>
              </a:ext>
            </a:extLst>
          </p:cNvPr>
          <p:cNvPicPr>
            <a:picLocks noChangeAspect="1"/>
          </p:cNvPicPr>
          <p:nvPr/>
        </p:nvPicPr>
        <p:blipFill>
          <a:blip r:embed="rId32">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9374533" y="4383867"/>
            <a:ext cx="317277" cy="317277"/>
          </a:xfrm>
          <a:prstGeom prst="rect">
            <a:avLst/>
          </a:prstGeom>
        </p:spPr>
      </p:pic>
      <p:sp>
        <p:nvSpPr>
          <p:cNvPr id="615" name="Rectangle 614">
            <a:extLst>
              <a:ext uri="{FF2B5EF4-FFF2-40B4-BE49-F238E27FC236}">
                <a16:creationId xmlns:a16="http://schemas.microsoft.com/office/drawing/2014/main" id="{A4474D11-63DF-1B26-97D1-0C2A349833A2}"/>
              </a:ext>
            </a:extLst>
          </p:cNvPr>
          <p:cNvSpPr>
            <a:spLocks/>
          </p:cNvSpPr>
          <p:nvPr/>
        </p:nvSpPr>
        <p:spPr>
          <a:xfrm>
            <a:off x="7252502" y="4851697"/>
            <a:ext cx="1584553" cy="596653"/>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tIns="45720" rIns="274320" bIns="45720" rtlCol="0" anchor="t" anchorCtr="0"/>
          <a:lstStyle/>
          <a:p>
            <a:pPr>
              <a:defRPr/>
            </a:pPr>
            <a:r>
              <a:rPr kumimoji="0" lang="en-GB" sz="1000" b="1" i="0" u="none" strike="noStrike" kern="0" cap="none" spc="0" normalizeH="0" baseline="0" noProof="0">
                <a:ln>
                  <a:noFill/>
                </a:ln>
                <a:solidFill>
                  <a:schemeClr val="bg1">
                    <a:lumMod val="75000"/>
                  </a:schemeClr>
                </a:solidFill>
                <a:effectLst/>
                <a:uLnTx/>
                <a:uFillTx/>
                <a:latin typeface="Calibri"/>
                <a:ea typeface="+mn-ea"/>
                <a:cs typeface="Calibri" panose="020F0502020204030204" pitchFamily="34" charset="0"/>
              </a:rPr>
              <a:t>Large-scale involuntary migration</a:t>
            </a:r>
          </a:p>
        </p:txBody>
      </p:sp>
      <p:cxnSp>
        <p:nvCxnSpPr>
          <p:cNvPr id="616" name="Straight Connector 615">
            <a:extLst>
              <a:ext uri="{FF2B5EF4-FFF2-40B4-BE49-F238E27FC236}">
                <a16:creationId xmlns:a16="http://schemas.microsoft.com/office/drawing/2014/main" id="{27CADD3E-142D-3A6C-641C-9CF71611D1C7}"/>
              </a:ext>
            </a:extLst>
          </p:cNvPr>
          <p:cNvCxnSpPr>
            <a:cxnSpLocks/>
          </p:cNvCxnSpPr>
          <p:nvPr/>
        </p:nvCxnSpPr>
        <p:spPr>
          <a:xfrm>
            <a:off x="7149413" y="4876758"/>
            <a:ext cx="0" cy="568967"/>
          </a:xfrm>
          <a:prstGeom prst="line">
            <a:avLst/>
          </a:prstGeom>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7" name="Straight Connector 616">
            <a:extLst>
              <a:ext uri="{FF2B5EF4-FFF2-40B4-BE49-F238E27FC236}">
                <a16:creationId xmlns:a16="http://schemas.microsoft.com/office/drawing/2014/main" id="{D4C10B84-982E-5C02-92E4-F89A4E68EA2E}"/>
              </a:ext>
            </a:extLst>
          </p:cNvPr>
          <p:cNvCxnSpPr>
            <a:cxnSpLocks/>
          </p:cNvCxnSpPr>
          <p:nvPr/>
        </p:nvCxnSpPr>
        <p:spPr>
          <a:xfrm>
            <a:off x="7252502" y="5526337"/>
            <a:ext cx="1584553" cy="0"/>
          </a:xfrm>
          <a:prstGeom prst="line">
            <a:avLst/>
          </a:prstGeom>
          <a:ln w="9525">
            <a:solidFill>
              <a:schemeClr val="bg1">
                <a:lumMod val="9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8" name="Flowchart: Connector 617">
            <a:extLst>
              <a:ext uri="{FF2B5EF4-FFF2-40B4-BE49-F238E27FC236}">
                <a16:creationId xmlns:a16="http://schemas.microsoft.com/office/drawing/2014/main" id="{3E8FBDE3-D0B4-4F5C-F551-9B9513C5E6EA}"/>
              </a:ext>
            </a:extLst>
          </p:cNvPr>
          <p:cNvSpPr/>
          <p:nvPr/>
        </p:nvSpPr>
        <p:spPr>
          <a:xfrm>
            <a:off x="7101354" y="5486106"/>
            <a:ext cx="96118" cy="96118"/>
          </a:xfrm>
          <a:prstGeom prst="flowChartConnector">
            <a:avLst/>
          </a:prstGeom>
          <a:solidFill>
            <a:schemeClr val="bg1">
              <a:lumMod val="95000"/>
            </a:schemeClr>
          </a:solid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cs typeface="Calibri" panose="020F0502020204030204" pitchFamily="34" charset="0"/>
            </a:endParaRPr>
          </a:p>
        </p:txBody>
      </p:sp>
      <p:pic>
        <p:nvPicPr>
          <p:cNvPr id="619" name="ico-a-remove">
            <a:extLst>
              <a:ext uri="{FF2B5EF4-FFF2-40B4-BE49-F238E27FC236}">
                <a16:creationId xmlns:a16="http://schemas.microsoft.com/office/drawing/2014/main" id="{F5029C4B-2FD5-7A80-BB55-0A91F90BECA8}"/>
              </a:ext>
            </a:extLst>
          </p:cNvPr>
          <p:cNvPicPr>
            <a:picLocks noChangeAspect="1"/>
          </p:cNvPicPr>
          <p:nvPr/>
        </p:nvPicPr>
        <p:blipFill>
          <a:blip r:embed="rId34">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8495207" y="5106503"/>
            <a:ext cx="341847" cy="341847"/>
          </a:xfrm>
          <a:prstGeom prst="rect">
            <a:avLst/>
          </a:prstGeom>
        </p:spPr>
      </p:pic>
      <p:pic>
        <p:nvPicPr>
          <p:cNvPr id="620" name="ico-unlink">
            <a:extLst>
              <a:ext uri="{FF2B5EF4-FFF2-40B4-BE49-F238E27FC236}">
                <a16:creationId xmlns:a16="http://schemas.microsoft.com/office/drawing/2014/main" id="{7B47E54A-7310-69E7-829D-71D3FAC1AB21}"/>
              </a:ext>
            </a:extLst>
          </p:cNvPr>
          <p:cNvPicPr>
            <a:picLocks noChangeAspect="1"/>
          </p:cNvPicPr>
          <p:nvPr/>
        </p:nvPicPr>
        <p:blipFill>
          <a:blip r:embed="rId36" cstate="screen">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3816900" y="2177863"/>
            <a:ext cx="284533" cy="284533"/>
          </a:xfrm>
          <a:prstGeom prst="rect">
            <a:avLst/>
          </a:prstGeom>
        </p:spPr>
      </p:pic>
      <p:pic>
        <p:nvPicPr>
          <p:cNvPr id="621" name="ico-air-bomb">
            <a:extLst>
              <a:ext uri="{FF2B5EF4-FFF2-40B4-BE49-F238E27FC236}">
                <a16:creationId xmlns:a16="http://schemas.microsoft.com/office/drawing/2014/main" id="{3940F855-0785-9EF7-7A2B-73C93401AF7C}"/>
              </a:ext>
            </a:extLst>
          </p:cNvPr>
          <p:cNvPicPr>
            <a:picLocks noChangeAspect="1"/>
          </p:cNvPicPr>
          <p:nvPr/>
        </p:nvPicPr>
        <p:blipFill>
          <a:blip r:embed="rId38">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1923410" y="5135484"/>
            <a:ext cx="314564" cy="314564"/>
          </a:xfrm>
          <a:prstGeom prst="rect">
            <a:avLst/>
          </a:prstGeom>
        </p:spPr>
      </p:pic>
      <p:pic>
        <p:nvPicPr>
          <p:cNvPr id="622" name="ico-transactions">
            <a:extLst>
              <a:ext uri="{FF2B5EF4-FFF2-40B4-BE49-F238E27FC236}">
                <a16:creationId xmlns:a16="http://schemas.microsoft.com/office/drawing/2014/main" id="{E7115F76-6552-EEDF-410A-787D3B945252}"/>
              </a:ext>
            </a:extLst>
          </p:cNvPr>
          <p:cNvPicPr>
            <a:picLocks noChangeAspect="1"/>
          </p:cNvPicPr>
          <p:nvPr/>
        </p:nvPicPr>
        <p:blipFill>
          <a:blip r:embed="rId40">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1929186" y="2153608"/>
            <a:ext cx="308788" cy="308788"/>
          </a:xfrm>
          <a:prstGeom prst="rect">
            <a:avLst/>
          </a:prstGeom>
        </p:spPr>
      </p:pic>
      <p:pic>
        <p:nvPicPr>
          <p:cNvPr id="623" name="ico-no-guns">
            <a:extLst>
              <a:ext uri="{FF2B5EF4-FFF2-40B4-BE49-F238E27FC236}">
                <a16:creationId xmlns:a16="http://schemas.microsoft.com/office/drawing/2014/main" id="{12AE262F-6DBC-8035-8158-0D92A23EB8CE}"/>
              </a:ext>
            </a:extLst>
          </p:cNvPr>
          <p:cNvPicPr>
            <a:picLocks noChangeAspect="1"/>
          </p:cNvPicPr>
          <p:nvPr/>
        </p:nvPicPr>
        <p:blipFill>
          <a:blip r:embed="rId42">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1923916" y="5883340"/>
            <a:ext cx="314058" cy="314058"/>
          </a:xfrm>
          <a:prstGeom prst="rect">
            <a:avLst/>
          </a:prstGeom>
        </p:spPr>
      </p:pic>
      <p:pic>
        <p:nvPicPr>
          <p:cNvPr id="624" name="ico-line-chart">
            <a:extLst>
              <a:ext uri="{FF2B5EF4-FFF2-40B4-BE49-F238E27FC236}">
                <a16:creationId xmlns:a16="http://schemas.microsoft.com/office/drawing/2014/main" id="{D4D3D76A-D8F2-83B9-A7DD-0E0AF657F0DD}"/>
              </a:ext>
            </a:extLst>
          </p:cNvPr>
          <p:cNvPicPr>
            <a:picLocks noChangeAspect="1"/>
          </p:cNvPicPr>
          <p:nvPr/>
        </p:nvPicPr>
        <p:blipFill>
          <a:blip r:embed="rId44">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3790105" y="5138720"/>
            <a:ext cx="311328" cy="311328"/>
          </a:xfrm>
          <a:prstGeom prst="rect">
            <a:avLst/>
          </a:prstGeom>
        </p:spPr>
      </p:pic>
      <p:pic>
        <p:nvPicPr>
          <p:cNvPr id="625" name="ico-ban">
            <a:extLst>
              <a:ext uri="{FF2B5EF4-FFF2-40B4-BE49-F238E27FC236}">
                <a16:creationId xmlns:a16="http://schemas.microsoft.com/office/drawing/2014/main" id="{12497DDF-5627-384F-8BB1-22A97933B794}"/>
              </a:ext>
            </a:extLst>
          </p:cNvPr>
          <p:cNvPicPr>
            <a:picLocks noChangeAspect="1"/>
          </p:cNvPicPr>
          <p:nvPr/>
        </p:nvPicPr>
        <p:blipFill>
          <a:blip r:embed="rId46">
            <a:extLst>
              <a:ext uri="{28A0092B-C50C-407E-A947-70E740481C1C}">
                <a14:useLocalDpi xmlns:a14="http://schemas.microsoft.com/office/drawing/2010/main"/>
              </a:ext>
              <a:ext uri="{96DAC541-7B7A-43D3-8B79-37D633B846F1}">
                <asvg:svgBlip xmlns:asvg="http://schemas.microsoft.com/office/drawing/2016/SVG/main" r:embed="rId47"/>
              </a:ext>
            </a:extLst>
          </a:blip>
          <a:stretch>
            <a:fillRect/>
          </a:stretch>
        </p:blipFill>
        <p:spPr>
          <a:xfrm>
            <a:off x="3787374" y="5883339"/>
            <a:ext cx="314059" cy="314059"/>
          </a:xfrm>
          <a:prstGeom prst="rect">
            <a:avLst/>
          </a:prstGeom>
        </p:spPr>
      </p:pic>
      <p:pic>
        <p:nvPicPr>
          <p:cNvPr id="626" name="ico-dragonfly">
            <a:extLst>
              <a:ext uri="{FF2B5EF4-FFF2-40B4-BE49-F238E27FC236}">
                <a16:creationId xmlns:a16="http://schemas.microsoft.com/office/drawing/2014/main" id="{48EC816E-0E24-500B-2C6F-2DCFB3AD16F9}"/>
              </a:ext>
            </a:extLst>
          </p:cNvPr>
          <p:cNvPicPr>
            <a:picLocks noChangeAspect="1"/>
          </p:cNvPicPr>
          <p:nvPr/>
        </p:nvPicPr>
        <p:blipFill>
          <a:blip r:embed="rId48">
            <a:extLst>
              <a:ext uri="{28A0092B-C50C-407E-A947-70E740481C1C}">
                <a14:useLocalDpi xmlns:a14="http://schemas.microsoft.com/office/drawing/2010/main"/>
              </a:ext>
              <a:ext uri="{96DAC541-7B7A-43D3-8B79-37D633B846F1}">
                <asvg:svgBlip xmlns:asvg="http://schemas.microsoft.com/office/drawing/2016/SVG/main" r:embed="rId49"/>
              </a:ext>
            </a:extLst>
          </a:blip>
          <a:stretch>
            <a:fillRect/>
          </a:stretch>
        </p:blipFill>
        <p:spPr>
          <a:xfrm>
            <a:off x="5658525" y="5143681"/>
            <a:ext cx="306367" cy="306367"/>
          </a:xfrm>
          <a:prstGeom prst="rect">
            <a:avLst/>
          </a:prstGeom>
        </p:spPr>
      </p:pic>
      <p:pic>
        <p:nvPicPr>
          <p:cNvPr id="627" name="ico-uneven">
            <a:extLst>
              <a:ext uri="{FF2B5EF4-FFF2-40B4-BE49-F238E27FC236}">
                <a16:creationId xmlns:a16="http://schemas.microsoft.com/office/drawing/2014/main" id="{B5D4C1D7-0DB0-018D-4D87-398958949515}"/>
              </a:ext>
            </a:extLst>
          </p:cNvPr>
          <p:cNvPicPr>
            <a:picLocks noChangeAspect="1"/>
          </p:cNvPicPr>
          <p:nvPr/>
        </p:nvPicPr>
        <p:blipFill>
          <a:blip r:embed="rId50">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5656104" y="2902657"/>
            <a:ext cx="308788" cy="308788"/>
          </a:xfrm>
          <a:prstGeom prst="rect">
            <a:avLst/>
          </a:prstGeom>
        </p:spPr>
      </p:pic>
      <p:pic>
        <p:nvPicPr>
          <p:cNvPr id="628" name="ico-oil-barrel">
            <a:extLst>
              <a:ext uri="{FF2B5EF4-FFF2-40B4-BE49-F238E27FC236}">
                <a16:creationId xmlns:a16="http://schemas.microsoft.com/office/drawing/2014/main" id="{DF72667B-5297-81FA-0AA4-A5535D42E4B6}"/>
              </a:ext>
            </a:extLst>
          </p:cNvPr>
          <p:cNvPicPr>
            <a:picLocks noChangeAspect="1"/>
          </p:cNvPicPr>
          <p:nvPr/>
        </p:nvPicPr>
        <p:blipFill>
          <a:blip r:embed="rId52">
            <a:extLst>
              <a:ext uri="{28A0092B-C50C-407E-A947-70E740481C1C}">
                <a14:useLocalDpi xmlns:a14="http://schemas.microsoft.com/office/drawing/2010/main"/>
              </a:ext>
              <a:ext uri="{96DAC541-7B7A-43D3-8B79-37D633B846F1}">
                <asvg:svgBlip xmlns:asvg="http://schemas.microsoft.com/office/drawing/2016/SVG/main" r:embed="rId53"/>
              </a:ext>
            </a:extLst>
          </a:blip>
          <a:stretch>
            <a:fillRect/>
          </a:stretch>
        </p:blipFill>
        <p:spPr>
          <a:xfrm>
            <a:off x="5661417" y="4399367"/>
            <a:ext cx="303475" cy="303475"/>
          </a:xfrm>
          <a:prstGeom prst="rect">
            <a:avLst/>
          </a:prstGeom>
        </p:spPr>
      </p:pic>
      <p:pic>
        <p:nvPicPr>
          <p:cNvPr id="629" name="ico-tree-03">
            <a:extLst>
              <a:ext uri="{FF2B5EF4-FFF2-40B4-BE49-F238E27FC236}">
                <a16:creationId xmlns:a16="http://schemas.microsoft.com/office/drawing/2014/main" id="{C6CD9053-0BF4-9510-07AA-F4AEABCD0221}"/>
              </a:ext>
            </a:extLst>
          </p:cNvPr>
          <p:cNvPicPr>
            <a:picLocks noChangeAspect="1"/>
          </p:cNvPicPr>
          <p:nvPr/>
        </p:nvPicPr>
        <p:blipFill>
          <a:blip r:embed="rId54">
            <a:extLst>
              <a:ext uri="{28A0092B-C50C-407E-A947-70E740481C1C}">
                <a14:useLocalDpi xmlns:a14="http://schemas.microsoft.com/office/drawing/2010/main"/>
              </a:ext>
              <a:ext uri="{96DAC541-7B7A-43D3-8B79-37D633B846F1}">
                <asvg:svgBlip xmlns:asvg="http://schemas.microsoft.com/office/drawing/2016/SVG/main" r:embed="rId55"/>
              </a:ext>
            </a:extLst>
          </a:blip>
          <a:stretch>
            <a:fillRect/>
          </a:stretch>
        </p:blipFill>
        <p:spPr>
          <a:xfrm>
            <a:off x="5591902" y="5824408"/>
            <a:ext cx="372990" cy="372990"/>
          </a:xfrm>
          <a:prstGeom prst="rect">
            <a:avLst/>
          </a:prstGeom>
        </p:spPr>
      </p:pic>
      <p:pic>
        <p:nvPicPr>
          <p:cNvPr id="630" name="ico-sf-bridge">
            <a:extLst>
              <a:ext uri="{FF2B5EF4-FFF2-40B4-BE49-F238E27FC236}">
                <a16:creationId xmlns:a16="http://schemas.microsoft.com/office/drawing/2014/main" id="{D775476B-FADD-BCB4-E001-C0DC4F834FB1}"/>
              </a:ext>
            </a:extLst>
          </p:cNvPr>
          <p:cNvPicPr>
            <a:picLocks noChangeAspect="1"/>
          </p:cNvPicPr>
          <p:nvPr/>
        </p:nvPicPr>
        <p:blipFill>
          <a:blip r:embed="rId56">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7519563" y="2153608"/>
            <a:ext cx="308788" cy="308788"/>
          </a:xfrm>
          <a:prstGeom prst="rect">
            <a:avLst/>
          </a:prstGeom>
        </p:spPr>
      </p:pic>
      <p:pic>
        <p:nvPicPr>
          <p:cNvPr id="631" name="ico-virus">
            <a:extLst>
              <a:ext uri="{FF2B5EF4-FFF2-40B4-BE49-F238E27FC236}">
                <a16:creationId xmlns:a16="http://schemas.microsoft.com/office/drawing/2014/main" id="{CB722C18-3326-1A8F-8F83-140934F1F222}"/>
              </a:ext>
            </a:extLst>
          </p:cNvPr>
          <p:cNvPicPr>
            <a:picLocks noChangeAspect="1"/>
          </p:cNvPicPr>
          <p:nvPr/>
        </p:nvPicPr>
        <p:blipFill>
          <a:blip r:embed="rId58">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9305100" y="2075686"/>
            <a:ext cx="386710" cy="386710"/>
          </a:xfrm>
          <a:prstGeom prst="rect">
            <a:avLst/>
          </a:prstGeom>
        </p:spPr>
      </p:pic>
      <p:pic>
        <p:nvPicPr>
          <p:cNvPr id="632" name="ico-ambulance">
            <a:extLst>
              <a:ext uri="{FF2B5EF4-FFF2-40B4-BE49-F238E27FC236}">
                <a16:creationId xmlns:a16="http://schemas.microsoft.com/office/drawing/2014/main" id="{84ECDADC-256D-2835-3A48-8E3EBF82B36B}"/>
              </a:ext>
            </a:extLst>
          </p:cNvPr>
          <p:cNvPicPr>
            <a:picLocks noChangeAspect="1"/>
          </p:cNvPicPr>
          <p:nvPr/>
        </p:nvPicPr>
        <p:blipFill>
          <a:blip r:embed="rId60">
            <a:extLst>
              <a:ext uri="{28A0092B-C50C-407E-A947-70E740481C1C}">
                <a14:useLocalDpi xmlns:a14="http://schemas.microsoft.com/office/drawing/2010/main"/>
              </a:ext>
              <a:ext uri="{96DAC541-7B7A-43D3-8B79-37D633B846F1}">
                <asvg:svgBlip xmlns:asvg="http://schemas.microsoft.com/office/drawing/2016/SVG/main" r:embed="rId61"/>
              </a:ext>
            </a:extLst>
          </a:blip>
          <a:stretch>
            <a:fillRect/>
          </a:stretch>
        </p:blipFill>
        <p:spPr>
          <a:xfrm>
            <a:off x="9305100" y="2823036"/>
            <a:ext cx="386710" cy="386710"/>
          </a:xfrm>
          <a:prstGeom prst="rect">
            <a:avLst/>
          </a:prstGeom>
        </p:spPr>
      </p:pic>
      <p:pic>
        <p:nvPicPr>
          <p:cNvPr id="633" name="ico-customer-experience">
            <a:extLst>
              <a:ext uri="{FF2B5EF4-FFF2-40B4-BE49-F238E27FC236}">
                <a16:creationId xmlns:a16="http://schemas.microsoft.com/office/drawing/2014/main" id="{9668A1C8-D008-2022-CE14-275C1956EE0C}"/>
              </a:ext>
            </a:extLst>
          </p:cNvPr>
          <p:cNvPicPr>
            <a:picLocks noChangeAspect="1"/>
          </p:cNvPicPr>
          <p:nvPr/>
        </p:nvPicPr>
        <p:blipFill>
          <a:blip r:embed="rId62">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7519563" y="2900958"/>
            <a:ext cx="308788" cy="308788"/>
          </a:xfrm>
          <a:prstGeom prst="rect">
            <a:avLst/>
          </a:prstGeom>
        </p:spPr>
      </p:pic>
      <p:pic>
        <p:nvPicPr>
          <p:cNvPr id="635" name="ico-cybersecurity">
            <a:extLst>
              <a:ext uri="{FF2B5EF4-FFF2-40B4-BE49-F238E27FC236}">
                <a16:creationId xmlns:a16="http://schemas.microsoft.com/office/drawing/2014/main" id="{E8EC882A-B7F8-3603-6255-A34641B23559}"/>
              </a:ext>
            </a:extLst>
          </p:cNvPr>
          <p:cNvPicPr>
            <a:picLocks noChangeAspect="1"/>
          </p:cNvPicPr>
          <p:nvPr/>
        </p:nvPicPr>
        <p:blipFill>
          <a:blip r:embed="rId64">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a:off x="11182856" y="2089983"/>
            <a:ext cx="372413" cy="372413"/>
          </a:xfrm>
          <a:prstGeom prst="rect">
            <a:avLst/>
          </a:prstGeom>
        </p:spPr>
      </p:pic>
      <p:pic>
        <p:nvPicPr>
          <p:cNvPr id="636" name="ico-robotic-arm">
            <a:extLst>
              <a:ext uri="{FF2B5EF4-FFF2-40B4-BE49-F238E27FC236}">
                <a16:creationId xmlns:a16="http://schemas.microsoft.com/office/drawing/2014/main" id="{D6B1A3FD-20CF-467B-D32F-86E99E89D526}"/>
              </a:ext>
            </a:extLst>
          </p:cNvPr>
          <p:cNvPicPr>
            <a:picLocks noChangeAspect="1"/>
          </p:cNvPicPr>
          <p:nvPr/>
        </p:nvPicPr>
        <p:blipFill>
          <a:blip r:embed="rId66">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11241210" y="5135989"/>
            <a:ext cx="314059" cy="314059"/>
          </a:xfrm>
          <a:prstGeom prst="rect">
            <a:avLst/>
          </a:prstGeom>
        </p:spPr>
      </p:pic>
      <p:pic>
        <p:nvPicPr>
          <p:cNvPr id="637" name="ico-server-rack">
            <a:extLst>
              <a:ext uri="{FF2B5EF4-FFF2-40B4-BE49-F238E27FC236}">
                <a16:creationId xmlns:a16="http://schemas.microsoft.com/office/drawing/2014/main" id="{39DA519E-DE98-3216-AABF-78C7471260E9}"/>
              </a:ext>
            </a:extLst>
          </p:cNvPr>
          <p:cNvPicPr>
            <a:picLocks noChangeAspect="1"/>
          </p:cNvPicPr>
          <p:nvPr/>
        </p:nvPicPr>
        <p:blipFill>
          <a:blip r:embed="rId68">
            <a:extLst>
              <a:ext uri="{28A0092B-C50C-407E-A947-70E740481C1C}">
                <a14:useLocalDpi xmlns:a14="http://schemas.microsoft.com/office/drawing/2010/main"/>
              </a:ext>
              <a:ext uri="{96DAC541-7B7A-43D3-8B79-37D633B846F1}">
                <asvg:svgBlip xmlns:asvg="http://schemas.microsoft.com/office/drawing/2016/SVG/main" r:embed="rId69"/>
              </a:ext>
            </a:extLst>
          </a:blip>
          <a:stretch>
            <a:fillRect/>
          </a:stretch>
        </p:blipFill>
        <p:spPr>
          <a:xfrm>
            <a:off x="11201199" y="2857375"/>
            <a:ext cx="354070" cy="354070"/>
          </a:xfrm>
          <a:prstGeom prst="rect">
            <a:avLst/>
          </a:prstGeom>
        </p:spPr>
      </p:pic>
      <p:pic>
        <p:nvPicPr>
          <p:cNvPr id="638" name="ico-meeting">
            <a:extLst>
              <a:ext uri="{FF2B5EF4-FFF2-40B4-BE49-F238E27FC236}">
                <a16:creationId xmlns:a16="http://schemas.microsoft.com/office/drawing/2014/main" id="{1BF6BEB2-F4FA-2328-E9AA-E972B4364DDD}"/>
              </a:ext>
            </a:extLst>
          </p:cNvPr>
          <p:cNvPicPr>
            <a:picLocks noChangeAspect="1"/>
          </p:cNvPicPr>
          <p:nvPr/>
        </p:nvPicPr>
        <p:blipFill>
          <a:blip r:embed="rId70">
            <a:extLst>
              <a:ext uri="{28A0092B-C50C-407E-A947-70E740481C1C}">
                <a14:useLocalDpi xmlns:a14="http://schemas.microsoft.com/office/drawing/2010/main"/>
              </a:ext>
              <a:ext uri="{96DAC541-7B7A-43D3-8B79-37D633B846F1}">
                <asvg:svgBlip xmlns:asvg="http://schemas.microsoft.com/office/drawing/2016/SVG/main" r:embed="rId71"/>
              </a:ext>
            </a:extLst>
          </a:blip>
          <a:stretch>
            <a:fillRect/>
          </a:stretch>
        </p:blipFill>
        <p:spPr>
          <a:xfrm>
            <a:off x="9317367" y="3531089"/>
            <a:ext cx="374443" cy="374443"/>
          </a:xfrm>
          <a:prstGeom prst="rect">
            <a:avLst/>
          </a:prstGeom>
        </p:spPr>
      </p:pic>
      <p:sp>
        <p:nvSpPr>
          <p:cNvPr id="176" name="Rectangle 175">
            <a:extLst>
              <a:ext uri="{FF2B5EF4-FFF2-40B4-BE49-F238E27FC236}">
                <a16:creationId xmlns:a16="http://schemas.microsoft.com/office/drawing/2014/main" id="{5BACA68D-3AB9-0FE6-8730-8802567DED39}"/>
              </a:ext>
            </a:extLst>
          </p:cNvPr>
          <p:cNvSpPr/>
          <p:nvPr/>
        </p:nvSpPr>
        <p:spPr>
          <a:xfrm>
            <a:off x="3637505" y="1686531"/>
            <a:ext cx="6191220" cy="828069"/>
          </a:xfrm>
          <a:prstGeom prst="rect">
            <a:avLst/>
          </a:prstGeom>
          <a:solidFill>
            <a:schemeClr val="bg1">
              <a:alpha val="77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cs typeface="Calibri" panose="020F0502020204030204" pitchFamily="34" charset="0"/>
            </a:endParaRPr>
          </a:p>
        </p:txBody>
      </p:sp>
      <p:sp>
        <p:nvSpPr>
          <p:cNvPr id="177" name="Rectangle 176">
            <a:extLst>
              <a:ext uri="{FF2B5EF4-FFF2-40B4-BE49-F238E27FC236}">
                <a16:creationId xmlns:a16="http://schemas.microsoft.com/office/drawing/2014/main" id="{AD75902E-E374-E6E2-4819-245FA631B685}"/>
              </a:ext>
            </a:extLst>
          </p:cNvPr>
          <p:cNvSpPr/>
          <p:nvPr/>
        </p:nvSpPr>
        <p:spPr>
          <a:xfrm>
            <a:off x="6142703" y="2580970"/>
            <a:ext cx="3650226" cy="2996870"/>
          </a:xfrm>
          <a:custGeom>
            <a:avLst/>
            <a:gdLst>
              <a:gd name="connsiteX0" fmla="*/ 0 w 3650226"/>
              <a:gd name="connsiteY0" fmla="*/ 0 h 1408471"/>
              <a:gd name="connsiteX1" fmla="*/ 3650226 w 3650226"/>
              <a:gd name="connsiteY1" fmla="*/ 0 h 1408471"/>
              <a:gd name="connsiteX2" fmla="*/ 3650226 w 3650226"/>
              <a:gd name="connsiteY2" fmla="*/ 1408471 h 1408471"/>
              <a:gd name="connsiteX3" fmla="*/ 0 w 3650226"/>
              <a:gd name="connsiteY3" fmla="*/ 1408471 h 1408471"/>
              <a:gd name="connsiteX4" fmla="*/ 0 w 3650226"/>
              <a:gd name="connsiteY4" fmla="*/ 0 h 1408471"/>
              <a:gd name="connsiteX0" fmla="*/ 0 w 3650226"/>
              <a:gd name="connsiteY0" fmla="*/ 0 h 1408471"/>
              <a:gd name="connsiteX1" fmla="*/ 3650226 w 3650226"/>
              <a:gd name="connsiteY1" fmla="*/ 0 h 1408471"/>
              <a:gd name="connsiteX2" fmla="*/ 3650226 w 3650226"/>
              <a:gd name="connsiteY2" fmla="*/ 1408471 h 1408471"/>
              <a:gd name="connsiteX3" fmla="*/ 1553497 w 3650226"/>
              <a:gd name="connsiteY3" fmla="*/ 1404292 h 1408471"/>
              <a:gd name="connsiteX4" fmla="*/ 0 w 3650226"/>
              <a:gd name="connsiteY4" fmla="*/ 1408471 h 1408471"/>
              <a:gd name="connsiteX5" fmla="*/ 0 w 3650226"/>
              <a:gd name="connsiteY5" fmla="*/ 0 h 1408471"/>
              <a:gd name="connsiteX0" fmla="*/ 0 w 3650226"/>
              <a:gd name="connsiteY0" fmla="*/ 0 h 1408471"/>
              <a:gd name="connsiteX1" fmla="*/ 3650226 w 3650226"/>
              <a:gd name="connsiteY1" fmla="*/ 0 h 1408471"/>
              <a:gd name="connsiteX2" fmla="*/ 3650226 w 3650226"/>
              <a:gd name="connsiteY2" fmla="*/ 1408471 h 1408471"/>
              <a:gd name="connsiteX3" fmla="*/ 1477297 w 3650226"/>
              <a:gd name="connsiteY3" fmla="*/ 1404292 h 1408471"/>
              <a:gd name="connsiteX4" fmla="*/ 0 w 3650226"/>
              <a:gd name="connsiteY4" fmla="*/ 1408471 h 1408471"/>
              <a:gd name="connsiteX5" fmla="*/ 0 w 3650226"/>
              <a:gd name="connsiteY5" fmla="*/ 0 h 1408471"/>
              <a:gd name="connsiteX0" fmla="*/ 0 w 3650226"/>
              <a:gd name="connsiteY0" fmla="*/ 0 h 1408471"/>
              <a:gd name="connsiteX1" fmla="*/ 3650226 w 3650226"/>
              <a:gd name="connsiteY1" fmla="*/ 0 h 1408471"/>
              <a:gd name="connsiteX2" fmla="*/ 3650226 w 3650226"/>
              <a:gd name="connsiteY2" fmla="*/ 1408471 h 1408471"/>
              <a:gd name="connsiteX3" fmla="*/ 1629697 w 3650226"/>
              <a:gd name="connsiteY3" fmla="*/ 1404292 h 1408471"/>
              <a:gd name="connsiteX4" fmla="*/ 1477297 w 3650226"/>
              <a:gd name="connsiteY4" fmla="*/ 1404292 h 1408471"/>
              <a:gd name="connsiteX5" fmla="*/ 0 w 3650226"/>
              <a:gd name="connsiteY5" fmla="*/ 1408471 h 1408471"/>
              <a:gd name="connsiteX6" fmla="*/ 0 w 3650226"/>
              <a:gd name="connsiteY6" fmla="*/ 0 h 1408471"/>
              <a:gd name="connsiteX0" fmla="*/ 0 w 3650226"/>
              <a:gd name="connsiteY0" fmla="*/ 0 h 2318692"/>
              <a:gd name="connsiteX1" fmla="*/ 3650226 w 3650226"/>
              <a:gd name="connsiteY1" fmla="*/ 0 h 2318692"/>
              <a:gd name="connsiteX2" fmla="*/ 3650226 w 3650226"/>
              <a:gd name="connsiteY2" fmla="*/ 1408471 h 2318692"/>
              <a:gd name="connsiteX3" fmla="*/ 1484917 w 3650226"/>
              <a:gd name="connsiteY3" fmla="*/ 2318692 h 2318692"/>
              <a:gd name="connsiteX4" fmla="*/ 1477297 w 3650226"/>
              <a:gd name="connsiteY4" fmla="*/ 1404292 h 2318692"/>
              <a:gd name="connsiteX5" fmla="*/ 0 w 3650226"/>
              <a:gd name="connsiteY5" fmla="*/ 1408471 h 2318692"/>
              <a:gd name="connsiteX6" fmla="*/ 0 w 3650226"/>
              <a:gd name="connsiteY6" fmla="*/ 0 h 2318692"/>
              <a:gd name="connsiteX0" fmla="*/ 0 w 3650226"/>
              <a:gd name="connsiteY0" fmla="*/ 0 h 2318692"/>
              <a:gd name="connsiteX1" fmla="*/ 3650226 w 3650226"/>
              <a:gd name="connsiteY1" fmla="*/ 0 h 2318692"/>
              <a:gd name="connsiteX2" fmla="*/ 3650226 w 3650226"/>
              <a:gd name="connsiteY2" fmla="*/ 1408471 h 2318692"/>
              <a:gd name="connsiteX3" fmla="*/ 1904017 w 3650226"/>
              <a:gd name="connsiteY3" fmla="*/ 2128191 h 2318692"/>
              <a:gd name="connsiteX4" fmla="*/ 1484917 w 3650226"/>
              <a:gd name="connsiteY4" fmla="*/ 2318692 h 2318692"/>
              <a:gd name="connsiteX5" fmla="*/ 1477297 w 3650226"/>
              <a:gd name="connsiteY5" fmla="*/ 1404292 h 2318692"/>
              <a:gd name="connsiteX6" fmla="*/ 0 w 3650226"/>
              <a:gd name="connsiteY6" fmla="*/ 1408471 h 2318692"/>
              <a:gd name="connsiteX7" fmla="*/ 0 w 3650226"/>
              <a:gd name="connsiteY7" fmla="*/ 0 h 2318692"/>
              <a:gd name="connsiteX0" fmla="*/ 0 w 3650226"/>
              <a:gd name="connsiteY0" fmla="*/ 0 h 2318692"/>
              <a:gd name="connsiteX1" fmla="*/ 3650226 w 3650226"/>
              <a:gd name="connsiteY1" fmla="*/ 0 h 2318692"/>
              <a:gd name="connsiteX2" fmla="*/ 3650226 w 3650226"/>
              <a:gd name="connsiteY2" fmla="*/ 1408471 h 2318692"/>
              <a:gd name="connsiteX3" fmla="*/ 2056417 w 3650226"/>
              <a:gd name="connsiteY3" fmla="*/ 2250111 h 2318692"/>
              <a:gd name="connsiteX4" fmla="*/ 1484917 w 3650226"/>
              <a:gd name="connsiteY4" fmla="*/ 2318692 h 2318692"/>
              <a:gd name="connsiteX5" fmla="*/ 1477297 w 3650226"/>
              <a:gd name="connsiteY5" fmla="*/ 1404292 h 2318692"/>
              <a:gd name="connsiteX6" fmla="*/ 0 w 3650226"/>
              <a:gd name="connsiteY6" fmla="*/ 1408471 h 2318692"/>
              <a:gd name="connsiteX7" fmla="*/ 0 w 3650226"/>
              <a:gd name="connsiteY7" fmla="*/ 0 h 2318692"/>
              <a:gd name="connsiteX0" fmla="*/ 0 w 3650226"/>
              <a:gd name="connsiteY0" fmla="*/ 0 h 2318692"/>
              <a:gd name="connsiteX1" fmla="*/ 3650226 w 3650226"/>
              <a:gd name="connsiteY1" fmla="*/ 0 h 2318692"/>
              <a:gd name="connsiteX2" fmla="*/ 3650226 w 3650226"/>
              <a:gd name="connsiteY2" fmla="*/ 1408471 h 2318692"/>
              <a:gd name="connsiteX3" fmla="*/ 2056417 w 3650226"/>
              <a:gd name="connsiteY3" fmla="*/ 2250111 h 2318692"/>
              <a:gd name="connsiteX4" fmla="*/ 2071657 w 3650226"/>
              <a:gd name="connsiteY4" fmla="*/ 2250111 h 2318692"/>
              <a:gd name="connsiteX5" fmla="*/ 1484917 w 3650226"/>
              <a:gd name="connsiteY5" fmla="*/ 2318692 h 2318692"/>
              <a:gd name="connsiteX6" fmla="*/ 1477297 w 3650226"/>
              <a:gd name="connsiteY6" fmla="*/ 1404292 h 2318692"/>
              <a:gd name="connsiteX7" fmla="*/ 0 w 3650226"/>
              <a:gd name="connsiteY7" fmla="*/ 1408471 h 2318692"/>
              <a:gd name="connsiteX8" fmla="*/ 0 w 3650226"/>
              <a:gd name="connsiteY8" fmla="*/ 0 h 2318692"/>
              <a:gd name="connsiteX0" fmla="*/ 0 w 3650226"/>
              <a:gd name="connsiteY0" fmla="*/ 0 h 2318692"/>
              <a:gd name="connsiteX1" fmla="*/ 3650226 w 3650226"/>
              <a:gd name="connsiteY1" fmla="*/ 0 h 2318692"/>
              <a:gd name="connsiteX2" fmla="*/ 3650226 w 3650226"/>
              <a:gd name="connsiteY2" fmla="*/ 1408471 h 2318692"/>
              <a:gd name="connsiteX3" fmla="*/ 2056417 w 3650226"/>
              <a:gd name="connsiteY3" fmla="*/ 2250111 h 2318692"/>
              <a:gd name="connsiteX4" fmla="*/ 1911637 w 3650226"/>
              <a:gd name="connsiteY4" fmla="*/ 2303451 h 2318692"/>
              <a:gd name="connsiteX5" fmla="*/ 1484917 w 3650226"/>
              <a:gd name="connsiteY5" fmla="*/ 2318692 h 2318692"/>
              <a:gd name="connsiteX6" fmla="*/ 1477297 w 3650226"/>
              <a:gd name="connsiteY6" fmla="*/ 1404292 h 2318692"/>
              <a:gd name="connsiteX7" fmla="*/ 0 w 3650226"/>
              <a:gd name="connsiteY7" fmla="*/ 1408471 h 2318692"/>
              <a:gd name="connsiteX8" fmla="*/ 0 w 3650226"/>
              <a:gd name="connsiteY8" fmla="*/ 0 h 2318692"/>
              <a:gd name="connsiteX0" fmla="*/ 0 w 3650226"/>
              <a:gd name="connsiteY0" fmla="*/ 0 h 2318692"/>
              <a:gd name="connsiteX1" fmla="*/ 3650226 w 3650226"/>
              <a:gd name="connsiteY1" fmla="*/ 0 h 2318692"/>
              <a:gd name="connsiteX2" fmla="*/ 3650226 w 3650226"/>
              <a:gd name="connsiteY2" fmla="*/ 1408471 h 2318692"/>
              <a:gd name="connsiteX3" fmla="*/ 2041177 w 3650226"/>
              <a:gd name="connsiteY3" fmla="*/ 1419531 h 2318692"/>
              <a:gd name="connsiteX4" fmla="*/ 1911637 w 3650226"/>
              <a:gd name="connsiteY4" fmla="*/ 2303451 h 2318692"/>
              <a:gd name="connsiteX5" fmla="*/ 1484917 w 3650226"/>
              <a:gd name="connsiteY5" fmla="*/ 2318692 h 2318692"/>
              <a:gd name="connsiteX6" fmla="*/ 1477297 w 3650226"/>
              <a:gd name="connsiteY6" fmla="*/ 1404292 h 2318692"/>
              <a:gd name="connsiteX7" fmla="*/ 0 w 3650226"/>
              <a:gd name="connsiteY7" fmla="*/ 1408471 h 2318692"/>
              <a:gd name="connsiteX8" fmla="*/ 0 w 3650226"/>
              <a:gd name="connsiteY8" fmla="*/ 0 h 2318692"/>
              <a:gd name="connsiteX0" fmla="*/ 0 w 3650226"/>
              <a:gd name="connsiteY0" fmla="*/ 0 h 2981631"/>
              <a:gd name="connsiteX1" fmla="*/ 3650226 w 3650226"/>
              <a:gd name="connsiteY1" fmla="*/ 0 h 2981631"/>
              <a:gd name="connsiteX2" fmla="*/ 3650226 w 3650226"/>
              <a:gd name="connsiteY2" fmla="*/ 1408471 h 2981631"/>
              <a:gd name="connsiteX3" fmla="*/ 2041177 w 3650226"/>
              <a:gd name="connsiteY3" fmla="*/ 1419531 h 2981631"/>
              <a:gd name="connsiteX4" fmla="*/ 2086897 w 3650226"/>
              <a:gd name="connsiteY4" fmla="*/ 2981631 h 2981631"/>
              <a:gd name="connsiteX5" fmla="*/ 1484917 w 3650226"/>
              <a:gd name="connsiteY5" fmla="*/ 2318692 h 2981631"/>
              <a:gd name="connsiteX6" fmla="*/ 1477297 w 3650226"/>
              <a:gd name="connsiteY6" fmla="*/ 1404292 h 2981631"/>
              <a:gd name="connsiteX7" fmla="*/ 0 w 3650226"/>
              <a:gd name="connsiteY7" fmla="*/ 1408471 h 2981631"/>
              <a:gd name="connsiteX8" fmla="*/ 0 w 3650226"/>
              <a:gd name="connsiteY8" fmla="*/ 0 h 2981631"/>
              <a:gd name="connsiteX0" fmla="*/ 0 w 3650226"/>
              <a:gd name="connsiteY0" fmla="*/ 0 h 2989252"/>
              <a:gd name="connsiteX1" fmla="*/ 3650226 w 3650226"/>
              <a:gd name="connsiteY1" fmla="*/ 0 h 2989252"/>
              <a:gd name="connsiteX2" fmla="*/ 3650226 w 3650226"/>
              <a:gd name="connsiteY2" fmla="*/ 1408471 h 2989252"/>
              <a:gd name="connsiteX3" fmla="*/ 2041177 w 3650226"/>
              <a:gd name="connsiteY3" fmla="*/ 1419531 h 2989252"/>
              <a:gd name="connsiteX4" fmla="*/ 2086897 w 3650226"/>
              <a:gd name="connsiteY4" fmla="*/ 2981631 h 2989252"/>
              <a:gd name="connsiteX5" fmla="*/ 1416337 w 3650226"/>
              <a:gd name="connsiteY5" fmla="*/ 2989252 h 2989252"/>
              <a:gd name="connsiteX6" fmla="*/ 1477297 w 3650226"/>
              <a:gd name="connsiteY6" fmla="*/ 1404292 h 2989252"/>
              <a:gd name="connsiteX7" fmla="*/ 0 w 3650226"/>
              <a:gd name="connsiteY7" fmla="*/ 1408471 h 2989252"/>
              <a:gd name="connsiteX8" fmla="*/ 0 w 3650226"/>
              <a:gd name="connsiteY8" fmla="*/ 0 h 2989252"/>
              <a:gd name="connsiteX0" fmla="*/ 0 w 3650226"/>
              <a:gd name="connsiteY0" fmla="*/ 0 h 2989252"/>
              <a:gd name="connsiteX1" fmla="*/ 3650226 w 3650226"/>
              <a:gd name="connsiteY1" fmla="*/ 0 h 2989252"/>
              <a:gd name="connsiteX2" fmla="*/ 3650226 w 3650226"/>
              <a:gd name="connsiteY2" fmla="*/ 1408471 h 2989252"/>
              <a:gd name="connsiteX3" fmla="*/ 2041177 w 3650226"/>
              <a:gd name="connsiteY3" fmla="*/ 1419531 h 2989252"/>
              <a:gd name="connsiteX4" fmla="*/ 2086897 w 3650226"/>
              <a:gd name="connsiteY4" fmla="*/ 2981631 h 2989252"/>
              <a:gd name="connsiteX5" fmla="*/ 1416337 w 3650226"/>
              <a:gd name="connsiteY5" fmla="*/ 2989252 h 2989252"/>
              <a:gd name="connsiteX6" fmla="*/ 1454437 w 3650226"/>
              <a:gd name="connsiteY6" fmla="*/ 1404292 h 2989252"/>
              <a:gd name="connsiteX7" fmla="*/ 0 w 3650226"/>
              <a:gd name="connsiteY7" fmla="*/ 1408471 h 2989252"/>
              <a:gd name="connsiteX8" fmla="*/ 0 w 3650226"/>
              <a:gd name="connsiteY8" fmla="*/ 0 h 2989252"/>
              <a:gd name="connsiteX0" fmla="*/ 0 w 3650226"/>
              <a:gd name="connsiteY0" fmla="*/ 0 h 2989252"/>
              <a:gd name="connsiteX1" fmla="*/ 3650226 w 3650226"/>
              <a:gd name="connsiteY1" fmla="*/ 0 h 2989252"/>
              <a:gd name="connsiteX2" fmla="*/ 3650226 w 3650226"/>
              <a:gd name="connsiteY2" fmla="*/ 1408471 h 2989252"/>
              <a:gd name="connsiteX3" fmla="*/ 2041177 w 3650226"/>
              <a:gd name="connsiteY3" fmla="*/ 1419531 h 2989252"/>
              <a:gd name="connsiteX4" fmla="*/ 2086897 w 3650226"/>
              <a:gd name="connsiteY4" fmla="*/ 2981631 h 2989252"/>
              <a:gd name="connsiteX5" fmla="*/ 1416337 w 3650226"/>
              <a:gd name="connsiteY5" fmla="*/ 2989252 h 2989252"/>
              <a:gd name="connsiteX6" fmla="*/ 1416337 w 3650226"/>
              <a:gd name="connsiteY6" fmla="*/ 1404292 h 2989252"/>
              <a:gd name="connsiteX7" fmla="*/ 0 w 3650226"/>
              <a:gd name="connsiteY7" fmla="*/ 1408471 h 2989252"/>
              <a:gd name="connsiteX8" fmla="*/ 0 w 3650226"/>
              <a:gd name="connsiteY8" fmla="*/ 0 h 2989252"/>
              <a:gd name="connsiteX0" fmla="*/ 0 w 3650226"/>
              <a:gd name="connsiteY0" fmla="*/ 0 h 2989252"/>
              <a:gd name="connsiteX1" fmla="*/ 3650226 w 3650226"/>
              <a:gd name="connsiteY1" fmla="*/ 0 h 2989252"/>
              <a:gd name="connsiteX2" fmla="*/ 3650226 w 3650226"/>
              <a:gd name="connsiteY2" fmla="*/ 1408471 h 2989252"/>
              <a:gd name="connsiteX3" fmla="*/ 2041177 w 3650226"/>
              <a:gd name="connsiteY3" fmla="*/ 1419531 h 2989252"/>
              <a:gd name="connsiteX4" fmla="*/ 2086897 w 3650226"/>
              <a:gd name="connsiteY4" fmla="*/ 2981631 h 2989252"/>
              <a:gd name="connsiteX5" fmla="*/ 1416337 w 3650226"/>
              <a:gd name="connsiteY5" fmla="*/ 2989252 h 2989252"/>
              <a:gd name="connsiteX6" fmla="*/ 1431577 w 3650226"/>
              <a:gd name="connsiteY6" fmla="*/ 1404292 h 2989252"/>
              <a:gd name="connsiteX7" fmla="*/ 0 w 3650226"/>
              <a:gd name="connsiteY7" fmla="*/ 1408471 h 2989252"/>
              <a:gd name="connsiteX8" fmla="*/ 0 w 3650226"/>
              <a:gd name="connsiteY8" fmla="*/ 0 h 2989252"/>
              <a:gd name="connsiteX0" fmla="*/ 0 w 3650226"/>
              <a:gd name="connsiteY0" fmla="*/ 0 h 2989252"/>
              <a:gd name="connsiteX1" fmla="*/ 3650226 w 3650226"/>
              <a:gd name="connsiteY1" fmla="*/ 0 h 2989252"/>
              <a:gd name="connsiteX2" fmla="*/ 3650226 w 3650226"/>
              <a:gd name="connsiteY2" fmla="*/ 1408471 h 2989252"/>
              <a:gd name="connsiteX3" fmla="*/ 2048797 w 3650226"/>
              <a:gd name="connsiteY3" fmla="*/ 1427151 h 2989252"/>
              <a:gd name="connsiteX4" fmla="*/ 2086897 w 3650226"/>
              <a:gd name="connsiteY4" fmla="*/ 2981631 h 2989252"/>
              <a:gd name="connsiteX5" fmla="*/ 1416337 w 3650226"/>
              <a:gd name="connsiteY5" fmla="*/ 2989252 h 2989252"/>
              <a:gd name="connsiteX6" fmla="*/ 1431577 w 3650226"/>
              <a:gd name="connsiteY6" fmla="*/ 1404292 h 2989252"/>
              <a:gd name="connsiteX7" fmla="*/ 0 w 3650226"/>
              <a:gd name="connsiteY7" fmla="*/ 1408471 h 2989252"/>
              <a:gd name="connsiteX8" fmla="*/ 0 w 3650226"/>
              <a:gd name="connsiteY8" fmla="*/ 0 h 2989252"/>
              <a:gd name="connsiteX0" fmla="*/ 0 w 3650226"/>
              <a:gd name="connsiteY0" fmla="*/ 0 h 2989252"/>
              <a:gd name="connsiteX1" fmla="*/ 3650226 w 3650226"/>
              <a:gd name="connsiteY1" fmla="*/ 0 h 2989252"/>
              <a:gd name="connsiteX2" fmla="*/ 3650226 w 3650226"/>
              <a:gd name="connsiteY2" fmla="*/ 1408471 h 2989252"/>
              <a:gd name="connsiteX3" fmla="*/ 2064037 w 3650226"/>
              <a:gd name="connsiteY3" fmla="*/ 1427151 h 2989252"/>
              <a:gd name="connsiteX4" fmla="*/ 2086897 w 3650226"/>
              <a:gd name="connsiteY4" fmla="*/ 2981631 h 2989252"/>
              <a:gd name="connsiteX5" fmla="*/ 1416337 w 3650226"/>
              <a:gd name="connsiteY5" fmla="*/ 2989252 h 2989252"/>
              <a:gd name="connsiteX6" fmla="*/ 1431577 w 3650226"/>
              <a:gd name="connsiteY6" fmla="*/ 1404292 h 2989252"/>
              <a:gd name="connsiteX7" fmla="*/ 0 w 3650226"/>
              <a:gd name="connsiteY7" fmla="*/ 1408471 h 2989252"/>
              <a:gd name="connsiteX8" fmla="*/ 0 w 3650226"/>
              <a:gd name="connsiteY8" fmla="*/ 0 h 2989252"/>
              <a:gd name="connsiteX0" fmla="*/ 0 w 3650226"/>
              <a:gd name="connsiteY0" fmla="*/ 0 h 2989252"/>
              <a:gd name="connsiteX1" fmla="*/ 3650226 w 3650226"/>
              <a:gd name="connsiteY1" fmla="*/ 0 h 2989252"/>
              <a:gd name="connsiteX2" fmla="*/ 3650226 w 3650226"/>
              <a:gd name="connsiteY2" fmla="*/ 1408471 h 2989252"/>
              <a:gd name="connsiteX3" fmla="*/ 2064037 w 3650226"/>
              <a:gd name="connsiteY3" fmla="*/ 1427151 h 2989252"/>
              <a:gd name="connsiteX4" fmla="*/ 2086897 w 3650226"/>
              <a:gd name="connsiteY4" fmla="*/ 2981631 h 2989252"/>
              <a:gd name="connsiteX5" fmla="*/ 1416337 w 3650226"/>
              <a:gd name="connsiteY5" fmla="*/ 2989252 h 2989252"/>
              <a:gd name="connsiteX6" fmla="*/ 1423957 w 3650226"/>
              <a:gd name="connsiteY6" fmla="*/ 2463470 h 2989252"/>
              <a:gd name="connsiteX7" fmla="*/ 1431577 w 3650226"/>
              <a:gd name="connsiteY7" fmla="*/ 1404292 h 2989252"/>
              <a:gd name="connsiteX8" fmla="*/ 0 w 3650226"/>
              <a:gd name="connsiteY8" fmla="*/ 1408471 h 2989252"/>
              <a:gd name="connsiteX9" fmla="*/ 0 w 3650226"/>
              <a:gd name="connsiteY9" fmla="*/ 0 h 2989252"/>
              <a:gd name="connsiteX0" fmla="*/ 0 w 3650226"/>
              <a:gd name="connsiteY0" fmla="*/ 0 h 2989252"/>
              <a:gd name="connsiteX1" fmla="*/ 3650226 w 3650226"/>
              <a:gd name="connsiteY1" fmla="*/ 0 h 2989252"/>
              <a:gd name="connsiteX2" fmla="*/ 3650226 w 3650226"/>
              <a:gd name="connsiteY2" fmla="*/ 1408471 h 2989252"/>
              <a:gd name="connsiteX3" fmla="*/ 2064037 w 3650226"/>
              <a:gd name="connsiteY3" fmla="*/ 1427151 h 2989252"/>
              <a:gd name="connsiteX4" fmla="*/ 2086897 w 3650226"/>
              <a:gd name="connsiteY4" fmla="*/ 2981631 h 2989252"/>
              <a:gd name="connsiteX5" fmla="*/ 1416337 w 3650226"/>
              <a:gd name="connsiteY5" fmla="*/ 2989252 h 2989252"/>
              <a:gd name="connsiteX6" fmla="*/ 1423957 w 3650226"/>
              <a:gd name="connsiteY6" fmla="*/ 2463470 h 2989252"/>
              <a:gd name="connsiteX7" fmla="*/ 1172497 w 3650226"/>
              <a:gd name="connsiteY7" fmla="*/ 1419532 h 2989252"/>
              <a:gd name="connsiteX8" fmla="*/ 0 w 3650226"/>
              <a:gd name="connsiteY8" fmla="*/ 1408471 h 2989252"/>
              <a:gd name="connsiteX9" fmla="*/ 0 w 3650226"/>
              <a:gd name="connsiteY9" fmla="*/ 0 h 2989252"/>
              <a:gd name="connsiteX0" fmla="*/ 0 w 3650226"/>
              <a:gd name="connsiteY0" fmla="*/ 0 h 2989252"/>
              <a:gd name="connsiteX1" fmla="*/ 3650226 w 3650226"/>
              <a:gd name="connsiteY1" fmla="*/ 0 h 2989252"/>
              <a:gd name="connsiteX2" fmla="*/ 3650226 w 3650226"/>
              <a:gd name="connsiteY2" fmla="*/ 1408471 h 2989252"/>
              <a:gd name="connsiteX3" fmla="*/ 2064037 w 3650226"/>
              <a:gd name="connsiteY3" fmla="*/ 1427151 h 2989252"/>
              <a:gd name="connsiteX4" fmla="*/ 2086897 w 3650226"/>
              <a:gd name="connsiteY4" fmla="*/ 2981631 h 2989252"/>
              <a:gd name="connsiteX5" fmla="*/ 1416337 w 3650226"/>
              <a:gd name="connsiteY5" fmla="*/ 2989252 h 2989252"/>
              <a:gd name="connsiteX6" fmla="*/ 997237 w 3650226"/>
              <a:gd name="connsiteY6" fmla="*/ 2455850 h 2989252"/>
              <a:gd name="connsiteX7" fmla="*/ 1172497 w 3650226"/>
              <a:gd name="connsiteY7" fmla="*/ 1419532 h 2989252"/>
              <a:gd name="connsiteX8" fmla="*/ 0 w 3650226"/>
              <a:gd name="connsiteY8" fmla="*/ 1408471 h 2989252"/>
              <a:gd name="connsiteX9" fmla="*/ 0 w 3650226"/>
              <a:gd name="connsiteY9" fmla="*/ 0 h 2989252"/>
              <a:gd name="connsiteX0" fmla="*/ 0 w 3650226"/>
              <a:gd name="connsiteY0" fmla="*/ 0 h 2989252"/>
              <a:gd name="connsiteX1" fmla="*/ 3650226 w 3650226"/>
              <a:gd name="connsiteY1" fmla="*/ 0 h 2989252"/>
              <a:gd name="connsiteX2" fmla="*/ 3650226 w 3650226"/>
              <a:gd name="connsiteY2" fmla="*/ 1408471 h 2989252"/>
              <a:gd name="connsiteX3" fmla="*/ 2064037 w 3650226"/>
              <a:gd name="connsiteY3" fmla="*/ 1427151 h 2989252"/>
              <a:gd name="connsiteX4" fmla="*/ 2086897 w 3650226"/>
              <a:gd name="connsiteY4" fmla="*/ 2981631 h 2989252"/>
              <a:gd name="connsiteX5" fmla="*/ 1416337 w 3650226"/>
              <a:gd name="connsiteY5" fmla="*/ 2989252 h 2989252"/>
              <a:gd name="connsiteX6" fmla="*/ 997237 w 3650226"/>
              <a:gd name="connsiteY6" fmla="*/ 2455850 h 2989252"/>
              <a:gd name="connsiteX7" fmla="*/ 1050577 w 3650226"/>
              <a:gd name="connsiteY7" fmla="*/ 1396672 h 2989252"/>
              <a:gd name="connsiteX8" fmla="*/ 0 w 3650226"/>
              <a:gd name="connsiteY8" fmla="*/ 1408471 h 2989252"/>
              <a:gd name="connsiteX9" fmla="*/ 0 w 3650226"/>
              <a:gd name="connsiteY9" fmla="*/ 0 h 2989252"/>
              <a:gd name="connsiteX0" fmla="*/ 0 w 3650226"/>
              <a:gd name="connsiteY0" fmla="*/ 0 h 2989252"/>
              <a:gd name="connsiteX1" fmla="*/ 3650226 w 3650226"/>
              <a:gd name="connsiteY1" fmla="*/ 0 h 2989252"/>
              <a:gd name="connsiteX2" fmla="*/ 3650226 w 3650226"/>
              <a:gd name="connsiteY2" fmla="*/ 1408471 h 2989252"/>
              <a:gd name="connsiteX3" fmla="*/ 2064037 w 3650226"/>
              <a:gd name="connsiteY3" fmla="*/ 1427151 h 2989252"/>
              <a:gd name="connsiteX4" fmla="*/ 2086897 w 3650226"/>
              <a:gd name="connsiteY4" fmla="*/ 2981631 h 2989252"/>
              <a:gd name="connsiteX5" fmla="*/ 1416337 w 3650226"/>
              <a:gd name="connsiteY5" fmla="*/ 2989252 h 2989252"/>
              <a:gd name="connsiteX6" fmla="*/ 997237 w 3650226"/>
              <a:gd name="connsiteY6" fmla="*/ 2455850 h 2989252"/>
              <a:gd name="connsiteX7" fmla="*/ 1035337 w 3650226"/>
              <a:gd name="connsiteY7" fmla="*/ 1419532 h 2989252"/>
              <a:gd name="connsiteX8" fmla="*/ 0 w 3650226"/>
              <a:gd name="connsiteY8" fmla="*/ 1408471 h 2989252"/>
              <a:gd name="connsiteX9" fmla="*/ 0 w 3650226"/>
              <a:gd name="connsiteY9" fmla="*/ 0 h 2989252"/>
              <a:gd name="connsiteX0" fmla="*/ 0 w 3650226"/>
              <a:gd name="connsiteY0" fmla="*/ 0 h 2989252"/>
              <a:gd name="connsiteX1" fmla="*/ 3650226 w 3650226"/>
              <a:gd name="connsiteY1" fmla="*/ 0 h 2989252"/>
              <a:gd name="connsiteX2" fmla="*/ 3650226 w 3650226"/>
              <a:gd name="connsiteY2" fmla="*/ 1408471 h 2989252"/>
              <a:gd name="connsiteX3" fmla="*/ 2064037 w 3650226"/>
              <a:gd name="connsiteY3" fmla="*/ 1427151 h 2989252"/>
              <a:gd name="connsiteX4" fmla="*/ 2086897 w 3650226"/>
              <a:gd name="connsiteY4" fmla="*/ 2981631 h 2989252"/>
              <a:gd name="connsiteX5" fmla="*/ 1416337 w 3650226"/>
              <a:gd name="connsiteY5" fmla="*/ 2989252 h 2989252"/>
              <a:gd name="connsiteX6" fmla="*/ 1012477 w 3650226"/>
              <a:gd name="connsiteY6" fmla="*/ 2981630 h 2989252"/>
              <a:gd name="connsiteX7" fmla="*/ 1035337 w 3650226"/>
              <a:gd name="connsiteY7" fmla="*/ 1419532 h 2989252"/>
              <a:gd name="connsiteX8" fmla="*/ 0 w 3650226"/>
              <a:gd name="connsiteY8" fmla="*/ 1408471 h 2989252"/>
              <a:gd name="connsiteX9" fmla="*/ 0 w 3650226"/>
              <a:gd name="connsiteY9" fmla="*/ 0 h 2989252"/>
              <a:gd name="connsiteX0" fmla="*/ 0 w 3650226"/>
              <a:gd name="connsiteY0" fmla="*/ 0 h 2989252"/>
              <a:gd name="connsiteX1" fmla="*/ 3650226 w 3650226"/>
              <a:gd name="connsiteY1" fmla="*/ 0 h 2989252"/>
              <a:gd name="connsiteX2" fmla="*/ 3650226 w 3650226"/>
              <a:gd name="connsiteY2" fmla="*/ 1408471 h 2989252"/>
              <a:gd name="connsiteX3" fmla="*/ 1820197 w 3650226"/>
              <a:gd name="connsiteY3" fmla="*/ 1457631 h 2989252"/>
              <a:gd name="connsiteX4" fmla="*/ 2086897 w 3650226"/>
              <a:gd name="connsiteY4" fmla="*/ 2981631 h 2989252"/>
              <a:gd name="connsiteX5" fmla="*/ 1416337 w 3650226"/>
              <a:gd name="connsiteY5" fmla="*/ 2989252 h 2989252"/>
              <a:gd name="connsiteX6" fmla="*/ 1012477 w 3650226"/>
              <a:gd name="connsiteY6" fmla="*/ 2981630 h 2989252"/>
              <a:gd name="connsiteX7" fmla="*/ 1035337 w 3650226"/>
              <a:gd name="connsiteY7" fmla="*/ 1419532 h 2989252"/>
              <a:gd name="connsiteX8" fmla="*/ 0 w 3650226"/>
              <a:gd name="connsiteY8" fmla="*/ 1408471 h 2989252"/>
              <a:gd name="connsiteX9" fmla="*/ 0 w 3650226"/>
              <a:gd name="connsiteY9" fmla="*/ 0 h 2989252"/>
              <a:gd name="connsiteX0" fmla="*/ 0 w 3650226"/>
              <a:gd name="connsiteY0" fmla="*/ 0 h 2989252"/>
              <a:gd name="connsiteX1" fmla="*/ 3650226 w 3650226"/>
              <a:gd name="connsiteY1" fmla="*/ 0 h 2989252"/>
              <a:gd name="connsiteX2" fmla="*/ 3650226 w 3650226"/>
              <a:gd name="connsiteY2" fmla="*/ 1408471 h 2989252"/>
              <a:gd name="connsiteX3" fmla="*/ 1820197 w 3650226"/>
              <a:gd name="connsiteY3" fmla="*/ 1457631 h 2989252"/>
              <a:gd name="connsiteX4" fmla="*/ 1904017 w 3650226"/>
              <a:gd name="connsiteY4" fmla="*/ 2288211 h 2989252"/>
              <a:gd name="connsiteX5" fmla="*/ 1416337 w 3650226"/>
              <a:gd name="connsiteY5" fmla="*/ 2989252 h 2989252"/>
              <a:gd name="connsiteX6" fmla="*/ 1012477 w 3650226"/>
              <a:gd name="connsiteY6" fmla="*/ 2981630 h 2989252"/>
              <a:gd name="connsiteX7" fmla="*/ 1035337 w 3650226"/>
              <a:gd name="connsiteY7" fmla="*/ 1419532 h 2989252"/>
              <a:gd name="connsiteX8" fmla="*/ 0 w 3650226"/>
              <a:gd name="connsiteY8" fmla="*/ 1408471 h 2989252"/>
              <a:gd name="connsiteX9" fmla="*/ 0 w 3650226"/>
              <a:gd name="connsiteY9" fmla="*/ 0 h 2989252"/>
              <a:gd name="connsiteX0" fmla="*/ 0 w 3650226"/>
              <a:gd name="connsiteY0" fmla="*/ 0 h 2989252"/>
              <a:gd name="connsiteX1" fmla="*/ 3650226 w 3650226"/>
              <a:gd name="connsiteY1" fmla="*/ 0 h 2989252"/>
              <a:gd name="connsiteX2" fmla="*/ 3650226 w 3650226"/>
              <a:gd name="connsiteY2" fmla="*/ 1408471 h 2989252"/>
              <a:gd name="connsiteX3" fmla="*/ 1820197 w 3650226"/>
              <a:gd name="connsiteY3" fmla="*/ 1457631 h 2989252"/>
              <a:gd name="connsiteX4" fmla="*/ 1904017 w 3650226"/>
              <a:gd name="connsiteY4" fmla="*/ 2288211 h 2989252"/>
              <a:gd name="connsiteX5" fmla="*/ 1888777 w 3650226"/>
              <a:gd name="connsiteY5" fmla="*/ 2265350 h 2989252"/>
              <a:gd name="connsiteX6" fmla="*/ 1416337 w 3650226"/>
              <a:gd name="connsiteY6" fmla="*/ 2989252 h 2989252"/>
              <a:gd name="connsiteX7" fmla="*/ 1012477 w 3650226"/>
              <a:gd name="connsiteY7" fmla="*/ 2981630 h 2989252"/>
              <a:gd name="connsiteX8" fmla="*/ 1035337 w 3650226"/>
              <a:gd name="connsiteY8" fmla="*/ 1419532 h 2989252"/>
              <a:gd name="connsiteX9" fmla="*/ 0 w 3650226"/>
              <a:gd name="connsiteY9" fmla="*/ 1408471 h 2989252"/>
              <a:gd name="connsiteX10" fmla="*/ 0 w 3650226"/>
              <a:gd name="connsiteY10" fmla="*/ 0 h 2989252"/>
              <a:gd name="connsiteX0" fmla="*/ 0 w 3650226"/>
              <a:gd name="connsiteY0" fmla="*/ 0 h 2989252"/>
              <a:gd name="connsiteX1" fmla="*/ 3650226 w 3650226"/>
              <a:gd name="connsiteY1" fmla="*/ 0 h 2989252"/>
              <a:gd name="connsiteX2" fmla="*/ 3650226 w 3650226"/>
              <a:gd name="connsiteY2" fmla="*/ 1408471 h 2989252"/>
              <a:gd name="connsiteX3" fmla="*/ 1820197 w 3650226"/>
              <a:gd name="connsiteY3" fmla="*/ 1457631 h 2989252"/>
              <a:gd name="connsiteX4" fmla="*/ 1904017 w 3650226"/>
              <a:gd name="connsiteY4" fmla="*/ 2288211 h 2989252"/>
              <a:gd name="connsiteX5" fmla="*/ 2742217 w 3650226"/>
              <a:gd name="connsiteY5" fmla="*/ 2958770 h 2989252"/>
              <a:gd name="connsiteX6" fmla="*/ 1416337 w 3650226"/>
              <a:gd name="connsiteY6" fmla="*/ 2989252 h 2989252"/>
              <a:gd name="connsiteX7" fmla="*/ 1012477 w 3650226"/>
              <a:gd name="connsiteY7" fmla="*/ 2981630 h 2989252"/>
              <a:gd name="connsiteX8" fmla="*/ 1035337 w 3650226"/>
              <a:gd name="connsiteY8" fmla="*/ 1419532 h 2989252"/>
              <a:gd name="connsiteX9" fmla="*/ 0 w 3650226"/>
              <a:gd name="connsiteY9" fmla="*/ 1408471 h 2989252"/>
              <a:gd name="connsiteX10" fmla="*/ 0 w 3650226"/>
              <a:gd name="connsiteY10" fmla="*/ 0 h 2989252"/>
              <a:gd name="connsiteX0" fmla="*/ 0 w 3650226"/>
              <a:gd name="connsiteY0" fmla="*/ 0 h 2989252"/>
              <a:gd name="connsiteX1" fmla="*/ 3650226 w 3650226"/>
              <a:gd name="connsiteY1" fmla="*/ 0 h 2989252"/>
              <a:gd name="connsiteX2" fmla="*/ 3650226 w 3650226"/>
              <a:gd name="connsiteY2" fmla="*/ 1408471 h 2989252"/>
              <a:gd name="connsiteX3" fmla="*/ 1820197 w 3650226"/>
              <a:gd name="connsiteY3" fmla="*/ 1457631 h 2989252"/>
              <a:gd name="connsiteX4" fmla="*/ 1904017 w 3650226"/>
              <a:gd name="connsiteY4" fmla="*/ 2288211 h 2989252"/>
              <a:gd name="connsiteX5" fmla="*/ 2094517 w 3650226"/>
              <a:gd name="connsiteY5" fmla="*/ 2448230 h 2989252"/>
              <a:gd name="connsiteX6" fmla="*/ 2742217 w 3650226"/>
              <a:gd name="connsiteY6" fmla="*/ 2958770 h 2989252"/>
              <a:gd name="connsiteX7" fmla="*/ 1416337 w 3650226"/>
              <a:gd name="connsiteY7" fmla="*/ 2989252 h 2989252"/>
              <a:gd name="connsiteX8" fmla="*/ 1012477 w 3650226"/>
              <a:gd name="connsiteY8" fmla="*/ 2981630 h 2989252"/>
              <a:gd name="connsiteX9" fmla="*/ 1035337 w 3650226"/>
              <a:gd name="connsiteY9" fmla="*/ 1419532 h 2989252"/>
              <a:gd name="connsiteX10" fmla="*/ 0 w 3650226"/>
              <a:gd name="connsiteY10" fmla="*/ 1408471 h 2989252"/>
              <a:gd name="connsiteX11" fmla="*/ 0 w 3650226"/>
              <a:gd name="connsiteY11" fmla="*/ 0 h 2989252"/>
              <a:gd name="connsiteX0" fmla="*/ 0 w 3650226"/>
              <a:gd name="connsiteY0" fmla="*/ 0 h 2989252"/>
              <a:gd name="connsiteX1" fmla="*/ 3650226 w 3650226"/>
              <a:gd name="connsiteY1" fmla="*/ 0 h 2989252"/>
              <a:gd name="connsiteX2" fmla="*/ 3650226 w 3650226"/>
              <a:gd name="connsiteY2" fmla="*/ 1408471 h 2989252"/>
              <a:gd name="connsiteX3" fmla="*/ 1820197 w 3650226"/>
              <a:gd name="connsiteY3" fmla="*/ 1457631 h 2989252"/>
              <a:gd name="connsiteX4" fmla="*/ 1904017 w 3650226"/>
              <a:gd name="connsiteY4" fmla="*/ 2288211 h 2989252"/>
              <a:gd name="connsiteX5" fmla="*/ 2681257 w 3650226"/>
              <a:gd name="connsiteY5" fmla="*/ 2272970 h 2989252"/>
              <a:gd name="connsiteX6" fmla="*/ 2742217 w 3650226"/>
              <a:gd name="connsiteY6" fmla="*/ 2958770 h 2989252"/>
              <a:gd name="connsiteX7" fmla="*/ 1416337 w 3650226"/>
              <a:gd name="connsiteY7" fmla="*/ 2989252 h 2989252"/>
              <a:gd name="connsiteX8" fmla="*/ 1012477 w 3650226"/>
              <a:gd name="connsiteY8" fmla="*/ 2981630 h 2989252"/>
              <a:gd name="connsiteX9" fmla="*/ 1035337 w 3650226"/>
              <a:gd name="connsiteY9" fmla="*/ 1419532 h 2989252"/>
              <a:gd name="connsiteX10" fmla="*/ 0 w 3650226"/>
              <a:gd name="connsiteY10" fmla="*/ 1408471 h 2989252"/>
              <a:gd name="connsiteX11" fmla="*/ 0 w 3650226"/>
              <a:gd name="connsiteY11" fmla="*/ 0 h 2989252"/>
              <a:gd name="connsiteX0" fmla="*/ 0 w 3650226"/>
              <a:gd name="connsiteY0" fmla="*/ 0 h 2989252"/>
              <a:gd name="connsiteX1" fmla="*/ 3650226 w 3650226"/>
              <a:gd name="connsiteY1" fmla="*/ 0 h 2989252"/>
              <a:gd name="connsiteX2" fmla="*/ 3650226 w 3650226"/>
              <a:gd name="connsiteY2" fmla="*/ 1408471 h 2989252"/>
              <a:gd name="connsiteX3" fmla="*/ 1964977 w 3650226"/>
              <a:gd name="connsiteY3" fmla="*/ 1434771 h 2989252"/>
              <a:gd name="connsiteX4" fmla="*/ 1904017 w 3650226"/>
              <a:gd name="connsiteY4" fmla="*/ 2288211 h 2989252"/>
              <a:gd name="connsiteX5" fmla="*/ 2681257 w 3650226"/>
              <a:gd name="connsiteY5" fmla="*/ 2272970 h 2989252"/>
              <a:gd name="connsiteX6" fmla="*/ 2742217 w 3650226"/>
              <a:gd name="connsiteY6" fmla="*/ 2958770 h 2989252"/>
              <a:gd name="connsiteX7" fmla="*/ 1416337 w 3650226"/>
              <a:gd name="connsiteY7" fmla="*/ 2989252 h 2989252"/>
              <a:gd name="connsiteX8" fmla="*/ 1012477 w 3650226"/>
              <a:gd name="connsiteY8" fmla="*/ 2981630 h 2989252"/>
              <a:gd name="connsiteX9" fmla="*/ 1035337 w 3650226"/>
              <a:gd name="connsiteY9" fmla="*/ 1419532 h 2989252"/>
              <a:gd name="connsiteX10" fmla="*/ 0 w 3650226"/>
              <a:gd name="connsiteY10" fmla="*/ 1408471 h 2989252"/>
              <a:gd name="connsiteX11" fmla="*/ 0 w 3650226"/>
              <a:gd name="connsiteY11" fmla="*/ 0 h 2989252"/>
              <a:gd name="connsiteX0" fmla="*/ 0 w 3650226"/>
              <a:gd name="connsiteY0" fmla="*/ 0 h 2989252"/>
              <a:gd name="connsiteX1" fmla="*/ 3650226 w 3650226"/>
              <a:gd name="connsiteY1" fmla="*/ 0 h 2989252"/>
              <a:gd name="connsiteX2" fmla="*/ 3650226 w 3650226"/>
              <a:gd name="connsiteY2" fmla="*/ 1408471 h 2989252"/>
              <a:gd name="connsiteX3" fmla="*/ 1964977 w 3650226"/>
              <a:gd name="connsiteY3" fmla="*/ 1419531 h 2989252"/>
              <a:gd name="connsiteX4" fmla="*/ 1904017 w 3650226"/>
              <a:gd name="connsiteY4" fmla="*/ 2288211 h 2989252"/>
              <a:gd name="connsiteX5" fmla="*/ 2681257 w 3650226"/>
              <a:gd name="connsiteY5" fmla="*/ 2272970 h 2989252"/>
              <a:gd name="connsiteX6" fmla="*/ 2742217 w 3650226"/>
              <a:gd name="connsiteY6" fmla="*/ 2958770 h 2989252"/>
              <a:gd name="connsiteX7" fmla="*/ 1416337 w 3650226"/>
              <a:gd name="connsiteY7" fmla="*/ 2989252 h 2989252"/>
              <a:gd name="connsiteX8" fmla="*/ 1012477 w 3650226"/>
              <a:gd name="connsiteY8" fmla="*/ 2981630 h 2989252"/>
              <a:gd name="connsiteX9" fmla="*/ 1035337 w 3650226"/>
              <a:gd name="connsiteY9" fmla="*/ 1419532 h 2989252"/>
              <a:gd name="connsiteX10" fmla="*/ 0 w 3650226"/>
              <a:gd name="connsiteY10" fmla="*/ 1408471 h 2989252"/>
              <a:gd name="connsiteX11" fmla="*/ 0 w 3650226"/>
              <a:gd name="connsiteY11" fmla="*/ 0 h 2989252"/>
              <a:gd name="connsiteX0" fmla="*/ 0 w 3650226"/>
              <a:gd name="connsiteY0" fmla="*/ 0 h 2989252"/>
              <a:gd name="connsiteX1" fmla="*/ 3650226 w 3650226"/>
              <a:gd name="connsiteY1" fmla="*/ 0 h 2989252"/>
              <a:gd name="connsiteX2" fmla="*/ 3650226 w 3650226"/>
              <a:gd name="connsiteY2" fmla="*/ 1408471 h 2989252"/>
              <a:gd name="connsiteX3" fmla="*/ 1964977 w 3650226"/>
              <a:gd name="connsiteY3" fmla="*/ 1419531 h 2989252"/>
              <a:gd name="connsiteX4" fmla="*/ 1972597 w 3650226"/>
              <a:gd name="connsiteY4" fmla="*/ 2272971 h 2989252"/>
              <a:gd name="connsiteX5" fmla="*/ 2681257 w 3650226"/>
              <a:gd name="connsiteY5" fmla="*/ 2272970 h 2989252"/>
              <a:gd name="connsiteX6" fmla="*/ 2742217 w 3650226"/>
              <a:gd name="connsiteY6" fmla="*/ 2958770 h 2989252"/>
              <a:gd name="connsiteX7" fmla="*/ 1416337 w 3650226"/>
              <a:gd name="connsiteY7" fmla="*/ 2989252 h 2989252"/>
              <a:gd name="connsiteX8" fmla="*/ 1012477 w 3650226"/>
              <a:gd name="connsiteY8" fmla="*/ 2981630 h 2989252"/>
              <a:gd name="connsiteX9" fmla="*/ 1035337 w 3650226"/>
              <a:gd name="connsiteY9" fmla="*/ 1419532 h 2989252"/>
              <a:gd name="connsiteX10" fmla="*/ 0 w 3650226"/>
              <a:gd name="connsiteY10" fmla="*/ 1408471 h 2989252"/>
              <a:gd name="connsiteX11" fmla="*/ 0 w 3650226"/>
              <a:gd name="connsiteY11" fmla="*/ 0 h 2989252"/>
              <a:gd name="connsiteX0" fmla="*/ 0 w 3650226"/>
              <a:gd name="connsiteY0" fmla="*/ 0 h 3012110"/>
              <a:gd name="connsiteX1" fmla="*/ 3650226 w 3650226"/>
              <a:gd name="connsiteY1" fmla="*/ 0 h 3012110"/>
              <a:gd name="connsiteX2" fmla="*/ 3650226 w 3650226"/>
              <a:gd name="connsiteY2" fmla="*/ 1408471 h 3012110"/>
              <a:gd name="connsiteX3" fmla="*/ 1964977 w 3650226"/>
              <a:gd name="connsiteY3" fmla="*/ 1419531 h 3012110"/>
              <a:gd name="connsiteX4" fmla="*/ 1972597 w 3650226"/>
              <a:gd name="connsiteY4" fmla="*/ 2272971 h 3012110"/>
              <a:gd name="connsiteX5" fmla="*/ 2681257 w 3650226"/>
              <a:gd name="connsiteY5" fmla="*/ 2272970 h 3012110"/>
              <a:gd name="connsiteX6" fmla="*/ 2742217 w 3650226"/>
              <a:gd name="connsiteY6" fmla="*/ 3012110 h 3012110"/>
              <a:gd name="connsiteX7" fmla="*/ 1416337 w 3650226"/>
              <a:gd name="connsiteY7" fmla="*/ 2989252 h 3012110"/>
              <a:gd name="connsiteX8" fmla="*/ 1012477 w 3650226"/>
              <a:gd name="connsiteY8" fmla="*/ 2981630 h 3012110"/>
              <a:gd name="connsiteX9" fmla="*/ 1035337 w 3650226"/>
              <a:gd name="connsiteY9" fmla="*/ 1419532 h 3012110"/>
              <a:gd name="connsiteX10" fmla="*/ 0 w 3650226"/>
              <a:gd name="connsiteY10" fmla="*/ 1408471 h 3012110"/>
              <a:gd name="connsiteX11" fmla="*/ 0 w 3650226"/>
              <a:gd name="connsiteY11" fmla="*/ 0 h 3012110"/>
              <a:gd name="connsiteX0" fmla="*/ 0 w 3650226"/>
              <a:gd name="connsiteY0" fmla="*/ 0 h 2996870"/>
              <a:gd name="connsiteX1" fmla="*/ 3650226 w 3650226"/>
              <a:gd name="connsiteY1" fmla="*/ 0 h 2996870"/>
              <a:gd name="connsiteX2" fmla="*/ 3650226 w 3650226"/>
              <a:gd name="connsiteY2" fmla="*/ 1408471 h 2996870"/>
              <a:gd name="connsiteX3" fmla="*/ 1964977 w 3650226"/>
              <a:gd name="connsiteY3" fmla="*/ 1419531 h 2996870"/>
              <a:gd name="connsiteX4" fmla="*/ 1972597 w 3650226"/>
              <a:gd name="connsiteY4" fmla="*/ 2272971 h 2996870"/>
              <a:gd name="connsiteX5" fmla="*/ 2681257 w 3650226"/>
              <a:gd name="connsiteY5" fmla="*/ 2272970 h 2996870"/>
              <a:gd name="connsiteX6" fmla="*/ 2719357 w 3650226"/>
              <a:gd name="connsiteY6" fmla="*/ 2996870 h 2996870"/>
              <a:gd name="connsiteX7" fmla="*/ 1416337 w 3650226"/>
              <a:gd name="connsiteY7" fmla="*/ 2989252 h 2996870"/>
              <a:gd name="connsiteX8" fmla="*/ 1012477 w 3650226"/>
              <a:gd name="connsiteY8" fmla="*/ 2981630 h 2996870"/>
              <a:gd name="connsiteX9" fmla="*/ 1035337 w 3650226"/>
              <a:gd name="connsiteY9" fmla="*/ 1419532 h 2996870"/>
              <a:gd name="connsiteX10" fmla="*/ 0 w 3650226"/>
              <a:gd name="connsiteY10" fmla="*/ 1408471 h 2996870"/>
              <a:gd name="connsiteX11" fmla="*/ 0 w 3650226"/>
              <a:gd name="connsiteY11" fmla="*/ 0 h 2996870"/>
              <a:gd name="connsiteX0" fmla="*/ 0 w 3650226"/>
              <a:gd name="connsiteY0" fmla="*/ 0 h 2996870"/>
              <a:gd name="connsiteX1" fmla="*/ 3650226 w 3650226"/>
              <a:gd name="connsiteY1" fmla="*/ 0 h 2996870"/>
              <a:gd name="connsiteX2" fmla="*/ 3650226 w 3650226"/>
              <a:gd name="connsiteY2" fmla="*/ 1408471 h 2996870"/>
              <a:gd name="connsiteX3" fmla="*/ 1964977 w 3650226"/>
              <a:gd name="connsiteY3" fmla="*/ 1419531 h 2996870"/>
              <a:gd name="connsiteX4" fmla="*/ 1972597 w 3650226"/>
              <a:gd name="connsiteY4" fmla="*/ 2272971 h 2996870"/>
              <a:gd name="connsiteX5" fmla="*/ 2726977 w 3650226"/>
              <a:gd name="connsiteY5" fmla="*/ 2288210 h 2996870"/>
              <a:gd name="connsiteX6" fmla="*/ 2719357 w 3650226"/>
              <a:gd name="connsiteY6" fmla="*/ 2996870 h 2996870"/>
              <a:gd name="connsiteX7" fmla="*/ 1416337 w 3650226"/>
              <a:gd name="connsiteY7" fmla="*/ 2989252 h 2996870"/>
              <a:gd name="connsiteX8" fmla="*/ 1012477 w 3650226"/>
              <a:gd name="connsiteY8" fmla="*/ 2981630 h 2996870"/>
              <a:gd name="connsiteX9" fmla="*/ 1035337 w 3650226"/>
              <a:gd name="connsiteY9" fmla="*/ 1419532 h 2996870"/>
              <a:gd name="connsiteX10" fmla="*/ 0 w 3650226"/>
              <a:gd name="connsiteY10" fmla="*/ 1408471 h 2996870"/>
              <a:gd name="connsiteX11" fmla="*/ 0 w 3650226"/>
              <a:gd name="connsiteY11" fmla="*/ 0 h 2996870"/>
              <a:gd name="connsiteX0" fmla="*/ 0 w 3650226"/>
              <a:gd name="connsiteY0" fmla="*/ 0 h 2996870"/>
              <a:gd name="connsiteX1" fmla="*/ 3650226 w 3650226"/>
              <a:gd name="connsiteY1" fmla="*/ 0 h 2996870"/>
              <a:gd name="connsiteX2" fmla="*/ 3650226 w 3650226"/>
              <a:gd name="connsiteY2" fmla="*/ 1408471 h 2996870"/>
              <a:gd name="connsiteX3" fmla="*/ 1964977 w 3650226"/>
              <a:gd name="connsiteY3" fmla="*/ 1419531 h 2996870"/>
              <a:gd name="connsiteX4" fmla="*/ 1972597 w 3650226"/>
              <a:gd name="connsiteY4" fmla="*/ 2272971 h 2996870"/>
              <a:gd name="connsiteX5" fmla="*/ 2711737 w 3650226"/>
              <a:gd name="connsiteY5" fmla="*/ 2272970 h 2996870"/>
              <a:gd name="connsiteX6" fmla="*/ 2719357 w 3650226"/>
              <a:gd name="connsiteY6" fmla="*/ 2996870 h 2996870"/>
              <a:gd name="connsiteX7" fmla="*/ 1416337 w 3650226"/>
              <a:gd name="connsiteY7" fmla="*/ 2989252 h 2996870"/>
              <a:gd name="connsiteX8" fmla="*/ 1012477 w 3650226"/>
              <a:gd name="connsiteY8" fmla="*/ 2981630 h 2996870"/>
              <a:gd name="connsiteX9" fmla="*/ 1035337 w 3650226"/>
              <a:gd name="connsiteY9" fmla="*/ 1419532 h 2996870"/>
              <a:gd name="connsiteX10" fmla="*/ 0 w 3650226"/>
              <a:gd name="connsiteY10" fmla="*/ 1408471 h 2996870"/>
              <a:gd name="connsiteX11" fmla="*/ 0 w 3650226"/>
              <a:gd name="connsiteY11" fmla="*/ 0 h 2996870"/>
              <a:gd name="connsiteX0" fmla="*/ 0 w 3650226"/>
              <a:gd name="connsiteY0" fmla="*/ 0 h 2996870"/>
              <a:gd name="connsiteX1" fmla="*/ 3650226 w 3650226"/>
              <a:gd name="connsiteY1" fmla="*/ 0 h 2996870"/>
              <a:gd name="connsiteX2" fmla="*/ 3650226 w 3650226"/>
              <a:gd name="connsiteY2" fmla="*/ 1408471 h 2996870"/>
              <a:gd name="connsiteX3" fmla="*/ 1964977 w 3650226"/>
              <a:gd name="connsiteY3" fmla="*/ 1419531 h 2996870"/>
              <a:gd name="connsiteX4" fmla="*/ 1972597 w 3650226"/>
              <a:gd name="connsiteY4" fmla="*/ 2272971 h 2996870"/>
              <a:gd name="connsiteX5" fmla="*/ 2711737 w 3650226"/>
              <a:gd name="connsiteY5" fmla="*/ 2272970 h 2996870"/>
              <a:gd name="connsiteX6" fmla="*/ 2719357 w 3650226"/>
              <a:gd name="connsiteY6" fmla="*/ 2996870 h 2996870"/>
              <a:gd name="connsiteX7" fmla="*/ 1416337 w 3650226"/>
              <a:gd name="connsiteY7" fmla="*/ 2989252 h 2996870"/>
              <a:gd name="connsiteX8" fmla="*/ 1012477 w 3650226"/>
              <a:gd name="connsiteY8" fmla="*/ 2981630 h 2996870"/>
              <a:gd name="connsiteX9" fmla="*/ 1004857 w 3650226"/>
              <a:gd name="connsiteY9" fmla="*/ 1419532 h 2996870"/>
              <a:gd name="connsiteX10" fmla="*/ 0 w 3650226"/>
              <a:gd name="connsiteY10" fmla="*/ 1408471 h 2996870"/>
              <a:gd name="connsiteX11" fmla="*/ 0 w 3650226"/>
              <a:gd name="connsiteY11" fmla="*/ 0 h 2996870"/>
              <a:gd name="connsiteX0" fmla="*/ 0 w 3650226"/>
              <a:gd name="connsiteY0" fmla="*/ 0 h 2996870"/>
              <a:gd name="connsiteX1" fmla="*/ 3650226 w 3650226"/>
              <a:gd name="connsiteY1" fmla="*/ 0 h 2996870"/>
              <a:gd name="connsiteX2" fmla="*/ 3650226 w 3650226"/>
              <a:gd name="connsiteY2" fmla="*/ 1408471 h 2996870"/>
              <a:gd name="connsiteX3" fmla="*/ 1964977 w 3650226"/>
              <a:gd name="connsiteY3" fmla="*/ 1419531 h 2996870"/>
              <a:gd name="connsiteX4" fmla="*/ 1972597 w 3650226"/>
              <a:gd name="connsiteY4" fmla="*/ 2272971 h 2996870"/>
              <a:gd name="connsiteX5" fmla="*/ 2711737 w 3650226"/>
              <a:gd name="connsiteY5" fmla="*/ 2272970 h 2996870"/>
              <a:gd name="connsiteX6" fmla="*/ 2719357 w 3650226"/>
              <a:gd name="connsiteY6" fmla="*/ 2996870 h 2996870"/>
              <a:gd name="connsiteX7" fmla="*/ 1012477 w 3650226"/>
              <a:gd name="connsiteY7" fmla="*/ 2981630 h 2996870"/>
              <a:gd name="connsiteX8" fmla="*/ 1004857 w 3650226"/>
              <a:gd name="connsiteY8" fmla="*/ 1419532 h 2996870"/>
              <a:gd name="connsiteX9" fmla="*/ 0 w 3650226"/>
              <a:gd name="connsiteY9" fmla="*/ 140847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64977 w 3650226"/>
              <a:gd name="connsiteY3" fmla="*/ 1419531 h 2996870"/>
              <a:gd name="connsiteX4" fmla="*/ 2018317 w 3650226"/>
              <a:gd name="connsiteY4" fmla="*/ 2272971 h 2996870"/>
              <a:gd name="connsiteX5" fmla="*/ 2711737 w 3650226"/>
              <a:gd name="connsiteY5" fmla="*/ 2272970 h 2996870"/>
              <a:gd name="connsiteX6" fmla="*/ 2719357 w 3650226"/>
              <a:gd name="connsiteY6" fmla="*/ 2996870 h 2996870"/>
              <a:gd name="connsiteX7" fmla="*/ 1012477 w 3650226"/>
              <a:gd name="connsiteY7" fmla="*/ 2981630 h 2996870"/>
              <a:gd name="connsiteX8" fmla="*/ 1004857 w 3650226"/>
              <a:gd name="connsiteY8" fmla="*/ 1419532 h 2996870"/>
              <a:gd name="connsiteX9" fmla="*/ 0 w 3650226"/>
              <a:gd name="connsiteY9" fmla="*/ 140847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2033557 w 3650226"/>
              <a:gd name="connsiteY3" fmla="*/ 1411911 h 2996870"/>
              <a:gd name="connsiteX4" fmla="*/ 2018317 w 3650226"/>
              <a:gd name="connsiteY4" fmla="*/ 2272971 h 2996870"/>
              <a:gd name="connsiteX5" fmla="*/ 2711737 w 3650226"/>
              <a:gd name="connsiteY5" fmla="*/ 2272970 h 2996870"/>
              <a:gd name="connsiteX6" fmla="*/ 2719357 w 3650226"/>
              <a:gd name="connsiteY6" fmla="*/ 2996870 h 2996870"/>
              <a:gd name="connsiteX7" fmla="*/ 1012477 w 3650226"/>
              <a:gd name="connsiteY7" fmla="*/ 2981630 h 2996870"/>
              <a:gd name="connsiteX8" fmla="*/ 1004857 w 3650226"/>
              <a:gd name="connsiteY8" fmla="*/ 1419532 h 2996870"/>
              <a:gd name="connsiteX9" fmla="*/ 0 w 3650226"/>
              <a:gd name="connsiteY9" fmla="*/ 140847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72597 w 3650226"/>
              <a:gd name="connsiteY3" fmla="*/ 1411911 h 2996870"/>
              <a:gd name="connsiteX4" fmla="*/ 2018317 w 3650226"/>
              <a:gd name="connsiteY4" fmla="*/ 2272971 h 2996870"/>
              <a:gd name="connsiteX5" fmla="*/ 2711737 w 3650226"/>
              <a:gd name="connsiteY5" fmla="*/ 2272970 h 2996870"/>
              <a:gd name="connsiteX6" fmla="*/ 2719357 w 3650226"/>
              <a:gd name="connsiteY6" fmla="*/ 2996870 h 2996870"/>
              <a:gd name="connsiteX7" fmla="*/ 1012477 w 3650226"/>
              <a:gd name="connsiteY7" fmla="*/ 2981630 h 2996870"/>
              <a:gd name="connsiteX8" fmla="*/ 1004857 w 3650226"/>
              <a:gd name="connsiteY8" fmla="*/ 1419532 h 2996870"/>
              <a:gd name="connsiteX9" fmla="*/ 0 w 3650226"/>
              <a:gd name="connsiteY9" fmla="*/ 140847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72597 w 3650226"/>
              <a:gd name="connsiteY3" fmla="*/ 1411911 h 2996870"/>
              <a:gd name="connsiteX4" fmla="*/ 1972597 w 3650226"/>
              <a:gd name="connsiteY4" fmla="*/ 2257731 h 2996870"/>
              <a:gd name="connsiteX5" fmla="*/ 2711737 w 3650226"/>
              <a:gd name="connsiteY5" fmla="*/ 2272970 h 2996870"/>
              <a:gd name="connsiteX6" fmla="*/ 2719357 w 3650226"/>
              <a:gd name="connsiteY6" fmla="*/ 2996870 h 2996870"/>
              <a:gd name="connsiteX7" fmla="*/ 1012477 w 3650226"/>
              <a:gd name="connsiteY7" fmla="*/ 2981630 h 2996870"/>
              <a:gd name="connsiteX8" fmla="*/ 1004857 w 3650226"/>
              <a:gd name="connsiteY8" fmla="*/ 1419532 h 2996870"/>
              <a:gd name="connsiteX9" fmla="*/ 0 w 3650226"/>
              <a:gd name="connsiteY9" fmla="*/ 140847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72597 w 3650226"/>
              <a:gd name="connsiteY3" fmla="*/ 1411911 h 2996870"/>
              <a:gd name="connsiteX4" fmla="*/ 1972597 w 3650226"/>
              <a:gd name="connsiteY4" fmla="*/ 2295831 h 2996870"/>
              <a:gd name="connsiteX5" fmla="*/ 2711737 w 3650226"/>
              <a:gd name="connsiteY5" fmla="*/ 2272970 h 2996870"/>
              <a:gd name="connsiteX6" fmla="*/ 2719357 w 3650226"/>
              <a:gd name="connsiteY6" fmla="*/ 2996870 h 2996870"/>
              <a:gd name="connsiteX7" fmla="*/ 1012477 w 3650226"/>
              <a:gd name="connsiteY7" fmla="*/ 2981630 h 2996870"/>
              <a:gd name="connsiteX8" fmla="*/ 1004857 w 3650226"/>
              <a:gd name="connsiteY8" fmla="*/ 1419532 h 2996870"/>
              <a:gd name="connsiteX9" fmla="*/ 0 w 3650226"/>
              <a:gd name="connsiteY9" fmla="*/ 140847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72597 w 3650226"/>
              <a:gd name="connsiteY3" fmla="*/ 1411911 h 2996870"/>
              <a:gd name="connsiteX4" fmla="*/ 1964977 w 3650226"/>
              <a:gd name="connsiteY4" fmla="*/ 2280591 h 2996870"/>
              <a:gd name="connsiteX5" fmla="*/ 2711737 w 3650226"/>
              <a:gd name="connsiteY5" fmla="*/ 2272970 h 2996870"/>
              <a:gd name="connsiteX6" fmla="*/ 2719357 w 3650226"/>
              <a:gd name="connsiteY6" fmla="*/ 2996870 h 2996870"/>
              <a:gd name="connsiteX7" fmla="*/ 1012477 w 3650226"/>
              <a:gd name="connsiteY7" fmla="*/ 2981630 h 2996870"/>
              <a:gd name="connsiteX8" fmla="*/ 1004857 w 3650226"/>
              <a:gd name="connsiteY8" fmla="*/ 1419532 h 2996870"/>
              <a:gd name="connsiteX9" fmla="*/ 0 w 3650226"/>
              <a:gd name="connsiteY9" fmla="*/ 140847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57357 w 3650226"/>
              <a:gd name="connsiteY3" fmla="*/ 1411911 h 2996870"/>
              <a:gd name="connsiteX4" fmla="*/ 1964977 w 3650226"/>
              <a:gd name="connsiteY4" fmla="*/ 2280591 h 2996870"/>
              <a:gd name="connsiteX5" fmla="*/ 2711737 w 3650226"/>
              <a:gd name="connsiteY5" fmla="*/ 2272970 h 2996870"/>
              <a:gd name="connsiteX6" fmla="*/ 2719357 w 3650226"/>
              <a:gd name="connsiteY6" fmla="*/ 2996870 h 2996870"/>
              <a:gd name="connsiteX7" fmla="*/ 1012477 w 3650226"/>
              <a:gd name="connsiteY7" fmla="*/ 2981630 h 2996870"/>
              <a:gd name="connsiteX8" fmla="*/ 1004857 w 3650226"/>
              <a:gd name="connsiteY8" fmla="*/ 1419532 h 2996870"/>
              <a:gd name="connsiteX9" fmla="*/ 0 w 3650226"/>
              <a:gd name="connsiteY9" fmla="*/ 140847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57357 w 3650226"/>
              <a:gd name="connsiteY3" fmla="*/ 1411911 h 2996870"/>
              <a:gd name="connsiteX4" fmla="*/ 1964977 w 3650226"/>
              <a:gd name="connsiteY4" fmla="*/ 2280591 h 2996870"/>
              <a:gd name="connsiteX5" fmla="*/ 2711737 w 3650226"/>
              <a:gd name="connsiteY5" fmla="*/ 2272970 h 2996870"/>
              <a:gd name="connsiteX6" fmla="*/ 2719357 w 3650226"/>
              <a:gd name="connsiteY6" fmla="*/ 2996870 h 2996870"/>
              <a:gd name="connsiteX7" fmla="*/ 1012477 w 3650226"/>
              <a:gd name="connsiteY7" fmla="*/ 2996870 h 2996870"/>
              <a:gd name="connsiteX8" fmla="*/ 1004857 w 3650226"/>
              <a:gd name="connsiteY8" fmla="*/ 1419532 h 2996870"/>
              <a:gd name="connsiteX9" fmla="*/ 0 w 3650226"/>
              <a:gd name="connsiteY9" fmla="*/ 140847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57357 w 3650226"/>
              <a:gd name="connsiteY3" fmla="*/ 1411911 h 2996870"/>
              <a:gd name="connsiteX4" fmla="*/ 1964977 w 3650226"/>
              <a:gd name="connsiteY4" fmla="*/ 2280591 h 2996870"/>
              <a:gd name="connsiteX5" fmla="*/ 2711737 w 3650226"/>
              <a:gd name="connsiteY5" fmla="*/ 2272970 h 2996870"/>
              <a:gd name="connsiteX6" fmla="*/ 2719357 w 3650226"/>
              <a:gd name="connsiteY6" fmla="*/ 2996870 h 2996870"/>
              <a:gd name="connsiteX7" fmla="*/ 1012477 w 3650226"/>
              <a:gd name="connsiteY7" fmla="*/ 2996870 h 2996870"/>
              <a:gd name="connsiteX8" fmla="*/ 1004857 w 3650226"/>
              <a:gd name="connsiteY8" fmla="*/ 1419532 h 2996870"/>
              <a:gd name="connsiteX9" fmla="*/ 0 w 3650226"/>
              <a:gd name="connsiteY9" fmla="*/ 142879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57357 w 3650226"/>
              <a:gd name="connsiteY3" fmla="*/ 1411911 h 2996870"/>
              <a:gd name="connsiteX4" fmla="*/ 1964977 w 3650226"/>
              <a:gd name="connsiteY4" fmla="*/ 2280591 h 2996870"/>
              <a:gd name="connsiteX5" fmla="*/ 2711737 w 3650226"/>
              <a:gd name="connsiteY5" fmla="*/ 2272970 h 2996870"/>
              <a:gd name="connsiteX6" fmla="*/ 2719357 w 3650226"/>
              <a:gd name="connsiteY6" fmla="*/ 2996870 h 2996870"/>
              <a:gd name="connsiteX7" fmla="*/ 1012477 w 3650226"/>
              <a:gd name="connsiteY7" fmla="*/ 2996870 h 2996870"/>
              <a:gd name="connsiteX8" fmla="*/ 1004857 w 3650226"/>
              <a:gd name="connsiteY8" fmla="*/ 1419532 h 2996870"/>
              <a:gd name="connsiteX9" fmla="*/ 0 w 3650226"/>
              <a:gd name="connsiteY9" fmla="*/ 1418631 h 2996870"/>
              <a:gd name="connsiteX10" fmla="*/ 0 w 3650226"/>
              <a:gd name="connsiteY10" fmla="*/ 0 h 2996870"/>
              <a:gd name="connsiteX0" fmla="*/ 0 w 3650226"/>
              <a:gd name="connsiteY0" fmla="*/ 0 h 2996870"/>
              <a:gd name="connsiteX1" fmla="*/ 3650226 w 3650226"/>
              <a:gd name="connsiteY1" fmla="*/ 0 h 2996870"/>
              <a:gd name="connsiteX2" fmla="*/ 3650226 w 3650226"/>
              <a:gd name="connsiteY2" fmla="*/ 1408471 h 2996870"/>
              <a:gd name="connsiteX3" fmla="*/ 1957357 w 3650226"/>
              <a:gd name="connsiteY3" fmla="*/ 1411911 h 2996870"/>
              <a:gd name="connsiteX4" fmla="*/ 1964977 w 3650226"/>
              <a:gd name="connsiteY4" fmla="*/ 2280591 h 2996870"/>
              <a:gd name="connsiteX5" fmla="*/ 2711737 w 3650226"/>
              <a:gd name="connsiteY5" fmla="*/ 2272970 h 2996870"/>
              <a:gd name="connsiteX6" fmla="*/ 2719357 w 3650226"/>
              <a:gd name="connsiteY6" fmla="*/ 2996870 h 2996870"/>
              <a:gd name="connsiteX7" fmla="*/ 1012477 w 3650226"/>
              <a:gd name="connsiteY7" fmla="*/ 2996870 h 2996870"/>
              <a:gd name="connsiteX8" fmla="*/ 1004857 w 3650226"/>
              <a:gd name="connsiteY8" fmla="*/ 1419532 h 2996870"/>
              <a:gd name="connsiteX9" fmla="*/ 0 w 3650226"/>
              <a:gd name="connsiteY9" fmla="*/ 1421171 h 2996870"/>
              <a:gd name="connsiteX10" fmla="*/ 0 w 3650226"/>
              <a:gd name="connsiteY10" fmla="*/ 0 h 299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50226" h="2996870">
                <a:moveTo>
                  <a:pt x="0" y="0"/>
                </a:moveTo>
                <a:lnTo>
                  <a:pt x="3650226" y="0"/>
                </a:lnTo>
                <a:lnTo>
                  <a:pt x="3650226" y="1408471"/>
                </a:lnTo>
                <a:lnTo>
                  <a:pt x="1957357" y="1411911"/>
                </a:lnTo>
                <a:lnTo>
                  <a:pt x="1964977" y="2280591"/>
                </a:lnTo>
                <a:lnTo>
                  <a:pt x="2711737" y="2272970"/>
                </a:lnTo>
                <a:lnTo>
                  <a:pt x="2719357" y="2996870"/>
                </a:lnTo>
                <a:lnTo>
                  <a:pt x="1012477" y="2996870"/>
                </a:lnTo>
                <a:lnTo>
                  <a:pt x="1004857" y="1419532"/>
                </a:lnTo>
                <a:lnTo>
                  <a:pt x="0" y="1421171"/>
                </a:lnTo>
                <a:lnTo>
                  <a:pt x="0" y="0"/>
                </a:lnTo>
                <a:close/>
              </a:path>
            </a:pathLst>
          </a:custGeom>
          <a:solidFill>
            <a:schemeClr val="bg1">
              <a:alpha val="77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cs typeface="Calibri" panose="020F0502020204030204" pitchFamily="34" charset="0"/>
            </a:endParaRPr>
          </a:p>
        </p:txBody>
      </p:sp>
      <p:sp>
        <p:nvSpPr>
          <p:cNvPr id="178" name="Freeform: Shape 177">
            <a:extLst>
              <a:ext uri="{FF2B5EF4-FFF2-40B4-BE49-F238E27FC236}">
                <a16:creationId xmlns:a16="http://schemas.microsoft.com/office/drawing/2014/main" id="{F278DA53-24ED-45B8-BF04-EF2CC2E504E0}"/>
              </a:ext>
            </a:extLst>
          </p:cNvPr>
          <p:cNvSpPr/>
          <p:nvPr/>
        </p:nvSpPr>
        <p:spPr>
          <a:xfrm>
            <a:off x="8157186" y="1689428"/>
            <a:ext cx="3427238" cy="3841185"/>
          </a:xfrm>
          <a:custGeom>
            <a:avLst/>
            <a:gdLst>
              <a:gd name="connsiteX0" fmla="*/ 1861884 w 3579638"/>
              <a:gd name="connsiteY0" fmla="*/ 0 h 2949645"/>
              <a:gd name="connsiteX1" fmla="*/ 3579637 w 3579638"/>
              <a:gd name="connsiteY1" fmla="*/ 0 h 2949645"/>
              <a:gd name="connsiteX2" fmla="*/ 3579637 w 3579638"/>
              <a:gd name="connsiteY2" fmla="*/ 1474838 h 2949645"/>
              <a:gd name="connsiteX3" fmla="*/ 3579638 w 3579638"/>
              <a:gd name="connsiteY3" fmla="*/ 1474838 h 2949645"/>
              <a:gd name="connsiteX4" fmla="*/ 3579638 w 3579638"/>
              <a:gd name="connsiteY4" fmla="*/ 2200940 h 2949645"/>
              <a:gd name="connsiteX5" fmla="*/ 3579637 w 3579638"/>
              <a:gd name="connsiteY5" fmla="*/ 2200940 h 2949645"/>
              <a:gd name="connsiteX6" fmla="*/ 3579637 w 3579638"/>
              <a:gd name="connsiteY6" fmla="*/ 2949645 h 2949645"/>
              <a:gd name="connsiteX7" fmla="*/ 1861884 w 3579638"/>
              <a:gd name="connsiteY7" fmla="*/ 2949645 h 2949645"/>
              <a:gd name="connsiteX8" fmla="*/ 1861884 w 3579638"/>
              <a:gd name="connsiteY8" fmla="*/ 2200940 h 2949645"/>
              <a:gd name="connsiteX9" fmla="*/ 0 w 3579638"/>
              <a:gd name="connsiteY9" fmla="*/ 2200940 h 2949645"/>
              <a:gd name="connsiteX10" fmla="*/ 0 w 3579638"/>
              <a:gd name="connsiteY10" fmla="*/ 1474838 h 2949645"/>
              <a:gd name="connsiteX11" fmla="*/ 1861884 w 3579638"/>
              <a:gd name="connsiteY11" fmla="*/ 1474838 h 2949645"/>
              <a:gd name="connsiteX0" fmla="*/ 1869504 w 3579638"/>
              <a:gd name="connsiteY0" fmla="*/ 0 h 3841185"/>
              <a:gd name="connsiteX1" fmla="*/ 3579637 w 3579638"/>
              <a:gd name="connsiteY1" fmla="*/ 891540 h 3841185"/>
              <a:gd name="connsiteX2" fmla="*/ 3579637 w 3579638"/>
              <a:gd name="connsiteY2" fmla="*/ 2366378 h 3841185"/>
              <a:gd name="connsiteX3" fmla="*/ 3579638 w 3579638"/>
              <a:gd name="connsiteY3" fmla="*/ 2366378 h 3841185"/>
              <a:gd name="connsiteX4" fmla="*/ 3579638 w 3579638"/>
              <a:gd name="connsiteY4" fmla="*/ 3092480 h 3841185"/>
              <a:gd name="connsiteX5" fmla="*/ 3579637 w 3579638"/>
              <a:gd name="connsiteY5" fmla="*/ 3092480 h 3841185"/>
              <a:gd name="connsiteX6" fmla="*/ 3579637 w 3579638"/>
              <a:gd name="connsiteY6" fmla="*/ 3841185 h 3841185"/>
              <a:gd name="connsiteX7" fmla="*/ 1861884 w 3579638"/>
              <a:gd name="connsiteY7" fmla="*/ 3841185 h 3841185"/>
              <a:gd name="connsiteX8" fmla="*/ 1861884 w 3579638"/>
              <a:gd name="connsiteY8" fmla="*/ 3092480 h 3841185"/>
              <a:gd name="connsiteX9" fmla="*/ 0 w 3579638"/>
              <a:gd name="connsiteY9" fmla="*/ 3092480 h 3841185"/>
              <a:gd name="connsiteX10" fmla="*/ 0 w 3579638"/>
              <a:gd name="connsiteY10" fmla="*/ 2366378 h 3841185"/>
              <a:gd name="connsiteX11" fmla="*/ 1861884 w 3579638"/>
              <a:gd name="connsiteY11" fmla="*/ 2366378 h 3841185"/>
              <a:gd name="connsiteX12" fmla="*/ 1869504 w 3579638"/>
              <a:gd name="connsiteY12" fmla="*/ 0 h 3841185"/>
              <a:gd name="connsiteX0" fmla="*/ 1869504 w 3579638"/>
              <a:gd name="connsiteY0" fmla="*/ 0 h 3841185"/>
              <a:gd name="connsiteX1" fmla="*/ 3572017 w 3579638"/>
              <a:gd name="connsiteY1" fmla="*/ 7620 h 3841185"/>
              <a:gd name="connsiteX2" fmla="*/ 3579637 w 3579638"/>
              <a:gd name="connsiteY2" fmla="*/ 2366378 h 3841185"/>
              <a:gd name="connsiteX3" fmla="*/ 3579638 w 3579638"/>
              <a:gd name="connsiteY3" fmla="*/ 2366378 h 3841185"/>
              <a:gd name="connsiteX4" fmla="*/ 3579638 w 3579638"/>
              <a:gd name="connsiteY4" fmla="*/ 3092480 h 3841185"/>
              <a:gd name="connsiteX5" fmla="*/ 3579637 w 3579638"/>
              <a:gd name="connsiteY5" fmla="*/ 3092480 h 3841185"/>
              <a:gd name="connsiteX6" fmla="*/ 3579637 w 3579638"/>
              <a:gd name="connsiteY6" fmla="*/ 3841185 h 3841185"/>
              <a:gd name="connsiteX7" fmla="*/ 1861884 w 3579638"/>
              <a:gd name="connsiteY7" fmla="*/ 3841185 h 3841185"/>
              <a:gd name="connsiteX8" fmla="*/ 1861884 w 3579638"/>
              <a:gd name="connsiteY8" fmla="*/ 3092480 h 3841185"/>
              <a:gd name="connsiteX9" fmla="*/ 0 w 3579638"/>
              <a:gd name="connsiteY9" fmla="*/ 3092480 h 3841185"/>
              <a:gd name="connsiteX10" fmla="*/ 0 w 3579638"/>
              <a:gd name="connsiteY10" fmla="*/ 2366378 h 3841185"/>
              <a:gd name="connsiteX11" fmla="*/ 1861884 w 3579638"/>
              <a:gd name="connsiteY11" fmla="*/ 2366378 h 3841185"/>
              <a:gd name="connsiteX12" fmla="*/ 1869504 w 3579638"/>
              <a:gd name="connsiteY12" fmla="*/ 0 h 3841185"/>
              <a:gd name="connsiteX0" fmla="*/ 1869504 w 3579638"/>
              <a:gd name="connsiteY0" fmla="*/ 0 h 3841185"/>
              <a:gd name="connsiteX1" fmla="*/ 3572017 w 3579638"/>
              <a:gd name="connsiteY1" fmla="*/ 7620 h 3841185"/>
              <a:gd name="connsiteX2" fmla="*/ 3579637 w 3579638"/>
              <a:gd name="connsiteY2" fmla="*/ 2366378 h 3841185"/>
              <a:gd name="connsiteX3" fmla="*/ 3579638 w 3579638"/>
              <a:gd name="connsiteY3" fmla="*/ 2366378 h 3841185"/>
              <a:gd name="connsiteX4" fmla="*/ 3579638 w 3579638"/>
              <a:gd name="connsiteY4" fmla="*/ 3092480 h 3841185"/>
              <a:gd name="connsiteX5" fmla="*/ 3579637 w 3579638"/>
              <a:gd name="connsiteY5" fmla="*/ 3092480 h 3841185"/>
              <a:gd name="connsiteX6" fmla="*/ 3579637 w 3579638"/>
              <a:gd name="connsiteY6" fmla="*/ 3841185 h 3841185"/>
              <a:gd name="connsiteX7" fmla="*/ 1861884 w 3579638"/>
              <a:gd name="connsiteY7" fmla="*/ 3841185 h 3841185"/>
              <a:gd name="connsiteX8" fmla="*/ 1861884 w 3579638"/>
              <a:gd name="connsiteY8" fmla="*/ 3092480 h 3841185"/>
              <a:gd name="connsiteX9" fmla="*/ 251460 w 3579638"/>
              <a:gd name="connsiteY9" fmla="*/ 3107720 h 3841185"/>
              <a:gd name="connsiteX10" fmla="*/ 0 w 3579638"/>
              <a:gd name="connsiteY10" fmla="*/ 2366378 h 3841185"/>
              <a:gd name="connsiteX11" fmla="*/ 1861884 w 3579638"/>
              <a:gd name="connsiteY11" fmla="*/ 2366378 h 3841185"/>
              <a:gd name="connsiteX12" fmla="*/ 1869504 w 3579638"/>
              <a:gd name="connsiteY12" fmla="*/ 0 h 3841185"/>
              <a:gd name="connsiteX0" fmla="*/ 1633284 w 3343418"/>
              <a:gd name="connsiteY0" fmla="*/ 0 h 3841185"/>
              <a:gd name="connsiteX1" fmla="*/ 3335797 w 3343418"/>
              <a:gd name="connsiteY1" fmla="*/ 7620 h 3841185"/>
              <a:gd name="connsiteX2" fmla="*/ 3343417 w 3343418"/>
              <a:gd name="connsiteY2" fmla="*/ 2366378 h 3841185"/>
              <a:gd name="connsiteX3" fmla="*/ 3343418 w 3343418"/>
              <a:gd name="connsiteY3" fmla="*/ 2366378 h 3841185"/>
              <a:gd name="connsiteX4" fmla="*/ 3343418 w 3343418"/>
              <a:gd name="connsiteY4" fmla="*/ 3092480 h 3841185"/>
              <a:gd name="connsiteX5" fmla="*/ 3343417 w 3343418"/>
              <a:gd name="connsiteY5" fmla="*/ 3092480 h 3841185"/>
              <a:gd name="connsiteX6" fmla="*/ 3343417 w 3343418"/>
              <a:gd name="connsiteY6" fmla="*/ 3841185 h 3841185"/>
              <a:gd name="connsiteX7" fmla="*/ 1625664 w 3343418"/>
              <a:gd name="connsiteY7" fmla="*/ 3841185 h 3841185"/>
              <a:gd name="connsiteX8" fmla="*/ 1625664 w 3343418"/>
              <a:gd name="connsiteY8" fmla="*/ 3092480 h 3841185"/>
              <a:gd name="connsiteX9" fmla="*/ 15240 w 3343418"/>
              <a:gd name="connsiteY9" fmla="*/ 3107720 h 3841185"/>
              <a:gd name="connsiteX10" fmla="*/ 0 w 3343418"/>
              <a:gd name="connsiteY10" fmla="*/ 2389238 h 3841185"/>
              <a:gd name="connsiteX11" fmla="*/ 1625664 w 3343418"/>
              <a:gd name="connsiteY11" fmla="*/ 2366378 h 3841185"/>
              <a:gd name="connsiteX12" fmla="*/ 1633284 w 3343418"/>
              <a:gd name="connsiteY12" fmla="*/ 0 h 3841185"/>
              <a:gd name="connsiteX0" fmla="*/ 1625664 w 3335798"/>
              <a:gd name="connsiteY0" fmla="*/ 0 h 3841185"/>
              <a:gd name="connsiteX1" fmla="*/ 3328177 w 3335798"/>
              <a:gd name="connsiteY1" fmla="*/ 7620 h 3841185"/>
              <a:gd name="connsiteX2" fmla="*/ 3335797 w 3335798"/>
              <a:gd name="connsiteY2" fmla="*/ 2366378 h 3841185"/>
              <a:gd name="connsiteX3" fmla="*/ 3335798 w 3335798"/>
              <a:gd name="connsiteY3" fmla="*/ 2366378 h 3841185"/>
              <a:gd name="connsiteX4" fmla="*/ 3335798 w 3335798"/>
              <a:gd name="connsiteY4" fmla="*/ 3092480 h 3841185"/>
              <a:gd name="connsiteX5" fmla="*/ 3335797 w 3335798"/>
              <a:gd name="connsiteY5" fmla="*/ 3092480 h 3841185"/>
              <a:gd name="connsiteX6" fmla="*/ 3335797 w 3335798"/>
              <a:gd name="connsiteY6" fmla="*/ 3841185 h 3841185"/>
              <a:gd name="connsiteX7" fmla="*/ 1618044 w 3335798"/>
              <a:gd name="connsiteY7" fmla="*/ 3841185 h 3841185"/>
              <a:gd name="connsiteX8" fmla="*/ 1618044 w 3335798"/>
              <a:gd name="connsiteY8" fmla="*/ 3092480 h 3841185"/>
              <a:gd name="connsiteX9" fmla="*/ 7620 w 3335798"/>
              <a:gd name="connsiteY9" fmla="*/ 3107720 h 3841185"/>
              <a:gd name="connsiteX10" fmla="*/ 0 w 3335798"/>
              <a:gd name="connsiteY10" fmla="*/ 2366378 h 3841185"/>
              <a:gd name="connsiteX11" fmla="*/ 1618044 w 3335798"/>
              <a:gd name="connsiteY11" fmla="*/ 2366378 h 3841185"/>
              <a:gd name="connsiteX12" fmla="*/ 1625664 w 3335798"/>
              <a:gd name="connsiteY12" fmla="*/ 0 h 3841185"/>
              <a:gd name="connsiteX0" fmla="*/ 1694244 w 3404378"/>
              <a:gd name="connsiteY0" fmla="*/ 0 h 3841185"/>
              <a:gd name="connsiteX1" fmla="*/ 3396757 w 3404378"/>
              <a:gd name="connsiteY1" fmla="*/ 7620 h 3841185"/>
              <a:gd name="connsiteX2" fmla="*/ 3404377 w 3404378"/>
              <a:gd name="connsiteY2" fmla="*/ 2366378 h 3841185"/>
              <a:gd name="connsiteX3" fmla="*/ 3404378 w 3404378"/>
              <a:gd name="connsiteY3" fmla="*/ 2366378 h 3841185"/>
              <a:gd name="connsiteX4" fmla="*/ 3404378 w 3404378"/>
              <a:gd name="connsiteY4" fmla="*/ 3092480 h 3841185"/>
              <a:gd name="connsiteX5" fmla="*/ 3404377 w 3404378"/>
              <a:gd name="connsiteY5" fmla="*/ 3092480 h 3841185"/>
              <a:gd name="connsiteX6" fmla="*/ 3404377 w 3404378"/>
              <a:gd name="connsiteY6" fmla="*/ 3841185 h 3841185"/>
              <a:gd name="connsiteX7" fmla="*/ 1686624 w 3404378"/>
              <a:gd name="connsiteY7" fmla="*/ 3841185 h 3841185"/>
              <a:gd name="connsiteX8" fmla="*/ 1686624 w 3404378"/>
              <a:gd name="connsiteY8" fmla="*/ 3092480 h 3841185"/>
              <a:gd name="connsiteX9" fmla="*/ 0 w 3404378"/>
              <a:gd name="connsiteY9" fmla="*/ 3107720 h 3841185"/>
              <a:gd name="connsiteX10" fmla="*/ 68580 w 3404378"/>
              <a:gd name="connsiteY10" fmla="*/ 2366378 h 3841185"/>
              <a:gd name="connsiteX11" fmla="*/ 1686624 w 3404378"/>
              <a:gd name="connsiteY11" fmla="*/ 2366378 h 3841185"/>
              <a:gd name="connsiteX12" fmla="*/ 1694244 w 3404378"/>
              <a:gd name="connsiteY12" fmla="*/ 0 h 3841185"/>
              <a:gd name="connsiteX0" fmla="*/ 1701864 w 3411998"/>
              <a:gd name="connsiteY0" fmla="*/ 0 h 3841185"/>
              <a:gd name="connsiteX1" fmla="*/ 3404377 w 3411998"/>
              <a:gd name="connsiteY1" fmla="*/ 7620 h 3841185"/>
              <a:gd name="connsiteX2" fmla="*/ 3411997 w 3411998"/>
              <a:gd name="connsiteY2" fmla="*/ 2366378 h 3841185"/>
              <a:gd name="connsiteX3" fmla="*/ 3411998 w 3411998"/>
              <a:gd name="connsiteY3" fmla="*/ 2366378 h 3841185"/>
              <a:gd name="connsiteX4" fmla="*/ 3411998 w 3411998"/>
              <a:gd name="connsiteY4" fmla="*/ 3092480 h 3841185"/>
              <a:gd name="connsiteX5" fmla="*/ 3411997 w 3411998"/>
              <a:gd name="connsiteY5" fmla="*/ 3092480 h 3841185"/>
              <a:gd name="connsiteX6" fmla="*/ 3411997 w 3411998"/>
              <a:gd name="connsiteY6" fmla="*/ 3841185 h 3841185"/>
              <a:gd name="connsiteX7" fmla="*/ 1694244 w 3411998"/>
              <a:gd name="connsiteY7" fmla="*/ 3841185 h 3841185"/>
              <a:gd name="connsiteX8" fmla="*/ 1694244 w 3411998"/>
              <a:gd name="connsiteY8" fmla="*/ 3092480 h 3841185"/>
              <a:gd name="connsiteX9" fmla="*/ 7620 w 3411998"/>
              <a:gd name="connsiteY9" fmla="*/ 3107720 h 3841185"/>
              <a:gd name="connsiteX10" fmla="*/ 0 w 3411998"/>
              <a:gd name="connsiteY10" fmla="*/ 2366378 h 3841185"/>
              <a:gd name="connsiteX11" fmla="*/ 1694244 w 3411998"/>
              <a:gd name="connsiteY11" fmla="*/ 2366378 h 3841185"/>
              <a:gd name="connsiteX12" fmla="*/ 1701864 w 3411998"/>
              <a:gd name="connsiteY12" fmla="*/ 0 h 3841185"/>
              <a:gd name="connsiteX0" fmla="*/ 1709484 w 3419618"/>
              <a:gd name="connsiteY0" fmla="*/ 0 h 3841185"/>
              <a:gd name="connsiteX1" fmla="*/ 3411997 w 3419618"/>
              <a:gd name="connsiteY1" fmla="*/ 7620 h 3841185"/>
              <a:gd name="connsiteX2" fmla="*/ 3419617 w 3419618"/>
              <a:gd name="connsiteY2" fmla="*/ 2366378 h 3841185"/>
              <a:gd name="connsiteX3" fmla="*/ 3419618 w 3419618"/>
              <a:gd name="connsiteY3" fmla="*/ 2366378 h 3841185"/>
              <a:gd name="connsiteX4" fmla="*/ 3419618 w 3419618"/>
              <a:gd name="connsiteY4" fmla="*/ 3092480 h 3841185"/>
              <a:gd name="connsiteX5" fmla="*/ 3419617 w 3419618"/>
              <a:gd name="connsiteY5" fmla="*/ 3092480 h 3841185"/>
              <a:gd name="connsiteX6" fmla="*/ 3419617 w 3419618"/>
              <a:gd name="connsiteY6" fmla="*/ 3841185 h 3841185"/>
              <a:gd name="connsiteX7" fmla="*/ 1701864 w 3419618"/>
              <a:gd name="connsiteY7" fmla="*/ 3841185 h 3841185"/>
              <a:gd name="connsiteX8" fmla="*/ 1701864 w 3419618"/>
              <a:gd name="connsiteY8" fmla="*/ 3092480 h 3841185"/>
              <a:gd name="connsiteX9" fmla="*/ 0 w 3419618"/>
              <a:gd name="connsiteY9" fmla="*/ 3107720 h 3841185"/>
              <a:gd name="connsiteX10" fmla="*/ 7620 w 3419618"/>
              <a:gd name="connsiteY10" fmla="*/ 2366378 h 3841185"/>
              <a:gd name="connsiteX11" fmla="*/ 1701864 w 3419618"/>
              <a:gd name="connsiteY11" fmla="*/ 2366378 h 3841185"/>
              <a:gd name="connsiteX12" fmla="*/ 1709484 w 3419618"/>
              <a:gd name="connsiteY12" fmla="*/ 0 h 3841185"/>
              <a:gd name="connsiteX0" fmla="*/ 1747584 w 3457718"/>
              <a:gd name="connsiteY0" fmla="*/ 0 h 3841185"/>
              <a:gd name="connsiteX1" fmla="*/ 3450097 w 3457718"/>
              <a:gd name="connsiteY1" fmla="*/ 7620 h 3841185"/>
              <a:gd name="connsiteX2" fmla="*/ 3457717 w 3457718"/>
              <a:gd name="connsiteY2" fmla="*/ 2366378 h 3841185"/>
              <a:gd name="connsiteX3" fmla="*/ 3457718 w 3457718"/>
              <a:gd name="connsiteY3" fmla="*/ 2366378 h 3841185"/>
              <a:gd name="connsiteX4" fmla="*/ 3457718 w 3457718"/>
              <a:gd name="connsiteY4" fmla="*/ 3092480 h 3841185"/>
              <a:gd name="connsiteX5" fmla="*/ 3457717 w 3457718"/>
              <a:gd name="connsiteY5" fmla="*/ 3092480 h 3841185"/>
              <a:gd name="connsiteX6" fmla="*/ 3457717 w 3457718"/>
              <a:gd name="connsiteY6" fmla="*/ 3841185 h 3841185"/>
              <a:gd name="connsiteX7" fmla="*/ 1739964 w 3457718"/>
              <a:gd name="connsiteY7" fmla="*/ 3841185 h 3841185"/>
              <a:gd name="connsiteX8" fmla="*/ 1739964 w 3457718"/>
              <a:gd name="connsiteY8" fmla="*/ 3092480 h 3841185"/>
              <a:gd name="connsiteX9" fmla="*/ 38100 w 3457718"/>
              <a:gd name="connsiteY9" fmla="*/ 3107720 h 3841185"/>
              <a:gd name="connsiteX10" fmla="*/ 0 w 3457718"/>
              <a:gd name="connsiteY10" fmla="*/ 2381618 h 3841185"/>
              <a:gd name="connsiteX11" fmla="*/ 1739964 w 3457718"/>
              <a:gd name="connsiteY11" fmla="*/ 2366378 h 3841185"/>
              <a:gd name="connsiteX12" fmla="*/ 1747584 w 3457718"/>
              <a:gd name="connsiteY12" fmla="*/ 0 h 3841185"/>
              <a:gd name="connsiteX0" fmla="*/ 1717104 w 3427238"/>
              <a:gd name="connsiteY0" fmla="*/ 0 h 3841185"/>
              <a:gd name="connsiteX1" fmla="*/ 3419617 w 3427238"/>
              <a:gd name="connsiteY1" fmla="*/ 7620 h 3841185"/>
              <a:gd name="connsiteX2" fmla="*/ 3427237 w 3427238"/>
              <a:gd name="connsiteY2" fmla="*/ 2366378 h 3841185"/>
              <a:gd name="connsiteX3" fmla="*/ 3427238 w 3427238"/>
              <a:gd name="connsiteY3" fmla="*/ 2366378 h 3841185"/>
              <a:gd name="connsiteX4" fmla="*/ 3427238 w 3427238"/>
              <a:gd name="connsiteY4" fmla="*/ 3092480 h 3841185"/>
              <a:gd name="connsiteX5" fmla="*/ 3427237 w 3427238"/>
              <a:gd name="connsiteY5" fmla="*/ 3092480 h 3841185"/>
              <a:gd name="connsiteX6" fmla="*/ 3427237 w 3427238"/>
              <a:gd name="connsiteY6" fmla="*/ 3841185 h 3841185"/>
              <a:gd name="connsiteX7" fmla="*/ 1709484 w 3427238"/>
              <a:gd name="connsiteY7" fmla="*/ 3841185 h 3841185"/>
              <a:gd name="connsiteX8" fmla="*/ 1709484 w 3427238"/>
              <a:gd name="connsiteY8" fmla="*/ 3092480 h 3841185"/>
              <a:gd name="connsiteX9" fmla="*/ 7620 w 3427238"/>
              <a:gd name="connsiteY9" fmla="*/ 3107720 h 3841185"/>
              <a:gd name="connsiteX10" fmla="*/ 0 w 3427238"/>
              <a:gd name="connsiteY10" fmla="*/ 2381618 h 3841185"/>
              <a:gd name="connsiteX11" fmla="*/ 1709484 w 3427238"/>
              <a:gd name="connsiteY11" fmla="*/ 2366378 h 3841185"/>
              <a:gd name="connsiteX12" fmla="*/ 1717104 w 3427238"/>
              <a:gd name="connsiteY12" fmla="*/ 0 h 384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7238" h="3841185">
                <a:moveTo>
                  <a:pt x="1717104" y="0"/>
                </a:moveTo>
                <a:lnTo>
                  <a:pt x="3419617" y="7620"/>
                </a:lnTo>
                <a:lnTo>
                  <a:pt x="3427237" y="2366378"/>
                </a:lnTo>
                <a:lnTo>
                  <a:pt x="3427238" y="2366378"/>
                </a:lnTo>
                <a:lnTo>
                  <a:pt x="3427238" y="3092480"/>
                </a:lnTo>
                <a:lnTo>
                  <a:pt x="3427237" y="3092480"/>
                </a:lnTo>
                <a:lnTo>
                  <a:pt x="3427237" y="3841185"/>
                </a:lnTo>
                <a:lnTo>
                  <a:pt x="1709484" y="3841185"/>
                </a:lnTo>
                <a:lnTo>
                  <a:pt x="1709484" y="3092480"/>
                </a:lnTo>
                <a:lnTo>
                  <a:pt x="7620" y="3107720"/>
                </a:lnTo>
                <a:lnTo>
                  <a:pt x="0" y="2381618"/>
                </a:lnTo>
                <a:lnTo>
                  <a:pt x="1709484" y="2366378"/>
                </a:lnTo>
                <a:cubicBezTo>
                  <a:pt x="1709484" y="1874765"/>
                  <a:pt x="1717104" y="491613"/>
                  <a:pt x="1717104" y="0"/>
                </a:cubicBezTo>
                <a:close/>
              </a:path>
            </a:pathLst>
          </a:custGeom>
          <a:solidFill>
            <a:schemeClr val="bg1">
              <a:alpha val="77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400" kern="0">
              <a:solidFill>
                <a:schemeClr val="tx1"/>
              </a:solidFill>
              <a:cs typeface="Calibri" panose="020F0502020204030204" pitchFamily="34" charset="0"/>
            </a:endParaRPr>
          </a:p>
        </p:txBody>
      </p:sp>
      <p:sp>
        <p:nvSpPr>
          <p:cNvPr id="180" name="Freeform: Shape 179">
            <a:extLst>
              <a:ext uri="{FF2B5EF4-FFF2-40B4-BE49-F238E27FC236}">
                <a16:creationId xmlns:a16="http://schemas.microsoft.com/office/drawing/2014/main" id="{24F78CA8-0EBB-C936-6B59-93B681516BD9}"/>
              </a:ext>
            </a:extLst>
          </p:cNvPr>
          <p:cNvSpPr/>
          <p:nvPr/>
        </p:nvSpPr>
        <p:spPr>
          <a:xfrm rot="16200000">
            <a:off x="1912717" y="1890927"/>
            <a:ext cx="1396318" cy="1913267"/>
          </a:xfrm>
          <a:custGeom>
            <a:avLst/>
            <a:gdLst>
              <a:gd name="connsiteX0" fmla="*/ 1396318 w 1396318"/>
              <a:gd name="connsiteY0" fmla="*/ 0 h 1913267"/>
              <a:gd name="connsiteX1" fmla="*/ 1396318 w 1396318"/>
              <a:gd name="connsiteY1" fmla="*/ 1913267 h 1913267"/>
              <a:gd name="connsiteX2" fmla="*/ 1030418 w 1396318"/>
              <a:gd name="connsiteY2" fmla="*/ 1913267 h 1913267"/>
              <a:gd name="connsiteX3" fmla="*/ 1030418 w 1396318"/>
              <a:gd name="connsiteY3" fmla="*/ 328539 h 1913267"/>
              <a:gd name="connsiteX4" fmla="*/ 0 w 1396318"/>
              <a:gd name="connsiteY4" fmla="*/ 328539 h 1913267"/>
              <a:gd name="connsiteX5" fmla="*/ 0 w 1396318"/>
              <a:gd name="connsiteY5" fmla="*/ 1 h 1913267"/>
              <a:gd name="connsiteX6" fmla="*/ 1030418 w 1396318"/>
              <a:gd name="connsiteY6" fmla="*/ 1 h 1913267"/>
              <a:gd name="connsiteX7" fmla="*/ 1030418 w 1396318"/>
              <a:gd name="connsiteY7" fmla="*/ 0 h 191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6318" h="1913267">
                <a:moveTo>
                  <a:pt x="1396318" y="0"/>
                </a:moveTo>
                <a:lnTo>
                  <a:pt x="1396318" y="1913267"/>
                </a:lnTo>
                <a:lnTo>
                  <a:pt x="1030418" y="1913267"/>
                </a:lnTo>
                <a:lnTo>
                  <a:pt x="1030418" y="328539"/>
                </a:lnTo>
                <a:lnTo>
                  <a:pt x="0" y="328539"/>
                </a:lnTo>
                <a:lnTo>
                  <a:pt x="0" y="1"/>
                </a:lnTo>
                <a:lnTo>
                  <a:pt x="1030418" y="1"/>
                </a:lnTo>
                <a:lnTo>
                  <a:pt x="1030418" y="0"/>
                </a:lnTo>
                <a:close/>
              </a:path>
            </a:pathLst>
          </a:custGeom>
          <a:solidFill>
            <a:schemeClr val="bg1">
              <a:alpha val="77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400" kern="0">
              <a:solidFill>
                <a:schemeClr val="tx1"/>
              </a:solidFill>
              <a:cs typeface="Calibri" panose="020F0502020204030204" pitchFamily="34" charset="0"/>
            </a:endParaRPr>
          </a:p>
        </p:txBody>
      </p:sp>
      <p:sp>
        <p:nvSpPr>
          <p:cNvPr id="181" name="Freeform: Shape 180">
            <a:extLst>
              <a:ext uri="{FF2B5EF4-FFF2-40B4-BE49-F238E27FC236}">
                <a16:creationId xmlns:a16="http://schemas.microsoft.com/office/drawing/2014/main" id="{7FD92AE8-257C-0D4B-FA21-53397137806D}"/>
              </a:ext>
            </a:extLst>
          </p:cNvPr>
          <p:cNvSpPr/>
          <p:nvPr/>
        </p:nvSpPr>
        <p:spPr>
          <a:xfrm rot="5400000" flipV="1">
            <a:off x="3212008" y="1420821"/>
            <a:ext cx="1706389" cy="4026685"/>
          </a:xfrm>
          <a:custGeom>
            <a:avLst/>
            <a:gdLst>
              <a:gd name="connsiteX0" fmla="*/ 1706389 w 1706389"/>
              <a:gd name="connsiteY0" fmla="*/ 2227884 h 4026685"/>
              <a:gd name="connsiteX1" fmla="*/ 1706389 w 1706389"/>
              <a:gd name="connsiteY1" fmla="*/ 4026685 h 4026685"/>
              <a:gd name="connsiteX2" fmla="*/ 5522 w 1706389"/>
              <a:gd name="connsiteY2" fmla="*/ 4026685 h 4026685"/>
              <a:gd name="connsiteX3" fmla="*/ 5522 w 1706389"/>
              <a:gd name="connsiteY3" fmla="*/ 2328476 h 4026685"/>
              <a:gd name="connsiteX4" fmla="*/ 8 w 1706389"/>
              <a:gd name="connsiteY4" fmla="*/ 2328476 h 4026685"/>
              <a:gd name="connsiteX5" fmla="*/ 8 w 1706389"/>
              <a:gd name="connsiteY5" fmla="*/ 300510 h 4026685"/>
              <a:gd name="connsiteX6" fmla="*/ 0 w 1706389"/>
              <a:gd name="connsiteY6" fmla="*/ 300510 h 4026685"/>
              <a:gd name="connsiteX7" fmla="*/ 0 w 1706389"/>
              <a:gd name="connsiteY7" fmla="*/ 0 h 4026685"/>
              <a:gd name="connsiteX8" fmla="*/ 1705763 w 1706389"/>
              <a:gd name="connsiteY8" fmla="*/ 0 h 4026685"/>
              <a:gd name="connsiteX9" fmla="*/ 1705763 w 1706389"/>
              <a:gd name="connsiteY9" fmla="*/ 300510 h 4026685"/>
              <a:gd name="connsiteX10" fmla="*/ 238925 w 1706389"/>
              <a:gd name="connsiteY10" fmla="*/ 300510 h 4026685"/>
              <a:gd name="connsiteX11" fmla="*/ 238925 w 1706389"/>
              <a:gd name="connsiteY11" fmla="*/ 2227884 h 4026685"/>
              <a:gd name="connsiteX0" fmla="*/ 1706389 w 1706389"/>
              <a:gd name="connsiteY0" fmla="*/ 2227884 h 4026685"/>
              <a:gd name="connsiteX1" fmla="*/ 1706389 w 1706389"/>
              <a:gd name="connsiteY1" fmla="*/ 4026685 h 4026685"/>
              <a:gd name="connsiteX2" fmla="*/ 5522 w 1706389"/>
              <a:gd name="connsiteY2" fmla="*/ 4026685 h 4026685"/>
              <a:gd name="connsiteX3" fmla="*/ 5522 w 1706389"/>
              <a:gd name="connsiteY3" fmla="*/ 2328476 h 4026685"/>
              <a:gd name="connsiteX4" fmla="*/ 8 w 1706389"/>
              <a:gd name="connsiteY4" fmla="*/ 300510 h 4026685"/>
              <a:gd name="connsiteX5" fmla="*/ 0 w 1706389"/>
              <a:gd name="connsiteY5" fmla="*/ 300510 h 4026685"/>
              <a:gd name="connsiteX6" fmla="*/ 0 w 1706389"/>
              <a:gd name="connsiteY6" fmla="*/ 0 h 4026685"/>
              <a:gd name="connsiteX7" fmla="*/ 1705763 w 1706389"/>
              <a:gd name="connsiteY7" fmla="*/ 0 h 4026685"/>
              <a:gd name="connsiteX8" fmla="*/ 1705763 w 1706389"/>
              <a:gd name="connsiteY8" fmla="*/ 300510 h 4026685"/>
              <a:gd name="connsiteX9" fmla="*/ 238925 w 1706389"/>
              <a:gd name="connsiteY9" fmla="*/ 300510 h 4026685"/>
              <a:gd name="connsiteX10" fmla="*/ 238925 w 1706389"/>
              <a:gd name="connsiteY10" fmla="*/ 2227884 h 4026685"/>
              <a:gd name="connsiteX11" fmla="*/ 1706389 w 1706389"/>
              <a:gd name="connsiteY11" fmla="*/ 2227884 h 402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6389" h="4026685">
                <a:moveTo>
                  <a:pt x="1706389" y="2227884"/>
                </a:moveTo>
                <a:lnTo>
                  <a:pt x="1706389" y="4026685"/>
                </a:lnTo>
                <a:lnTo>
                  <a:pt x="5522" y="4026685"/>
                </a:lnTo>
                <a:lnTo>
                  <a:pt x="5522" y="2328476"/>
                </a:lnTo>
                <a:lnTo>
                  <a:pt x="8" y="300510"/>
                </a:lnTo>
                <a:lnTo>
                  <a:pt x="0" y="300510"/>
                </a:lnTo>
                <a:lnTo>
                  <a:pt x="0" y="0"/>
                </a:lnTo>
                <a:lnTo>
                  <a:pt x="1705763" y="0"/>
                </a:lnTo>
                <a:lnTo>
                  <a:pt x="1705763" y="300510"/>
                </a:lnTo>
                <a:lnTo>
                  <a:pt x="238925" y="300510"/>
                </a:lnTo>
                <a:lnTo>
                  <a:pt x="238925" y="2227884"/>
                </a:lnTo>
                <a:lnTo>
                  <a:pt x="1706389" y="2227884"/>
                </a:lnTo>
                <a:close/>
              </a:path>
            </a:pathLst>
          </a:custGeom>
          <a:solidFill>
            <a:schemeClr val="bg1">
              <a:alpha val="77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400" kern="0">
              <a:solidFill>
                <a:schemeClr val="tx1"/>
              </a:solidFill>
              <a:cs typeface="Calibri" panose="020F0502020204030204" pitchFamily="34" charset="0"/>
            </a:endParaRPr>
          </a:p>
        </p:txBody>
      </p:sp>
      <p:sp>
        <p:nvSpPr>
          <p:cNvPr id="182" name="Freeform: Shape 181">
            <a:extLst>
              <a:ext uri="{FF2B5EF4-FFF2-40B4-BE49-F238E27FC236}">
                <a16:creationId xmlns:a16="http://schemas.microsoft.com/office/drawing/2014/main" id="{6EB724AC-AFEB-2376-5B59-42472AF0390F}"/>
              </a:ext>
            </a:extLst>
          </p:cNvPr>
          <p:cNvSpPr/>
          <p:nvPr/>
        </p:nvSpPr>
        <p:spPr>
          <a:xfrm>
            <a:off x="511065" y="1686531"/>
            <a:ext cx="1841303" cy="3845499"/>
          </a:xfrm>
          <a:custGeom>
            <a:avLst/>
            <a:gdLst>
              <a:gd name="connsiteX0" fmla="*/ 0 w 1841303"/>
              <a:gd name="connsiteY0" fmla="*/ 0 h 3845499"/>
              <a:gd name="connsiteX1" fmla="*/ 689500 w 1841303"/>
              <a:gd name="connsiteY1" fmla="*/ 0 h 3845499"/>
              <a:gd name="connsiteX2" fmla="*/ 689500 w 1841303"/>
              <a:gd name="connsiteY2" fmla="*/ 1927447 h 3845499"/>
              <a:gd name="connsiteX3" fmla="*/ 1498620 w 1841303"/>
              <a:gd name="connsiteY3" fmla="*/ 1927447 h 3845499"/>
              <a:gd name="connsiteX4" fmla="*/ 1498620 w 1841303"/>
              <a:gd name="connsiteY4" fmla="*/ 2670989 h 3845499"/>
              <a:gd name="connsiteX5" fmla="*/ 1841303 w 1841303"/>
              <a:gd name="connsiteY5" fmla="*/ 2670989 h 3845499"/>
              <a:gd name="connsiteX6" fmla="*/ 1841303 w 1841303"/>
              <a:gd name="connsiteY6" fmla="*/ 3840711 h 3845499"/>
              <a:gd name="connsiteX7" fmla="*/ 1498620 w 1841303"/>
              <a:gd name="connsiteY7" fmla="*/ 3840711 h 3845499"/>
              <a:gd name="connsiteX8" fmla="*/ 1498620 w 1841303"/>
              <a:gd name="connsiteY8" fmla="*/ 3845499 h 3845499"/>
              <a:gd name="connsiteX9" fmla="*/ 584085 w 1841303"/>
              <a:gd name="connsiteY9" fmla="*/ 3845499 h 3845499"/>
              <a:gd name="connsiteX10" fmla="*/ 584085 w 1841303"/>
              <a:gd name="connsiteY10" fmla="*/ 3844082 h 3845499"/>
              <a:gd name="connsiteX11" fmla="*/ 0 w 1841303"/>
              <a:gd name="connsiteY11" fmla="*/ 3844082 h 3845499"/>
              <a:gd name="connsiteX0" fmla="*/ 0 w 1841303"/>
              <a:gd name="connsiteY0" fmla="*/ 0 h 3845499"/>
              <a:gd name="connsiteX1" fmla="*/ 689500 w 1841303"/>
              <a:gd name="connsiteY1" fmla="*/ 0 h 3845499"/>
              <a:gd name="connsiteX2" fmla="*/ 689500 w 1841303"/>
              <a:gd name="connsiteY2" fmla="*/ 1927447 h 3845499"/>
              <a:gd name="connsiteX3" fmla="*/ 1498620 w 1841303"/>
              <a:gd name="connsiteY3" fmla="*/ 1927447 h 3845499"/>
              <a:gd name="connsiteX4" fmla="*/ 1498620 w 1841303"/>
              <a:gd name="connsiteY4" fmla="*/ 2670989 h 3845499"/>
              <a:gd name="connsiteX5" fmla="*/ 1841303 w 1841303"/>
              <a:gd name="connsiteY5" fmla="*/ 2670989 h 3845499"/>
              <a:gd name="connsiteX6" fmla="*/ 1841303 w 1841303"/>
              <a:gd name="connsiteY6" fmla="*/ 3840711 h 3845499"/>
              <a:gd name="connsiteX7" fmla="*/ 1498620 w 1841303"/>
              <a:gd name="connsiteY7" fmla="*/ 3840711 h 3845499"/>
              <a:gd name="connsiteX8" fmla="*/ 584085 w 1841303"/>
              <a:gd name="connsiteY8" fmla="*/ 3845499 h 3845499"/>
              <a:gd name="connsiteX9" fmla="*/ 584085 w 1841303"/>
              <a:gd name="connsiteY9" fmla="*/ 3844082 h 3845499"/>
              <a:gd name="connsiteX10" fmla="*/ 0 w 1841303"/>
              <a:gd name="connsiteY10" fmla="*/ 3844082 h 3845499"/>
              <a:gd name="connsiteX11" fmla="*/ 0 w 1841303"/>
              <a:gd name="connsiteY11" fmla="*/ 0 h 3845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303" h="3845499">
                <a:moveTo>
                  <a:pt x="0" y="0"/>
                </a:moveTo>
                <a:lnTo>
                  <a:pt x="689500" y="0"/>
                </a:lnTo>
                <a:lnTo>
                  <a:pt x="689500" y="1927447"/>
                </a:lnTo>
                <a:lnTo>
                  <a:pt x="1498620" y="1927447"/>
                </a:lnTo>
                <a:lnTo>
                  <a:pt x="1498620" y="2670989"/>
                </a:lnTo>
                <a:lnTo>
                  <a:pt x="1841303" y="2670989"/>
                </a:lnTo>
                <a:lnTo>
                  <a:pt x="1841303" y="3840711"/>
                </a:lnTo>
                <a:lnTo>
                  <a:pt x="1498620" y="3840711"/>
                </a:lnTo>
                <a:lnTo>
                  <a:pt x="584085" y="3845499"/>
                </a:lnTo>
                <a:lnTo>
                  <a:pt x="584085" y="3844082"/>
                </a:lnTo>
                <a:lnTo>
                  <a:pt x="0" y="3844082"/>
                </a:lnTo>
                <a:lnTo>
                  <a:pt x="0" y="0"/>
                </a:lnTo>
                <a:close/>
              </a:path>
            </a:pathLst>
          </a:custGeom>
          <a:solidFill>
            <a:schemeClr val="bg1">
              <a:alpha val="77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400" kern="0">
              <a:solidFill>
                <a:schemeClr val="tx1"/>
              </a:solidFill>
              <a:cs typeface="Calibri" panose="020F0502020204030204" pitchFamily="34" charset="0"/>
            </a:endParaRPr>
          </a:p>
        </p:txBody>
      </p:sp>
      <p:sp>
        <p:nvSpPr>
          <p:cNvPr id="210" name="Freeform: Shape 209">
            <a:extLst>
              <a:ext uri="{FF2B5EF4-FFF2-40B4-BE49-F238E27FC236}">
                <a16:creationId xmlns:a16="http://schemas.microsoft.com/office/drawing/2014/main" id="{FA738FFF-61A5-4003-AB28-0D6805EC074A}"/>
              </a:ext>
            </a:extLst>
          </p:cNvPr>
          <p:cNvSpPr/>
          <p:nvPr/>
        </p:nvSpPr>
        <p:spPr>
          <a:xfrm>
            <a:off x="2418735" y="2873787"/>
            <a:ext cx="4677451" cy="3435573"/>
          </a:xfrm>
          <a:custGeom>
            <a:avLst/>
            <a:gdLst>
              <a:gd name="connsiteX0" fmla="*/ 0 w 4677451"/>
              <a:gd name="connsiteY0" fmla="*/ 0 h 3435573"/>
              <a:gd name="connsiteX1" fmla="*/ 1791930 w 4677451"/>
              <a:gd name="connsiteY1" fmla="*/ 0 h 3435573"/>
              <a:gd name="connsiteX2" fmla="*/ 1791930 w 4677451"/>
              <a:gd name="connsiteY2" fmla="*/ 1483732 h 3435573"/>
              <a:gd name="connsiteX3" fmla="*/ 1818274 w 4677451"/>
              <a:gd name="connsiteY3" fmla="*/ 1483732 h 3435573"/>
              <a:gd name="connsiteX4" fmla="*/ 3721617 w 4677451"/>
              <a:gd name="connsiteY4" fmla="*/ 1481550 h 3435573"/>
              <a:gd name="connsiteX5" fmla="*/ 3721617 w 4677451"/>
              <a:gd name="connsiteY5" fmla="*/ 1180104 h 3435573"/>
              <a:gd name="connsiteX6" fmla="*/ 4669831 w 4677451"/>
              <a:gd name="connsiteY6" fmla="*/ 1180104 h 3435573"/>
              <a:gd name="connsiteX7" fmla="*/ 4677451 w 4677451"/>
              <a:gd name="connsiteY7" fmla="*/ 1909577 h 3435573"/>
              <a:gd name="connsiteX8" fmla="*/ 3646785 w 4677451"/>
              <a:gd name="connsiteY8" fmla="*/ 1919193 h 3435573"/>
              <a:gd name="connsiteX9" fmla="*/ 3654405 w 4677451"/>
              <a:gd name="connsiteY9" fmla="*/ 3435573 h 3435573"/>
              <a:gd name="connsiteX10" fmla="*/ 1830295 w 4677451"/>
              <a:gd name="connsiteY10" fmla="*/ 3425957 h 3435573"/>
              <a:gd name="connsiteX11" fmla="*/ 1822675 w 4677451"/>
              <a:gd name="connsiteY11" fmla="*/ 2649962 h 3435573"/>
              <a:gd name="connsiteX12" fmla="*/ 939 w 4677451"/>
              <a:gd name="connsiteY12" fmla="*/ 2649962 h 3435573"/>
              <a:gd name="connsiteX13" fmla="*/ 939 w 4677451"/>
              <a:gd name="connsiteY13" fmla="*/ 1646373 h 3435573"/>
              <a:gd name="connsiteX14" fmla="*/ 0 w 4677451"/>
              <a:gd name="connsiteY14" fmla="*/ 1646373 h 343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77451" h="3435573">
                <a:moveTo>
                  <a:pt x="0" y="0"/>
                </a:moveTo>
                <a:lnTo>
                  <a:pt x="1791930" y="0"/>
                </a:lnTo>
                <a:lnTo>
                  <a:pt x="1791930" y="1483732"/>
                </a:lnTo>
                <a:lnTo>
                  <a:pt x="1818274" y="1483732"/>
                </a:lnTo>
                <a:lnTo>
                  <a:pt x="3721617" y="1481550"/>
                </a:lnTo>
                <a:lnTo>
                  <a:pt x="3721617" y="1180104"/>
                </a:lnTo>
                <a:lnTo>
                  <a:pt x="4669831" y="1180104"/>
                </a:lnTo>
                <a:lnTo>
                  <a:pt x="4677451" y="1909577"/>
                </a:lnTo>
                <a:lnTo>
                  <a:pt x="3646785" y="1919193"/>
                </a:lnTo>
                <a:lnTo>
                  <a:pt x="3654405" y="3435573"/>
                </a:lnTo>
                <a:lnTo>
                  <a:pt x="1830295" y="3425957"/>
                </a:lnTo>
                <a:lnTo>
                  <a:pt x="1822675" y="2649962"/>
                </a:lnTo>
                <a:lnTo>
                  <a:pt x="939" y="2649962"/>
                </a:lnTo>
                <a:lnTo>
                  <a:pt x="939" y="1646373"/>
                </a:lnTo>
                <a:lnTo>
                  <a:pt x="0" y="1646373"/>
                </a:lnTo>
                <a:close/>
              </a:path>
            </a:pathLst>
          </a:custGeom>
          <a:solidFill>
            <a:schemeClr val="bg1">
              <a:alpha val="77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400" kern="0">
              <a:solidFill>
                <a:schemeClr val="tx1"/>
              </a:solidFill>
              <a:cs typeface="Calibri" panose="020F0502020204030204" pitchFamily="34" charset="0"/>
            </a:endParaRPr>
          </a:p>
        </p:txBody>
      </p:sp>
      <p:sp>
        <p:nvSpPr>
          <p:cNvPr id="184" name="Freeform: Shape 183">
            <a:extLst>
              <a:ext uri="{FF2B5EF4-FFF2-40B4-BE49-F238E27FC236}">
                <a16:creationId xmlns:a16="http://schemas.microsoft.com/office/drawing/2014/main" id="{EC11F270-0331-0EA0-11C9-71EC76B481EB}"/>
              </a:ext>
            </a:extLst>
          </p:cNvPr>
          <p:cNvSpPr/>
          <p:nvPr/>
        </p:nvSpPr>
        <p:spPr>
          <a:xfrm>
            <a:off x="1267416" y="1686531"/>
            <a:ext cx="2300095" cy="1843268"/>
          </a:xfrm>
          <a:custGeom>
            <a:avLst/>
            <a:gdLst>
              <a:gd name="connsiteX0" fmla="*/ 0 w 2300095"/>
              <a:gd name="connsiteY0" fmla="*/ 0 h 1888110"/>
              <a:gd name="connsiteX1" fmla="*/ 2300095 w 2300095"/>
              <a:gd name="connsiteY1" fmla="*/ 0 h 1888110"/>
              <a:gd name="connsiteX2" fmla="*/ 2300095 w 2300095"/>
              <a:gd name="connsiteY2" fmla="*/ 393478 h 1888110"/>
              <a:gd name="connsiteX3" fmla="*/ 314017 w 2300095"/>
              <a:gd name="connsiteY3" fmla="*/ 393478 h 1888110"/>
              <a:gd name="connsiteX4" fmla="*/ 314017 w 2300095"/>
              <a:gd name="connsiteY4" fmla="*/ 1888110 h 1888110"/>
              <a:gd name="connsiteX5" fmla="*/ 0 w 2300095"/>
              <a:gd name="connsiteY5" fmla="*/ 1888110 h 1888110"/>
              <a:gd name="connsiteX6" fmla="*/ 0 w 2300095"/>
              <a:gd name="connsiteY6" fmla="*/ 393478 h 1888110"/>
              <a:gd name="connsiteX7" fmla="*/ 0 w 2300095"/>
              <a:gd name="connsiteY7" fmla="*/ 260953 h 188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0095" h="1888110">
                <a:moveTo>
                  <a:pt x="0" y="0"/>
                </a:moveTo>
                <a:lnTo>
                  <a:pt x="2300095" y="0"/>
                </a:lnTo>
                <a:lnTo>
                  <a:pt x="2300095" y="393478"/>
                </a:lnTo>
                <a:lnTo>
                  <a:pt x="314017" y="393478"/>
                </a:lnTo>
                <a:lnTo>
                  <a:pt x="314017" y="1888110"/>
                </a:lnTo>
                <a:lnTo>
                  <a:pt x="0" y="1888110"/>
                </a:lnTo>
                <a:lnTo>
                  <a:pt x="0" y="393478"/>
                </a:lnTo>
                <a:lnTo>
                  <a:pt x="0" y="260953"/>
                </a:lnTo>
                <a:close/>
              </a:path>
            </a:pathLst>
          </a:custGeom>
          <a:solidFill>
            <a:schemeClr val="bg1">
              <a:alpha val="77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400" kern="0">
              <a:solidFill>
                <a:schemeClr val="tx1"/>
              </a:solidFill>
              <a:cs typeface="Calibri" panose="020F0502020204030204" pitchFamily="34" charset="0"/>
            </a:endParaRPr>
          </a:p>
        </p:txBody>
      </p:sp>
      <p:sp>
        <p:nvSpPr>
          <p:cNvPr id="228" name="TextBox 227">
            <a:extLst>
              <a:ext uri="{FF2B5EF4-FFF2-40B4-BE49-F238E27FC236}">
                <a16:creationId xmlns:a16="http://schemas.microsoft.com/office/drawing/2014/main" id="{B6D52611-4DA8-4D11-B625-B8B6A1BFA636}"/>
              </a:ext>
            </a:extLst>
          </p:cNvPr>
          <p:cNvSpPr txBox="1"/>
          <p:nvPr/>
        </p:nvSpPr>
        <p:spPr>
          <a:xfrm>
            <a:off x="1325678" y="1704079"/>
            <a:ext cx="2172373" cy="369332"/>
          </a:xfrm>
          <a:prstGeom prst="rect">
            <a:avLst/>
          </a:prstGeom>
          <a:noFill/>
        </p:spPr>
        <p:txBody>
          <a:bodyPr wrap="square">
            <a:spAutoFit/>
          </a:bodyPr>
          <a:lstStyle/>
          <a:p>
            <a:pPr algn="ctr"/>
            <a:r>
              <a:rPr lang="en-GB" b="1" kern="0">
                <a:latin typeface="MMC Display Condensed"/>
                <a:cs typeface="Calibri" panose="020F0502020204030204" pitchFamily="34" charset="0"/>
              </a:rPr>
              <a:t>Protectionism</a:t>
            </a:r>
          </a:p>
        </p:txBody>
      </p:sp>
      <p:sp>
        <p:nvSpPr>
          <p:cNvPr id="223" name="TextBox 222">
            <a:extLst>
              <a:ext uri="{FF2B5EF4-FFF2-40B4-BE49-F238E27FC236}">
                <a16:creationId xmlns:a16="http://schemas.microsoft.com/office/drawing/2014/main" id="{798E1304-A123-4E47-8BCF-95661C1F3812}"/>
              </a:ext>
            </a:extLst>
          </p:cNvPr>
          <p:cNvSpPr txBox="1"/>
          <p:nvPr/>
        </p:nvSpPr>
        <p:spPr>
          <a:xfrm>
            <a:off x="1676241" y="2145871"/>
            <a:ext cx="1833158" cy="3722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kern="0">
                <a:latin typeface="MMC Display Condensed"/>
                <a:cs typeface="Calibri" panose="020F0502020204030204" pitchFamily="34" charset="0"/>
              </a:rPr>
              <a:t>China’s dilemma</a:t>
            </a:r>
            <a:endParaRPr kumimoji="0" lang="en-GB" b="1" i="0" u="none" strike="noStrike" kern="0" cap="none" spc="0" normalizeH="0" baseline="0" noProof="0">
              <a:ln>
                <a:noFill/>
              </a:ln>
              <a:effectLst/>
              <a:uLnTx/>
              <a:uFillTx/>
              <a:latin typeface="MMC Display Condensed"/>
              <a:cs typeface="Calibri" panose="020F0502020204030204" pitchFamily="34" charset="0"/>
            </a:endParaRPr>
          </a:p>
        </p:txBody>
      </p:sp>
      <p:sp>
        <p:nvSpPr>
          <p:cNvPr id="221" name="TextBox 220">
            <a:extLst>
              <a:ext uri="{FF2B5EF4-FFF2-40B4-BE49-F238E27FC236}">
                <a16:creationId xmlns:a16="http://schemas.microsoft.com/office/drawing/2014/main" id="{AA6E2431-D48E-4919-8742-54CE3C0673B0}"/>
              </a:ext>
            </a:extLst>
          </p:cNvPr>
          <p:cNvSpPr txBox="1"/>
          <p:nvPr/>
        </p:nvSpPr>
        <p:spPr>
          <a:xfrm>
            <a:off x="4381790" y="2950271"/>
            <a:ext cx="1591375" cy="1200329"/>
          </a:xfrm>
          <a:prstGeom prst="rect">
            <a:avLst/>
          </a:prstGeom>
          <a:noFill/>
        </p:spPr>
        <p:txBody>
          <a:bodyPr wrap="square">
            <a:spAutoFit/>
          </a:bodyPr>
          <a:lstStyle/>
          <a:p>
            <a:pPr algn="ctr"/>
            <a:r>
              <a:rPr lang="en-GB" b="1" kern="0">
                <a:latin typeface="MMC Display Condensed"/>
                <a:cs typeface="Calibri" panose="020F0502020204030204" pitchFamily="34" charset="0"/>
              </a:rPr>
              <a:t>Unequal energy &amp; resource crisis</a:t>
            </a:r>
          </a:p>
        </p:txBody>
      </p:sp>
      <p:sp>
        <p:nvSpPr>
          <p:cNvPr id="214" name="TextBox 213">
            <a:extLst>
              <a:ext uri="{FF2B5EF4-FFF2-40B4-BE49-F238E27FC236}">
                <a16:creationId xmlns:a16="http://schemas.microsoft.com/office/drawing/2014/main" id="{AB0F8949-FF3B-46C1-AE2F-B37F871374B4}"/>
              </a:ext>
            </a:extLst>
          </p:cNvPr>
          <p:cNvSpPr txBox="1"/>
          <p:nvPr/>
        </p:nvSpPr>
        <p:spPr>
          <a:xfrm>
            <a:off x="7194875" y="2969438"/>
            <a:ext cx="1545882" cy="646331"/>
          </a:xfrm>
          <a:prstGeom prst="rect">
            <a:avLst/>
          </a:prstGeom>
          <a:noFill/>
        </p:spPr>
        <p:txBody>
          <a:bodyPr wrap="square">
            <a:spAutoFit/>
          </a:bodyPr>
          <a:lstStyle/>
          <a:p>
            <a:pPr algn="ctr"/>
            <a:r>
              <a:rPr lang="en-GB" b="1" kern="0">
                <a:latin typeface="MMC Display Condensed"/>
                <a:cs typeface="Calibri" panose="020F0502020204030204" pitchFamily="34" charset="0"/>
              </a:rPr>
              <a:t>Talent challenge</a:t>
            </a:r>
            <a:endParaRPr kumimoji="0" lang="en-GB" b="1" i="0" u="none" strike="noStrike" kern="0" cap="none" spc="0" normalizeH="0" baseline="0" noProof="0">
              <a:ln>
                <a:noFill/>
              </a:ln>
              <a:effectLst/>
              <a:uLnTx/>
              <a:uFillTx/>
              <a:latin typeface="MMC Display Condensed"/>
              <a:cs typeface="Calibri" panose="020F0502020204030204" pitchFamily="34" charset="0"/>
            </a:endParaRPr>
          </a:p>
        </p:txBody>
      </p:sp>
      <p:sp>
        <p:nvSpPr>
          <p:cNvPr id="216" name="TextBox 215">
            <a:extLst>
              <a:ext uri="{FF2B5EF4-FFF2-40B4-BE49-F238E27FC236}">
                <a16:creationId xmlns:a16="http://schemas.microsoft.com/office/drawing/2014/main" id="{448C47B4-9EBE-405D-AE01-26DC087D5F3C}"/>
              </a:ext>
            </a:extLst>
          </p:cNvPr>
          <p:cNvSpPr txBox="1"/>
          <p:nvPr/>
        </p:nvSpPr>
        <p:spPr>
          <a:xfrm>
            <a:off x="5005123" y="1909840"/>
            <a:ext cx="3602719" cy="381452"/>
          </a:xfrm>
          <a:prstGeom prst="rect">
            <a:avLst/>
          </a:prstGeom>
          <a:noFill/>
        </p:spPr>
        <p:txBody>
          <a:bodyPr wrap="square">
            <a:spAutoFit/>
          </a:bodyPr>
          <a:lstStyle/>
          <a:p>
            <a:pPr algn="ctr"/>
            <a:r>
              <a:rPr kumimoji="0" lang="en-GB" b="1" i="0" u="none" strike="noStrike" kern="0" cap="none" spc="0" normalizeH="0" baseline="0" noProof="0">
                <a:ln>
                  <a:noFill/>
                </a:ln>
                <a:effectLst/>
                <a:uLnTx/>
                <a:uFillTx/>
                <a:latin typeface="MMC Display Condensed"/>
                <a:ea typeface="+mn-ea"/>
                <a:cs typeface="Calibri" panose="020F0502020204030204" pitchFamily="34" charset="0"/>
              </a:rPr>
              <a:t>Supply multi-disruptions</a:t>
            </a:r>
          </a:p>
        </p:txBody>
      </p:sp>
      <p:sp>
        <p:nvSpPr>
          <p:cNvPr id="215" name="TextBox 214">
            <a:extLst>
              <a:ext uri="{FF2B5EF4-FFF2-40B4-BE49-F238E27FC236}">
                <a16:creationId xmlns:a16="http://schemas.microsoft.com/office/drawing/2014/main" id="{217CAC2B-1CFE-4B27-BC80-37B66C58D44F}"/>
              </a:ext>
            </a:extLst>
          </p:cNvPr>
          <p:cNvSpPr txBox="1"/>
          <p:nvPr/>
        </p:nvSpPr>
        <p:spPr>
          <a:xfrm>
            <a:off x="2721114" y="4590227"/>
            <a:ext cx="2998212" cy="646331"/>
          </a:xfrm>
          <a:prstGeom prst="rect">
            <a:avLst/>
          </a:prstGeom>
          <a:noFill/>
        </p:spPr>
        <p:txBody>
          <a:bodyPr wrap="square">
            <a:spAutoFit/>
          </a:bodyPr>
          <a:lstStyle/>
          <a:p>
            <a:pPr algn="ctr"/>
            <a:r>
              <a:rPr lang="en-GB" sz="1800" b="1" kern="0">
                <a:latin typeface="MMC Display Condensed"/>
                <a:cs typeface="Calibri" panose="020F0502020204030204" pitchFamily="34" charset="0"/>
              </a:rPr>
              <a:t>Volatile Inflation </a:t>
            </a:r>
            <a:r>
              <a:rPr lang="en-GB" b="1" kern="0">
                <a:latin typeface="MMC Display Condensed"/>
                <a:cs typeface="Calibri" panose="020F0502020204030204" pitchFamily="34" charset="0"/>
              </a:rPr>
              <a:t>&amp; </a:t>
            </a:r>
          </a:p>
          <a:p>
            <a:pPr algn="ctr"/>
            <a:r>
              <a:rPr lang="en-GB" sz="1800" b="1" kern="0">
                <a:latin typeface="MMC Display Condensed"/>
                <a:cs typeface="Calibri" panose="020F0502020204030204" pitchFamily="34" charset="0"/>
              </a:rPr>
              <a:t>interest rates</a:t>
            </a:r>
            <a:endParaRPr kumimoji="0" lang="en-GB" sz="1800" b="1" i="0" u="none" strike="noStrike" kern="0" cap="none" spc="0" normalizeH="0" baseline="0" noProof="0">
              <a:ln>
                <a:noFill/>
              </a:ln>
              <a:effectLst/>
              <a:uLnTx/>
              <a:uFillTx/>
              <a:latin typeface="MMC Display Condensed"/>
              <a:cs typeface="Calibri" panose="020F0502020204030204" pitchFamily="34" charset="0"/>
            </a:endParaRPr>
          </a:p>
        </p:txBody>
      </p:sp>
      <p:sp>
        <p:nvSpPr>
          <p:cNvPr id="220" name="TextBox 219">
            <a:extLst>
              <a:ext uri="{FF2B5EF4-FFF2-40B4-BE49-F238E27FC236}">
                <a16:creationId xmlns:a16="http://schemas.microsoft.com/office/drawing/2014/main" id="{E08EDE31-EFE0-4BEC-8B46-31EA8C3D35AA}"/>
              </a:ext>
            </a:extLst>
          </p:cNvPr>
          <p:cNvSpPr txBox="1"/>
          <p:nvPr/>
        </p:nvSpPr>
        <p:spPr>
          <a:xfrm>
            <a:off x="615685" y="4570458"/>
            <a:ext cx="1632063" cy="646331"/>
          </a:xfrm>
          <a:prstGeom prst="rect">
            <a:avLst/>
          </a:prstGeom>
          <a:noFill/>
        </p:spPr>
        <p:txBody>
          <a:bodyPr wrap="square">
            <a:spAutoFit/>
          </a:bodyPr>
          <a:lstStyle/>
          <a:p>
            <a:pPr algn="ctr"/>
            <a:r>
              <a:rPr lang="en-GB" b="1" kern="0">
                <a:latin typeface="MMC Display Condensed"/>
                <a:cs typeface="Calibri" panose="020F0502020204030204" pitchFamily="34" charset="0"/>
              </a:rPr>
              <a:t>Geopolitical</a:t>
            </a:r>
          </a:p>
          <a:p>
            <a:pPr algn="ctr"/>
            <a:r>
              <a:rPr lang="en-GB" b="1" kern="0">
                <a:latin typeface="MMC Display Condensed"/>
                <a:cs typeface="Calibri" panose="020F0502020204030204" pitchFamily="34" charset="0"/>
              </a:rPr>
              <a:t> Reshaping</a:t>
            </a:r>
            <a:endParaRPr kumimoji="0" lang="en-GB" b="1" i="0" u="none" strike="noStrike" kern="0" cap="none" spc="0" normalizeH="0" baseline="0" noProof="0">
              <a:ln>
                <a:noFill/>
              </a:ln>
              <a:effectLst/>
              <a:uLnTx/>
              <a:uFillTx/>
              <a:latin typeface="MMC Display Condensed"/>
              <a:cs typeface="Calibri" panose="020F0502020204030204" pitchFamily="34" charset="0"/>
            </a:endParaRPr>
          </a:p>
        </p:txBody>
      </p:sp>
      <p:sp>
        <p:nvSpPr>
          <p:cNvPr id="239" name="TextBox 238">
            <a:extLst>
              <a:ext uri="{FF2B5EF4-FFF2-40B4-BE49-F238E27FC236}">
                <a16:creationId xmlns:a16="http://schemas.microsoft.com/office/drawing/2014/main" id="{DD48830A-046B-4CB0-91AA-1C6888FE515E}"/>
              </a:ext>
            </a:extLst>
          </p:cNvPr>
          <p:cNvSpPr txBox="1"/>
          <p:nvPr/>
        </p:nvSpPr>
        <p:spPr>
          <a:xfrm>
            <a:off x="8839322" y="4247067"/>
            <a:ext cx="3123041" cy="381452"/>
          </a:xfrm>
          <a:prstGeom prst="rect">
            <a:avLst/>
          </a:prstGeom>
          <a:noFill/>
        </p:spPr>
        <p:txBody>
          <a:bodyPr wrap="square">
            <a:spAutoFit/>
          </a:bodyPr>
          <a:lstStyle/>
          <a:p>
            <a:pPr algn="ctr"/>
            <a:r>
              <a:rPr kumimoji="0" lang="en-GB" b="1" i="0" u="none" strike="noStrike" kern="0" cap="none" spc="0" normalizeH="0" baseline="0" noProof="0">
                <a:ln>
                  <a:noFill/>
                </a:ln>
                <a:effectLst/>
                <a:uLnTx/>
                <a:uFillTx/>
                <a:latin typeface="MMC Display Condensed"/>
                <a:ea typeface="+mn-ea"/>
                <a:cs typeface="Calibri" panose="020F0502020204030204" pitchFamily="34" charset="0"/>
              </a:rPr>
              <a:t>AI acceleration</a:t>
            </a:r>
          </a:p>
        </p:txBody>
      </p:sp>
      <p:sp>
        <p:nvSpPr>
          <p:cNvPr id="206" name="Ghost">
            <a:extLst>
              <a:ext uri="{FF2B5EF4-FFF2-40B4-BE49-F238E27FC236}">
                <a16:creationId xmlns:a16="http://schemas.microsoft.com/office/drawing/2014/main" id="{07A80AEA-32D9-4879-A1DA-EE8F271162B0}"/>
              </a:ext>
            </a:extLst>
          </p:cNvPr>
          <p:cNvSpPr/>
          <p:nvPr/>
        </p:nvSpPr>
        <p:spPr>
          <a:xfrm>
            <a:off x="457200" y="107385"/>
            <a:ext cx="257121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Understanding the perma-crisis environment</a:t>
            </a:r>
          </a:p>
        </p:txBody>
      </p:sp>
      <p:sp>
        <p:nvSpPr>
          <p:cNvPr id="2" name="object 63">
            <a:extLst>
              <a:ext uri="{FF2B5EF4-FFF2-40B4-BE49-F238E27FC236}">
                <a16:creationId xmlns:a16="http://schemas.microsoft.com/office/drawing/2014/main" id="{3DE98832-B818-A8BB-81B0-E6EBDBED3385}"/>
              </a:ext>
            </a:extLst>
          </p:cNvPr>
          <p:cNvSpPr txBox="1"/>
          <p:nvPr/>
        </p:nvSpPr>
        <p:spPr>
          <a:xfrm>
            <a:off x="10784439" y="463844"/>
            <a:ext cx="130810" cy="299720"/>
          </a:xfrm>
          <a:prstGeom prst="rect">
            <a:avLst/>
          </a:prstGeom>
        </p:spPr>
        <p:txBody>
          <a:bodyPr vert="horz" wrap="square" lIns="0" tIns="12700" rIns="0" bIns="0" rtlCol="0">
            <a:spAutoFit/>
          </a:bodyPr>
          <a:lstStyle/>
          <a:p>
            <a:pPr marL="12700">
              <a:lnSpc>
                <a:spcPct val="100000"/>
              </a:lnSpc>
              <a:spcBef>
                <a:spcPts val="100"/>
              </a:spcBef>
            </a:pPr>
            <a:r>
              <a:rPr lang="en-GB" sz="1800" b="1">
                <a:latin typeface="Calibri"/>
                <a:cs typeface="Calibri"/>
              </a:rPr>
              <a:t>x</a:t>
            </a:r>
            <a:endParaRPr lang="en-GB" sz="1800">
              <a:latin typeface="Calibri"/>
              <a:cs typeface="Calibri"/>
            </a:endParaRPr>
          </a:p>
        </p:txBody>
      </p:sp>
      <p:pic>
        <p:nvPicPr>
          <p:cNvPr id="529" name="object 61">
            <a:extLst>
              <a:ext uri="{FF2B5EF4-FFF2-40B4-BE49-F238E27FC236}">
                <a16:creationId xmlns:a16="http://schemas.microsoft.com/office/drawing/2014/main" id="{E18AE570-7192-5D40-499F-4791D0041E3E}"/>
              </a:ext>
            </a:extLst>
          </p:cNvPr>
          <p:cNvPicPr/>
          <p:nvPr/>
        </p:nvPicPr>
        <p:blipFill>
          <a:blip r:embed="rId72" cstate="screen">
            <a:extLst>
              <a:ext uri="{28A0092B-C50C-407E-A947-70E740481C1C}">
                <a14:useLocalDpi xmlns:a14="http://schemas.microsoft.com/office/drawing/2010/main"/>
              </a:ext>
            </a:extLst>
          </a:blip>
          <a:stretch>
            <a:fillRect/>
          </a:stretch>
        </p:blipFill>
        <p:spPr>
          <a:xfrm>
            <a:off x="9122226" y="546648"/>
            <a:ext cx="1536192" cy="134112"/>
          </a:xfrm>
          <a:prstGeom prst="rect">
            <a:avLst/>
          </a:prstGeom>
        </p:spPr>
      </p:pic>
      <p:pic>
        <p:nvPicPr>
          <p:cNvPr id="614" name="object 62">
            <a:extLst>
              <a:ext uri="{FF2B5EF4-FFF2-40B4-BE49-F238E27FC236}">
                <a16:creationId xmlns:a16="http://schemas.microsoft.com/office/drawing/2014/main" id="{DB506501-333A-227A-84B8-DBBB68FB1E11}"/>
              </a:ext>
            </a:extLst>
          </p:cNvPr>
          <p:cNvPicPr/>
          <p:nvPr/>
        </p:nvPicPr>
        <p:blipFill>
          <a:blip r:embed="rId73" cstate="screen">
            <a:extLst>
              <a:ext uri="{28A0092B-C50C-407E-A947-70E740481C1C}">
                <a14:useLocalDpi xmlns:a14="http://schemas.microsoft.com/office/drawing/2010/main"/>
              </a:ext>
            </a:extLst>
          </a:blip>
          <a:stretch>
            <a:fillRect/>
          </a:stretch>
        </p:blipFill>
        <p:spPr>
          <a:xfrm>
            <a:off x="11041270" y="399652"/>
            <a:ext cx="693282" cy="428103"/>
          </a:xfrm>
          <a:prstGeom prst="rect">
            <a:avLst/>
          </a:prstGeom>
        </p:spPr>
      </p:pic>
    </p:spTree>
    <p:extLst>
      <p:ext uri="{BB962C8B-B14F-4D97-AF65-F5344CB8AC3E}">
        <p14:creationId xmlns:p14="http://schemas.microsoft.com/office/powerpoint/2010/main" val="615272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repeatDur="0" restart="never" fill="hold" grpId="0" nodeType="withEffect">
                                  <p:stCondLst>
                                    <p:cond delay="0"/>
                                  </p:stCondLst>
                                  <p:childTnLst>
                                    <p:set>
                                      <p:cBhvr additive="base" accumulate="none">
                                        <p:cTn id="6" dur="1" fill="hold">
                                          <p:stCondLst>
                                            <p:cond delay="0"/>
                                          </p:stCondLst>
                                        </p:cTn>
                                        <p:tgtEl>
                                          <p:spTgt spid="182"/>
                                        </p:tgtEl>
                                        <p:attrNameLst>
                                          <p:attrName>style.visibility</p:attrName>
                                        </p:attrNameLst>
                                      </p:cBhvr>
                                      <p:to>
                                        <p:strVal val="visible"/>
                                      </p:to>
                                    </p:set>
                                    <p:anim from="0" to="0" calcmode="lin" valueType="num">
                                      <p:cBhvr additive="base" accumulate="none">
                                        <p:cTn id="7" dur="300" fill="hold"/>
                                        <p:tgtEl>
                                          <p:spTgt spid="182"/>
                                        </p:tgtEl>
                                        <p:attrNameLst>
                                          <p:attrName>ppt_w</p:attrName>
                                        </p:attrNameLst>
                                      </p:cBhvr>
                                      <p:tavLst>
                                        <p:tav tm="0">
                                          <p:val>
                                            <p:strVal val="2/3*#ppt_w"/>
                                          </p:val>
                                        </p:tav>
                                        <p:tav tm="100000">
                                          <p:val>
                                            <p:strVal val="#ppt_w"/>
                                          </p:val>
                                        </p:tav>
                                      </p:tavLst>
                                    </p:anim>
                                    <p:anim from="0" to="0" calcmode="lin" valueType="num">
                                      <p:cBhvr additive="base" accumulate="none">
                                        <p:cTn id="8" dur="300" fill="hold"/>
                                        <p:tgtEl>
                                          <p:spTgt spid="182"/>
                                        </p:tgtEl>
                                        <p:attrNameLst>
                                          <p:attrName>ppt_h</p:attrName>
                                        </p:attrNameLst>
                                      </p:cBhvr>
                                      <p:tavLst>
                                        <p:tav tm="0">
                                          <p:val>
                                            <p:strVal val="2/3*#ppt_h"/>
                                          </p:val>
                                        </p:tav>
                                        <p:tav tm="100000">
                                          <p:val>
                                            <p:strVal val="#ppt_h"/>
                                          </p:val>
                                        </p:tav>
                                      </p:tavLst>
                                    </p:anim>
                                  </p:childTnLst>
                                </p:cTn>
                              </p:par>
                              <p:par>
                                <p:cTn id="9" presetID="23" presetClass="entr" presetSubtype="16" repeatDur="0" restart="never" fill="hold" grpId="0" nodeType="withEffect">
                                  <p:stCondLst>
                                    <p:cond delay="0"/>
                                  </p:stCondLst>
                                  <p:childTnLst>
                                    <p:set>
                                      <p:cBhvr additive="base" accumulate="none">
                                        <p:cTn id="10" dur="1" fill="hold">
                                          <p:stCondLst>
                                            <p:cond delay="0"/>
                                          </p:stCondLst>
                                        </p:cTn>
                                        <p:tgtEl>
                                          <p:spTgt spid="220"/>
                                        </p:tgtEl>
                                        <p:attrNameLst>
                                          <p:attrName>style.visibility</p:attrName>
                                        </p:attrNameLst>
                                      </p:cBhvr>
                                      <p:to>
                                        <p:strVal val="visible"/>
                                      </p:to>
                                    </p:set>
                                    <p:anim from="0" to="0" calcmode="lin" valueType="num">
                                      <p:cBhvr additive="base" accumulate="none">
                                        <p:cTn id="11" dur="300" fill="hold"/>
                                        <p:tgtEl>
                                          <p:spTgt spid="220"/>
                                        </p:tgtEl>
                                        <p:attrNameLst>
                                          <p:attrName>ppt_w</p:attrName>
                                        </p:attrNameLst>
                                      </p:cBhvr>
                                      <p:tavLst>
                                        <p:tav tm="0">
                                          <p:val>
                                            <p:strVal val="2/3*#ppt_w"/>
                                          </p:val>
                                        </p:tav>
                                        <p:tav tm="100000">
                                          <p:val>
                                            <p:strVal val="#ppt_w"/>
                                          </p:val>
                                        </p:tav>
                                      </p:tavLst>
                                    </p:anim>
                                    <p:anim from="0" to="0" calcmode="lin" valueType="num">
                                      <p:cBhvr additive="base" accumulate="none">
                                        <p:cTn id="12" dur="300" fill="hold"/>
                                        <p:tgtEl>
                                          <p:spTgt spid="220"/>
                                        </p:tgtEl>
                                        <p:attrNameLst>
                                          <p:attrName>ppt_h</p:attrName>
                                        </p:attrNameLst>
                                      </p:cBhvr>
                                      <p:tavLst>
                                        <p:tav tm="0">
                                          <p:val>
                                            <p:strVal val="2/3*#ppt_h"/>
                                          </p:val>
                                        </p:tav>
                                        <p:tav tm="100000">
                                          <p:val>
                                            <p:strVal val="#ppt_h"/>
                                          </p:val>
                                        </p:tav>
                                      </p:tavLst>
                                    </p:anim>
                                  </p:childTnLst>
                                </p:cTn>
                              </p:par>
                              <p:par>
                                <p:cTn id="13" presetID="23" presetClass="entr" presetSubtype="16" repeatDur="0" restart="never" fill="hold" grpId="0" nodeType="withEffect">
                                  <p:stCondLst>
                                    <p:cond delay="0"/>
                                  </p:stCondLst>
                                  <p:childTnLst>
                                    <p:set>
                                      <p:cBhvr additive="base" accumulate="none">
                                        <p:cTn id="14" dur="1" fill="hold">
                                          <p:stCondLst>
                                            <p:cond delay="0"/>
                                          </p:stCondLst>
                                        </p:cTn>
                                        <p:tgtEl>
                                          <p:spTgt spid="184"/>
                                        </p:tgtEl>
                                        <p:attrNameLst>
                                          <p:attrName>style.visibility</p:attrName>
                                        </p:attrNameLst>
                                      </p:cBhvr>
                                      <p:to>
                                        <p:strVal val="visible"/>
                                      </p:to>
                                    </p:set>
                                    <p:anim from="0" to="0" calcmode="lin" valueType="num">
                                      <p:cBhvr additive="base" accumulate="none">
                                        <p:cTn id="15" dur="300" fill="hold"/>
                                        <p:tgtEl>
                                          <p:spTgt spid="184"/>
                                        </p:tgtEl>
                                        <p:attrNameLst>
                                          <p:attrName>ppt_w</p:attrName>
                                        </p:attrNameLst>
                                      </p:cBhvr>
                                      <p:tavLst>
                                        <p:tav tm="0">
                                          <p:val>
                                            <p:strVal val="2/3*#ppt_w"/>
                                          </p:val>
                                        </p:tav>
                                        <p:tav tm="100000">
                                          <p:val>
                                            <p:strVal val="#ppt_w"/>
                                          </p:val>
                                        </p:tav>
                                      </p:tavLst>
                                    </p:anim>
                                    <p:anim from="0" to="0" calcmode="lin" valueType="num">
                                      <p:cBhvr additive="base" accumulate="none">
                                        <p:cTn id="16" dur="300" fill="hold"/>
                                        <p:tgtEl>
                                          <p:spTgt spid="184"/>
                                        </p:tgtEl>
                                        <p:attrNameLst>
                                          <p:attrName>ppt_h</p:attrName>
                                        </p:attrNameLst>
                                      </p:cBhvr>
                                      <p:tavLst>
                                        <p:tav tm="0">
                                          <p:val>
                                            <p:strVal val="2/3*#ppt_h"/>
                                          </p:val>
                                        </p:tav>
                                        <p:tav tm="100000">
                                          <p:val>
                                            <p:strVal val="#ppt_h"/>
                                          </p:val>
                                        </p:tav>
                                      </p:tavLst>
                                    </p:anim>
                                  </p:childTnLst>
                                </p:cTn>
                              </p:par>
                              <p:par>
                                <p:cTn id="17" presetID="23" presetClass="entr" presetSubtype="16" repeatDur="0" restart="never" fill="hold" grpId="0" nodeType="withEffect">
                                  <p:stCondLst>
                                    <p:cond delay="0"/>
                                  </p:stCondLst>
                                  <p:childTnLst>
                                    <p:set>
                                      <p:cBhvr additive="base" accumulate="none">
                                        <p:cTn id="18" dur="1" fill="hold">
                                          <p:stCondLst>
                                            <p:cond delay="0"/>
                                          </p:stCondLst>
                                        </p:cTn>
                                        <p:tgtEl>
                                          <p:spTgt spid="228"/>
                                        </p:tgtEl>
                                        <p:attrNameLst>
                                          <p:attrName>style.visibility</p:attrName>
                                        </p:attrNameLst>
                                      </p:cBhvr>
                                      <p:to>
                                        <p:strVal val="visible"/>
                                      </p:to>
                                    </p:set>
                                    <p:anim from="0" to="0" calcmode="lin" valueType="num">
                                      <p:cBhvr additive="base" accumulate="none">
                                        <p:cTn id="19" dur="300" fill="hold"/>
                                        <p:tgtEl>
                                          <p:spTgt spid="228"/>
                                        </p:tgtEl>
                                        <p:attrNameLst>
                                          <p:attrName>ppt_w</p:attrName>
                                        </p:attrNameLst>
                                      </p:cBhvr>
                                      <p:tavLst>
                                        <p:tav tm="0">
                                          <p:val>
                                            <p:strVal val="2/3*#ppt_w"/>
                                          </p:val>
                                        </p:tav>
                                        <p:tav tm="100000">
                                          <p:val>
                                            <p:strVal val="#ppt_w"/>
                                          </p:val>
                                        </p:tav>
                                      </p:tavLst>
                                    </p:anim>
                                    <p:anim from="0" to="0" calcmode="lin" valueType="num">
                                      <p:cBhvr additive="base" accumulate="none">
                                        <p:cTn id="20" dur="300" fill="hold"/>
                                        <p:tgtEl>
                                          <p:spTgt spid="228"/>
                                        </p:tgtEl>
                                        <p:attrNameLst>
                                          <p:attrName>ppt_h</p:attrName>
                                        </p:attrNameLst>
                                      </p:cBhvr>
                                      <p:tavLst>
                                        <p:tav tm="0">
                                          <p:val>
                                            <p:strVal val="2/3*#ppt_h"/>
                                          </p:val>
                                        </p:tav>
                                        <p:tav tm="100000">
                                          <p:val>
                                            <p:strVal val="#ppt_h"/>
                                          </p:val>
                                        </p:tav>
                                      </p:tavLst>
                                    </p:anim>
                                  </p:childTnLst>
                                </p:cTn>
                              </p:par>
                              <p:par>
                                <p:cTn id="21" presetID="23" presetClass="entr" presetSubtype="16" repeatDur="0" restart="never" fill="hold" grpId="0" nodeType="withEffect">
                                  <p:stCondLst>
                                    <p:cond delay="0"/>
                                  </p:stCondLst>
                                  <p:childTnLst>
                                    <p:set>
                                      <p:cBhvr additive="base" accumulate="none">
                                        <p:cTn id="22" dur="1" fill="hold">
                                          <p:stCondLst>
                                            <p:cond delay="0"/>
                                          </p:stCondLst>
                                        </p:cTn>
                                        <p:tgtEl>
                                          <p:spTgt spid="180"/>
                                        </p:tgtEl>
                                        <p:attrNameLst>
                                          <p:attrName>style.visibility</p:attrName>
                                        </p:attrNameLst>
                                      </p:cBhvr>
                                      <p:to>
                                        <p:strVal val="visible"/>
                                      </p:to>
                                    </p:set>
                                    <p:anim from="0" to="0" calcmode="lin" valueType="num">
                                      <p:cBhvr additive="base" accumulate="none">
                                        <p:cTn id="23" dur="300" fill="hold"/>
                                        <p:tgtEl>
                                          <p:spTgt spid="180"/>
                                        </p:tgtEl>
                                        <p:attrNameLst>
                                          <p:attrName>ppt_w</p:attrName>
                                        </p:attrNameLst>
                                      </p:cBhvr>
                                      <p:tavLst>
                                        <p:tav tm="0">
                                          <p:val>
                                            <p:strVal val="2/3*#ppt_w"/>
                                          </p:val>
                                        </p:tav>
                                        <p:tav tm="100000">
                                          <p:val>
                                            <p:strVal val="#ppt_w"/>
                                          </p:val>
                                        </p:tav>
                                      </p:tavLst>
                                    </p:anim>
                                    <p:anim from="0" to="0" calcmode="lin" valueType="num">
                                      <p:cBhvr additive="base" accumulate="none">
                                        <p:cTn id="24" dur="300" fill="hold"/>
                                        <p:tgtEl>
                                          <p:spTgt spid="180"/>
                                        </p:tgtEl>
                                        <p:attrNameLst>
                                          <p:attrName>ppt_h</p:attrName>
                                        </p:attrNameLst>
                                      </p:cBhvr>
                                      <p:tavLst>
                                        <p:tav tm="0">
                                          <p:val>
                                            <p:strVal val="2/3*#ppt_h"/>
                                          </p:val>
                                        </p:tav>
                                        <p:tav tm="100000">
                                          <p:val>
                                            <p:strVal val="#ppt_h"/>
                                          </p:val>
                                        </p:tav>
                                      </p:tavLst>
                                    </p:anim>
                                  </p:childTnLst>
                                </p:cTn>
                              </p:par>
                              <p:par>
                                <p:cTn id="25" presetID="23" presetClass="entr" presetSubtype="16" repeatDur="0" restart="never" fill="hold" grpId="0" nodeType="withEffect">
                                  <p:stCondLst>
                                    <p:cond delay="0"/>
                                  </p:stCondLst>
                                  <p:childTnLst>
                                    <p:set>
                                      <p:cBhvr additive="base" accumulate="none">
                                        <p:cTn id="26" dur="1" fill="hold">
                                          <p:stCondLst>
                                            <p:cond delay="0"/>
                                          </p:stCondLst>
                                        </p:cTn>
                                        <p:tgtEl>
                                          <p:spTgt spid="223"/>
                                        </p:tgtEl>
                                        <p:attrNameLst>
                                          <p:attrName>style.visibility</p:attrName>
                                        </p:attrNameLst>
                                      </p:cBhvr>
                                      <p:to>
                                        <p:strVal val="visible"/>
                                      </p:to>
                                    </p:set>
                                    <p:anim from="0" to="0" calcmode="lin" valueType="num">
                                      <p:cBhvr additive="base" accumulate="none">
                                        <p:cTn id="27" dur="300" fill="hold"/>
                                        <p:tgtEl>
                                          <p:spTgt spid="223"/>
                                        </p:tgtEl>
                                        <p:attrNameLst>
                                          <p:attrName>ppt_w</p:attrName>
                                        </p:attrNameLst>
                                      </p:cBhvr>
                                      <p:tavLst>
                                        <p:tav tm="0">
                                          <p:val>
                                            <p:strVal val="2/3*#ppt_w"/>
                                          </p:val>
                                        </p:tav>
                                        <p:tav tm="100000">
                                          <p:val>
                                            <p:strVal val="#ppt_w"/>
                                          </p:val>
                                        </p:tav>
                                      </p:tavLst>
                                    </p:anim>
                                    <p:anim from="0" to="0" calcmode="lin" valueType="num">
                                      <p:cBhvr additive="base" accumulate="none">
                                        <p:cTn id="28" dur="300" fill="hold"/>
                                        <p:tgtEl>
                                          <p:spTgt spid="223"/>
                                        </p:tgtEl>
                                        <p:attrNameLst>
                                          <p:attrName>ppt_h</p:attrName>
                                        </p:attrNameLst>
                                      </p:cBhvr>
                                      <p:tavLst>
                                        <p:tav tm="0">
                                          <p:val>
                                            <p:strVal val="2/3*#ppt_h"/>
                                          </p:val>
                                        </p:tav>
                                        <p:tav tm="100000">
                                          <p:val>
                                            <p:strVal val="#ppt_h"/>
                                          </p:val>
                                        </p:tav>
                                      </p:tavLst>
                                    </p:anim>
                                  </p:childTnLst>
                                </p:cTn>
                              </p:par>
                              <p:par>
                                <p:cTn id="29" presetID="23" presetClass="entr" presetSubtype="16" repeatDur="0" restart="never" fill="hold" grpId="0" nodeType="withEffect">
                                  <p:stCondLst>
                                    <p:cond delay="0"/>
                                  </p:stCondLst>
                                  <p:childTnLst>
                                    <p:set>
                                      <p:cBhvr additive="base" accumulate="none">
                                        <p:cTn id="30" dur="1" fill="hold">
                                          <p:stCondLst>
                                            <p:cond delay="0"/>
                                          </p:stCondLst>
                                        </p:cTn>
                                        <p:tgtEl>
                                          <p:spTgt spid="181"/>
                                        </p:tgtEl>
                                        <p:attrNameLst>
                                          <p:attrName>style.visibility</p:attrName>
                                        </p:attrNameLst>
                                      </p:cBhvr>
                                      <p:to>
                                        <p:strVal val="visible"/>
                                      </p:to>
                                    </p:set>
                                    <p:anim from="0" to="0" calcmode="lin" valueType="num">
                                      <p:cBhvr additive="base" accumulate="none">
                                        <p:cTn id="31" dur="300" fill="hold"/>
                                        <p:tgtEl>
                                          <p:spTgt spid="181"/>
                                        </p:tgtEl>
                                        <p:attrNameLst>
                                          <p:attrName>ppt_w</p:attrName>
                                        </p:attrNameLst>
                                      </p:cBhvr>
                                      <p:tavLst>
                                        <p:tav tm="0">
                                          <p:val>
                                            <p:strVal val="2/3*#ppt_w"/>
                                          </p:val>
                                        </p:tav>
                                        <p:tav tm="100000">
                                          <p:val>
                                            <p:strVal val="#ppt_w"/>
                                          </p:val>
                                        </p:tav>
                                      </p:tavLst>
                                    </p:anim>
                                    <p:anim from="0" to="0" calcmode="lin" valueType="num">
                                      <p:cBhvr additive="base" accumulate="none">
                                        <p:cTn id="32" dur="300" fill="hold"/>
                                        <p:tgtEl>
                                          <p:spTgt spid="181"/>
                                        </p:tgtEl>
                                        <p:attrNameLst>
                                          <p:attrName>ppt_h</p:attrName>
                                        </p:attrNameLst>
                                      </p:cBhvr>
                                      <p:tavLst>
                                        <p:tav tm="0">
                                          <p:val>
                                            <p:strVal val="2/3*#ppt_h"/>
                                          </p:val>
                                        </p:tav>
                                        <p:tav tm="100000">
                                          <p:val>
                                            <p:strVal val="#ppt_h"/>
                                          </p:val>
                                        </p:tav>
                                      </p:tavLst>
                                    </p:anim>
                                  </p:childTnLst>
                                </p:cTn>
                              </p:par>
                              <p:par>
                                <p:cTn id="33" presetID="23" presetClass="entr" presetSubtype="16" repeatDur="0" restart="never" fill="hold" grpId="0" nodeType="withEffect">
                                  <p:stCondLst>
                                    <p:cond delay="0"/>
                                  </p:stCondLst>
                                  <p:childTnLst>
                                    <p:set>
                                      <p:cBhvr additive="base" accumulate="none">
                                        <p:cTn id="34" dur="1" fill="hold">
                                          <p:stCondLst>
                                            <p:cond delay="0"/>
                                          </p:stCondLst>
                                        </p:cTn>
                                        <p:tgtEl>
                                          <p:spTgt spid="221"/>
                                        </p:tgtEl>
                                        <p:attrNameLst>
                                          <p:attrName>style.visibility</p:attrName>
                                        </p:attrNameLst>
                                      </p:cBhvr>
                                      <p:to>
                                        <p:strVal val="visible"/>
                                      </p:to>
                                    </p:set>
                                    <p:anim from="0" to="0" calcmode="lin" valueType="num">
                                      <p:cBhvr additive="base" accumulate="none">
                                        <p:cTn id="35" dur="300" fill="hold"/>
                                        <p:tgtEl>
                                          <p:spTgt spid="221"/>
                                        </p:tgtEl>
                                        <p:attrNameLst>
                                          <p:attrName>ppt_w</p:attrName>
                                        </p:attrNameLst>
                                      </p:cBhvr>
                                      <p:tavLst>
                                        <p:tav tm="0">
                                          <p:val>
                                            <p:strVal val="2/3*#ppt_w"/>
                                          </p:val>
                                        </p:tav>
                                        <p:tav tm="100000">
                                          <p:val>
                                            <p:strVal val="#ppt_w"/>
                                          </p:val>
                                        </p:tav>
                                      </p:tavLst>
                                    </p:anim>
                                    <p:anim from="0" to="0" calcmode="lin" valueType="num">
                                      <p:cBhvr additive="base" accumulate="none">
                                        <p:cTn id="36" dur="300" fill="hold"/>
                                        <p:tgtEl>
                                          <p:spTgt spid="221"/>
                                        </p:tgtEl>
                                        <p:attrNameLst>
                                          <p:attrName>ppt_h</p:attrName>
                                        </p:attrNameLst>
                                      </p:cBhvr>
                                      <p:tavLst>
                                        <p:tav tm="0">
                                          <p:val>
                                            <p:strVal val="2/3*#ppt_h"/>
                                          </p:val>
                                        </p:tav>
                                        <p:tav tm="100000">
                                          <p:val>
                                            <p:strVal val="#ppt_h"/>
                                          </p:val>
                                        </p:tav>
                                      </p:tavLst>
                                    </p:anim>
                                  </p:childTnLst>
                                </p:cTn>
                              </p:par>
                              <p:par>
                                <p:cTn id="37" presetID="23" presetClass="entr" presetSubtype="16" repeatDur="0" restart="never" fill="hold" grpId="0" nodeType="withEffect">
                                  <p:stCondLst>
                                    <p:cond delay="0"/>
                                  </p:stCondLst>
                                  <p:childTnLst>
                                    <p:set>
                                      <p:cBhvr additive="base" accumulate="none">
                                        <p:cTn id="38" dur="1" fill="hold">
                                          <p:stCondLst>
                                            <p:cond delay="0"/>
                                          </p:stCondLst>
                                        </p:cTn>
                                        <p:tgtEl>
                                          <p:spTgt spid="210"/>
                                        </p:tgtEl>
                                        <p:attrNameLst>
                                          <p:attrName>style.visibility</p:attrName>
                                        </p:attrNameLst>
                                      </p:cBhvr>
                                      <p:to>
                                        <p:strVal val="visible"/>
                                      </p:to>
                                    </p:set>
                                    <p:anim from="0" to="0" calcmode="lin" valueType="num">
                                      <p:cBhvr additive="base" accumulate="none">
                                        <p:cTn id="39" dur="300" fill="hold"/>
                                        <p:tgtEl>
                                          <p:spTgt spid="210"/>
                                        </p:tgtEl>
                                        <p:attrNameLst>
                                          <p:attrName>ppt_w</p:attrName>
                                        </p:attrNameLst>
                                      </p:cBhvr>
                                      <p:tavLst>
                                        <p:tav tm="0">
                                          <p:val>
                                            <p:strVal val="2/3*#ppt_w"/>
                                          </p:val>
                                        </p:tav>
                                        <p:tav tm="100000">
                                          <p:val>
                                            <p:strVal val="#ppt_w"/>
                                          </p:val>
                                        </p:tav>
                                      </p:tavLst>
                                    </p:anim>
                                    <p:anim from="0" to="0" calcmode="lin" valueType="num">
                                      <p:cBhvr additive="base" accumulate="none">
                                        <p:cTn id="40" dur="300" fill="hold"/>
                                        <p:tgtEl>
                                          <p:spTgt spid="210"/>
                                        </p:tgtEl>
                                        <p:attrNameLst>
                                          <p:attrName>ppt_h</p:attrName>
                                        </p:attrNameLst>
                                      </p:cBhvr>
                                      <p:tavLst>
                                        <p:tav tm="0">
                                          <p:val>
                                            <p:strVal val="2/3*#ppt_h"/>
                                          </p:val>
                                        </p:tav>
                                        <p:tav tm="100000">
                                          <p:val>
                                            <p:strVal val="#ppt_h"/>
                                          </p:val>
                                        </p:tav>
                                      </p:tavLst>
                                    </p:anim>
                                  </p:childTnLst>
                                </p:cTn>
                              </p:par>
                              <p:par>
                                <p:cTn id="41" presetID="23" presetClass="entr" presetSubtype="16" repeatDur="0" restart="never" fill="hold" grpId="0" nodeType="withEffect">
                                  <p:stCondLst>
                                    <p:cond delay="0"/>
                                  </p:stCondLst>
                                  <p:childTnLst>
                                    <p:set>
                                      <p:cBhvr additive="base" accumulate="none">
                                        <p:cTn id="42" dur="1" fill="hold">
                                          <p:stCondLst>
                                            <p:cond delay="0"/>
                                          </p:stCondLst>
                                        </p:cTn>
                                        <p:tgtEl>
                                          <p:spTgt spid="215"/>
                                        </p:tgtEl>
                                        <p:attrNameLst>
                                          <p:attrName>style.visibility</p:attrName>
                                        </p:attrNameLst>
                                      </p:cBhvr>
                                      <p:to>
                                        <p:strVal val="visible"/>
                                      </p:to>
                                    </p:set>
                                    <p:anim from="0" to="0" calcmode="lin" valueType="num">
                                      <p:cBhvr additive="base" accumulate="none">
                                        <p:cTn id="43" dur="300" fill="hold"/>
                                        <p:tgtEl>
                                          <p:spTgt spid="215"/>
                                        </p:tgtEl>
                                        <p:attrNameLst>
                                          <p:attrName>ppt_w</p:attrName>
                                        </p:attrNameLst>
                                      </p:cBhvr>
                                      <p:tavLst>
                                        <p:tav tm="0">
                                          <p:val>
                                            <p:strVal val="2/3*#ppt_w"/>
                                          </p:val>
                                        </p:tav>
                                        <p:tav tm="100000">
                                          <p:val>
                                            <p:strVal val="#ppt_w"/>
                                          </p:val>
                                        </p:tav>
                                      </p:tavLst>
                                    </p:anim>
                                    <p:anim from="0" to="0" calcmode="lin" valueType="num">
                                      <p:cBhvr additive="base" accumulate="none">
                                        <p:cTn id="44" dur="300" fill="hold"/>
                                        <p:tgtEl>
                                          <p:spTgt spid="215"/>
                                        </p:tgtEl>
                                        <p:attrNameLst>
                                          <p:attrName>ppt_h</p:attrName>
                                        </p:attrNameLst>
                                      </p:cBhvr>
                                      <p:tavLst>
                                        <p:tav tm="0">
                                          <p:val>
                                            <p:strVal val="2/3*#ppt_h"/>
                                          </p:val>
                                        </p:tav>
                                        <p:tav tm="100000">
                                          <p:val>
                                            <p:strVal val="#ppt_h"/>
                                          </p:val>
                                        </p:tav>
                                      </p:tavLst>
                                    </p:anim>
                                  </p:childTnLst>
                                </p:cTn>
                              </p:par>
                              <p:par>
                                <p:cTn id="45" presetID="23" presetClass="entr" presetSubtype="16" repeatDur="0" restart="never" fill="hold" grpId="0" nodeType="withEffect">
                                  <p:stCondLst>
                                    <p:cond delay="0"/>
                                  </p:stCondLst>
                                  <p:childTnLst>
                                    <p:set>
                                      <p:cBhvr additive="base" accumulate="none">
                                        <p:cTn id="46" dur="1" fill="hold">
                                          <p:stCondLst>
                                            <p:cond delay="0"/>
                                          </p:stCondLst>
                                        </p:cTn>
                                        <p:tgtEl>
                                          <p:spTgt spid="176"/>
                                        </p:tgtEl>
                                        <p:attrNameLst>
                                          <p:attrName>style.visibility</p:attrName>
                                        </p:attrNameLst>
                                      </p:cBhvr>
                                      <p:to>
                                        <p:strVal val="visible"/>
                                      </p:to>
                                    </p:set>
                                    <p:anim from="0" to="0" calcmode="lin" valueType="num">
                                      <p:cBhvr additive="base" accumulate="none">
                                        <p:cTn id="47" dur="300" fill="hold"/>
                                        <p:tgtEl>
                                          <p:spTgt spid="176"/>
                                        </p:tgtEl>
                                        <p:attrNameLst>
                                          <p:attrName>ppt_w</p:attrName>
                                        </p:attrNameLst>
                                      </p:cBhvr>
                                      <p:tavLst>
                                        <p:tav tm="0">
                                          <p:val>
                                            <p:strVal val="2/3*#ppt_w"/>
                                          </p:val>
                                        </p:tav>
                                        <p:tav tm="100000">
                                          <p:val>
                                            <p:strVal val="#ppt_w"/>
                                          </p:val>
                                        </p:tav>
                                      </p:tavLst>
                                    </p:anim>
                                    <p:anim from="0" to="0" calcmode="lin" valueType="num">
                                      <p:cBhvr additive="base" accumulate="none">
                                        <p:cTn id="48" dur="300" fill="hold"/>
                                        <p:tgtEl>
                                          <p:spTgt spid="176"/>
                                        </p:tgtEl>
                                        <p:attrNameLst>
                                          <p:attrName>ppt_h</p:attrName>
                                        </p:attrNameLst>
                                      </p:cBhvr>
                                      <p:tavLst>
                                        <p:tav tm="0">
                                          <p:val>
                                            <p:strVal val="2/3*#ppt_h"/>
                                          </p:val>
                                        </p:tav>
                                        <p:tav tm="100000">
                                          <p:val>
                                            <p:strVal val="#ppt_h"/>
                                          </p:val>
                                        </p:tav>
                                      </p:tavLst>
                                    </p:anim>
                                  </p:childTnLst>
                                </p:cTn>
                              </p:par>
                              <p:par>
                                <p:cTn id="49" presetID="23" presetClass="entr" presetSubtype="16" repeatDur="0" restart="never" fill="hold" grpId="0" nodeType="withEffect">
                                  <p:stCondLst>
                                    <p:cond delay="0"/>
                                  </p:stCondLst>
                                  <p:childTnLst>
                                    <p:set>
                                      <p:cBhvr additive="base" accumulate="none">
                                        <p:cTn id="50" dur="1" fill="hold">
                                          <p:stCondLst>
                                            <p:cond delay="0"/>
                                          </p:stCondLst>
                                        </p:cTn>
                                        <p:tgtEl>
                                          <p:spTgt spid="216"/>
                                        </p:tgtEl>
                                        <p:attrNameLst>
                                          <p:attrName>style.visibility</p:attrName>
                                        </p:attrNameLst>
                                      </p:cBhvr>
                                      <p:to>
                                        <p:strVal val="visible"/>
                                      </p:to>
                                    </p:set>
                                    <p:anim from="0" to="0" calcmode="lin" valueType="num">
                                      <p:cBhvr additive="base" accumulate="none">
                                        <p:cTn id="51" dur="300" fill="hold"/>
                                        <p:tgtEl>
                                          <p:spTgt spid="216"/>
                                        </p:tgtEl>
                                        <p:attrNameLst>
                                          <p:attrName>ppt_w</p:attrName>
                                        </p:attrNameLst>
                                      </p:cBhvr>
                                      <p:tavLst>
                                        <p:tav tm="0">
                                          <p:val>
                                            <p:strVal val="2/3*#ppt_w"/>
                                          </p:val>
                                        </p:tav>
                                        <p:tav tm="100000">
                                          <p:val>
                                            <p:strVal val="#ppt_w"/>
                                          </p:val>
                                        </p:tav>
                                      </p:tavLst>
                                    </p:anim>
                                    <p:anim from="0" to="0" calcmode="lin" valueType="num">
                                      <p:cBhvr additive="base" accumulate="none">
                                        <p:cTn id="52" dur="300" fill="hold"/>
                                        <p:tgtEl>
                                          <p:spTgt spid="216"/>
                                        </p:tgtEl>
                                        <p:attrNameLst>
                                          <p:attrName>ppt_h</p:attrName>
                                        </p:attrNameLst>
                                      </p:cBhvr>
                                      <p:tavLst>
                                        <p:tav tm="0">
                                          <p:val>
                                            <p:strVal val="2/3*#ppt_h"/>
                                          </p:val>
                                        </p:tav>
                                        <p:tav tm="100000">
                                          <p:val>
                                            <p:strVal val="#ppt_h"/>
                                          </p:val>
                                        </p:tav>
                                      </p:tavLst>
                                    </p:anim>
                                  </p:childTnLst>
                                </p:cTn>
                              </p:par>
                              <p:par>
                                <p:cTn id="53" presetID="23" presetClass="entr" presetSubtype="16" repeatDur="0" restart="never" fill="hold" grpId="0" nodeType="withEffect">
                                  <p:stCondLst>
                                    <p:cond delay="0"/>
                                  </p:stCondLst>
                                  <p:childTnLst>
                                    <p:set>
                                      <p:cBhvr additive="base" accumulate="none">
                                        <p:cTn id="54" dur="1" fill="hold">
                                          <p:stCondLst>
                                            <p:cond delay="0"/>
                                          </p:stCondLst>
                                        </p:cTn>
                                        <p:tgtEl>
                                          <p:spTgt spid="177"/>
                                        </p:tgtEl>
                                        <p:attrNameLst>
                                          <p:attrName>style.visibility</p:attrName>
                                        </p:attrNameLst>
                                      </p:cBhvr>
                                      <p:to>
                                        <p:strVal val="visible"/>
                                      </p:to>
                                    </p:set>
                                    <p:anim from="0" to="0" calcmode="lin" valueType="num">
                                      <p:cBhvr additive="base" accumulate="none">
                                        <p:cTn id="55" dur="300" fill="hold"/>
                                        <p:tgtEl>
                                          <p:spTgt spid="177"/>
                                        </p:tgtEl>
                                        <p:attrNameLst>
                                          <p:attrName>ppt_w</p:attrName>
                                        </p:attrNameLst>
                                      </p:cBhvr>
                                      <p:tavLst>
                                        <p:tav tm="0">
                                          <p:val>
                                            <p:strVal val="2/3*#ppt_w"/>
                                          </p:val>
                                        </p:tav>
                                        <p:tav tm="100000">
                                          <p:val>
                                            <p:strVal val="#ppt_w"/>
                                          </p:val>
                                        </p:tav>
                                      </p:tavLst>
                                    </p:anim>
                                    <p:anim from="0" to="0" calcmode="lin" valueType="num">
                                      <p:cBhvr additive="base" accumulate="none">
                                        <p:cTn id="56" dur="300" fill="hold"/>
                                        <p:tgtEl>
                                          <p:spTgt spid="177"/>
                                        </p:tgtEl>
                                        <p:attrNameLst>
                                          <p:attrName>ppt_h</p:attrName>
                                        </p:attrNameLst>
                                      </p:cBhvr>
                                      <p:tavLst>
                                        <p:tav tm="0">
                                          <p:val>
                                            <p:strVal val="2/3*#ppt_h"/>
                                          </p:val>
                                        </p:tav>
                                        <p:tav tm="100000">
                                          <p:val>
                                            <p:strVal val="#ppt_h"/>
                                          </p:val>
                                        </p:tav>
                                      </p:tavLst>
                                    </p:anim>
                                  </p:childTnLst>
                                </p:cTn>
                              </p:par>
                              <p:par>
                                <p:cTn id="57" presetID="23" presetClass="entr" presetSubtype="16" repeatDur="0" restart="never" fill="hold" grpId="0" nodeType="withEffect">
                                  <p:stCondLst>
                                    <p:cond delay="0"/>
                                  </p:stCondLst>
                                  <p:childTnLst>
                                    <p:set>
                                      <p:cBhvr additive="base" accumulate="none">
                                        <p:cTn id="58" dur="1" fill="hold">
                                          <p:stCondLst>
                                            <p:cond delay="0"/>
                                          </p:stCondLst>
                                        </p:cTn>
                                        <p:tgtEl>
                                          <p:spTgt spid="178"/>
                                        </p:tgtEl>
                                        <p:attrNameLst>
                                          <p:attrName>style.visibility</p:attrName>
                                        </p:attrNameLst>
                                      </p:cBhvr>
                                      <p:to>
                                        <p:strVal val="visible"/>
                                      </p:to>
                                    </p:set>
                                    <p:anim from="0" to="0" calcmode="lin" valueType="num">
                                      <p:cBhvr additive="base" accumulate="none">
                                        <p:cTn id="59" dur="300" fill="hold"/>
                                        <p:tgtEl>
                                          <p:spTgt spid="178"/>
                                        </p:tgtEl>
                                        <p:attrNameLst>
                                          <p:attrName>ppt_w</p:attrName>
                                        </p:attrNameLst>
                                      </p:cBhvr>
                                      <p:tavLst>
                                        <p:tav tm="0">
                                          <p:val>
                                            <p:strVal val="2/3*#ppt_w"/>
                                          </p:val>
                                        </p:tav>
                                        <p:tav tm="100000">
                                          <p:val>
                                            <p:strVal val="#ppt_w"/>
                                          </p:val>
                                        </p:tav>
                                      </p:tavLst>
                                    </p:anim>
                                    <p:anim from="0" to="0" calcmode="lin" valueType="num">
                                      <p:cBhvr additive="base" accumulate="none">
                                        <p:cTn id="60" dur="300" fill="hold"/>
                                        <p:tgtEl>
                                          <p:spTgt spid="178"/>
                                        </p:tgtEl>
                                        <p:attrNameLst>
                                          <p:attrName>ppt_h</p:attrName>
                                        </p:attrNameLst>
                                      </p:cBhvr>
                                      <p:tavLst>
                                        <p:tav tm="0">
                                          <p:val>
                                            <p:strVal val="2/3*#ppt_h"/>
                                          </p:val>
                                        </p:tav>
                                        <p:tav tm="100000">
                                          <p:val>
                                            <p:strVal val="#ppt_h"/>
                                          </p:val>
                                        </p:tav>
                                      </p:tavLst>
                                    </p:anim>
                                  </p:childTnLst>
                                </p:cTn>
                              </p:par>
                              <p:par>
                                <p:cTn id="61" presetID="23" presetClass="entr" presetSubtype="16" repeatDur="0" restart="never" fill="hold" grpId="0" nodeType="withEffect">
                                  <p:stCondLst>
                                    <p:cond delay="0"/>
                                  </p:stCondLst>
                                  <p:childTnLst>
                                    <p:set>
                                      <p:cBhvr additive="base" accumulate="none">
                                        <p:cTn id="62" dur="1" fill="hold">
                                          <p:stCondLst>
                                            <p:cond delay="0"/>
                                          </p:stCondLst>
                                        </p:cTn>
                                        <p:tgtEl>
                                          <p:spTgt spid="239"/>
                                        </p:tgtEl>
                                        <p:attrNameLst>
                                          <p:attrName>style.visibility</p:attrName>
                                        </p:attrNameLst>
                                      </p:cBhvr>
                                      <p:to>
                                        <p:strVal val="visible"/>
                                      </p:to>
                                    </p:set>
                                    <p:anim from="0" to="0" calcmode="lin" valueType="num">
                                      <p:cBhvr additive="base" accumulate="none">
                                        <p:cTn id="63" dur="300" fill="hold"/>
                                        <p:tgtEl>
                                          <p:spTgt spid="239"/>
                                        </p:tgtEl>
                                        <p:attrNameLst>
                                          <p:attrName>ppt_w</p:attrName>
                                        </p:attrNameLst>
                                      </p:cBhvr>
                                      <p:tavLst>
                                        <p:tav tm="0">
                                          <p:val>
                                            <p:strVal val="2/3*#ppt_w"/>
                                          </p:val>
                                        </p:tav>
                                        <p:tav tm="100000">
                                          <p:val>
                                            <p:strVal val="#ppt_w"/>
                                          </p:val>
                                        </p:tav>
                                      </p:tavLst>
                                    </p:anim>
                                    <p:anim from="0" to="0" calcmode="lin" valueType="num">
                                      <p:cBhvr additive="base" accumulate="none">
                                        <p:cTn id="64" dur="300" fill="hold"/>
                                        <p:tgtEl>
                                          <p:spTgt spid="239"/>
                                        </p:tgtEl>
                                        <p:attrNameLst>
                                          <p:attrName>ppt_h</p:attrName>
                                        </p:attrNameLst>
                                      </p:cBhvr>
                                      <p:tavLst>
                                        <p:tav tm="0">
                                          <p:val>
                                            <p:strVal val="2/3*#ppt_h"/>
                                          </p:val>
                                        </p:tav>
                                        <p:tav tm="100000">
                                          <p:val>
                                            <p:strVal val="#ppt_h"/>
                                          </p:val>
                                        </p:tav>
                                      </p:tavLst>
                                    </p:anim>
                                  </p:childTnLst>
                                </p:cTn>
                              </p:par>
                              <p:par>
                                <p:cTn id="65" presetID="23" presetClass="entr" presetSubtype="16" repeatDur="0" restart="never" fill="hold" grpId="0" nodeType="withEffect">
                                  <p:stCondLst>
                                    <p:cond delay="0"/>
                                  </p:stCondLst>
                                  <p:childTnLst>
                                    <p:set>
                                      <p:cBhvr additive="base" accumulate="none">
                                        <p:cTn id="66" dur="1" fill="hold">
                                          <p:stCondLst>
                                            <p:cond delay="0"/>
                                          </p:stCondLst>
                                        </p:cTn>
                                        <p:tgtEl>
                                          <p:spTgt spid="214"/>
                                        </p:tgtEl>
                                        <p:attrNameLst>
                                          <p:attrName>style.visibility</p:attrName>
                                        </p:attrNameLst>
                                      </p:cBhvr>
                                      <p:to>
                                        <p:strVal val="visible"/>
                                      </p:to>
                                    </p:set>
                                    <p:anim from="0" to="0" calcmode="lin" valueType="num">
                                      <p:cBhvr additive="base" accumulate="none">
                                        <p:cTn id="67" dur="300" fill="hold"/>
                                        <p:tgtEl>
                                          <p:spTgt spid="214"/>
                                        </p:tgtEl>
                                        <p:attrNameLst>
                                          <p:attrName>ppt_w</p:attrName>
                                        </p:attrNameLst>
                                      </p:cBhvr>
                                      <p:tavLst>
                                        <p:tav tm="0">
                                          <p:val>
                                            <p:strVal val="2/3*#ppt_w"/>
                                          </p:val>
                                        </p:tav>
                                        <p:tav tm="100000">
                                          <p:val>
                                            <p:strVal val="#ppt_w"/>
                                          </p:val>
                                        </p:tav>
                                      </p:tavLst>
                                    </p:anim>
                                    <p:anim from="0" to="0" calcmode="lin" valueType="num">
                                      <p:cBhvr additive="base" accumulate="none">
                                        <p:cTn id="68" dur="300" fill="hold"/>
                                        <p:tgtEl>
                                          <p:spTgt spid="214"/>
                                        </p:tgtEl>
                                        <p:attrNameLst>
                                          <p:attrName>ppt_h</p:attrName>
                                        </p:attrNameLst>
                                      </p:cBhvr>
                                      <p:tavLst>
                                        <p:tav tm="0">
                                          <p:val>
                                            <p:strVal val="2/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6" grpId="0" animBg="1" autoUpdateAnimBg="0"/>
      <p:bldP spid="177" grpId="0" animBg="1" autoUpdateAnimBg="0"/>
      <p:bldP spid="178" grpId="0" animBg="1" autoUpdateAnimBg="0"/>
      <p:bldP spid="180" grpId="0" animBg="1" autoUpdateAnimBg="0"/>
      <p:bldP spid="181" grpId="0" animBg="1" autoUpdateAnimBg="0"/>
      <p:bldP spid="182" grpId="0" animBg="1" autoUpdateAnimBg="0"/>
      <p:bldP spid="210" grpId="0" animBg="1" autoUpdateAnimBg="0"/>
      <p:bldP spid="184" grpId="0" animBg="1" autoUpdateAnimBg="0"/>
      <p:bldP spid="228" grpId="0" animBg="1" autoUpdateAnimBg="0"/>
      <p:bldP spid="223" grpId="0" animBg="1" autoUpdateAnimBg="0"/>
      <p:bldP spid="221" grpId="0" animBg="1" autoUpdateAnimBg="0"/>
      <p:bldP spid="214" grpId="0" animBg="1" autoUpdateAnimBg="0"/>
      <p:bldP spid="216" grpId="0" animBg="1" autoUpdateAnimBg="0"/>
      <p:bldP spid="215" grpId="0" animBg="1" autoUpdateAnimBg="0"/>
      <p:bldP spid="220" grpId="0" animBg="1" autoUpdateAnimBg="0"/>
      <p:bldP spid="239" grpId="0" animBg="1"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32182AD-5A40-4C84-8769-92A42404B0FB}"/>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832182AD-5A40-4C84-8769-92A42404B0FB}"/>
                          </a:ext>
                        </a:extLst>
                      </p:cNvPr>
                      <p:cNvPicPr/>
                      <p:nvPr/>
                    </p:nvPicPr>
                    <p:blipFill>
                      <a:blip r:embed="rId7"/>
                      <a:stretch>
                        <a:fillRect/>
                      </a:stretch>
                    </p:blipFill>
                    <p:spPr>
                      <a:xfrm>
                        <a:off x="1296988" y="1588"/>
                        <a:ext cx="1588" cy="1588"/>
                      </a:xfrm>
                      <a:prstGeom prst="rect">
                        <a:avLst/>
                      </a:prstGeom>
                    </p:spPr>
                  </p:pic>
                </p:oleObj>
              </mc:Fallback>
            </mc:AlternateContent>
          </a:graphicData>
        </a:graphic>
      </p:graphicFrame>
      <p:pic>
        <p:nvPicPr>
          <p:cNvPr id="49" name="Picture Placeholder 29" descr="A picture containing way, road, highway&#10;&#10;Description automatically generated">
            <a:extLst>
              <a:ext uri="{FF2B5EF4-FFF2-40B4-BE49-F238E27FC236}">
                <a16:creationId xmlns:a16="http://schemas.microsoft.com/office/drawing/2014/main" id="{D62334E3-2E46-45B3-AFC7-0CD4BA6F3BF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flipH="1">
            <a:off x="6284681" y="2007221"/>
            <a:ext cx="5441459" cy="4398775"/>
          </a:xfrm>
          <a:prstGeom prst="rect">
            <a:avLst/>
          </a:prstGeom>
        </p:spPr>
      </p:pic>
      <p:pic>
        <p:nvPicPr>
          <p:cNvPr id="10" name="Picture 9" descr="A city skyline at night&#10;&#10;Description automatically generated with low confidence">
            <a:extLst>
              <a:ext uri="{FF2B5EF4-FFF2-40B4-BE49-F238E27FC236}">
                <a16:creationId xmlns:a16="http://schemas.microsoft.com/office/drawing/2014/main" id="{5EBDFF95-3B1B-CF8E-AB19-2CF8321B3E2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73344" y="1865494"/>
            <a:ext cx="5433976" cy="4540502"/>
          </a:xfrm>
          <a:prstGeom prst="rect">
            <a:avLst/>
          </a:prstGeom>
        </p:spPr>
      </p:pic>
      <p:pic>
        <p:nvPicPr>
          <p:cNvPr id="40" name="Picture 39">
            <a:extLst>
              <a:ext uri="{FF2B5EF4-FFF2-40B4-BE49-F238E27FC236}">
                <a16:creationId xmlns:a16="http://schemas.microsoft.com/office/drawing/2014/main" id="{EC93A671-599D-5F2F-1030-830B07AD5B90}"/>
              </a:ext>
            </a:extLst>
          </p:cNvPr>
          <p:cNvPicPr>
            <a:picLocks noChangeAspect="1"/>
          </p:cNvPicPr>
          <p:nvPr/>
        </p:nvPicPr>
        <p:blipFill>
          <a:blip r:embed="rId10"/>
          <a:stretch>
            <a:fillRect/>
          </a:stretch>
        </p:blipFill>
        <p:spPr>
          <a:xfrm>
            <a:off x="459759" y="1862423"/>
            <a:ext cx="11272481" cy="3664014"/>
          </a:xfrm>
          <a:prstGeom prst="rect">
            <a:avLst/>
          </a:prstGeom>
        </p:spPr>
      </p:pic>
      <p:sp>
        <p:nvSpPr>
          <p:cNvPr id="5" name="Rectangle 4" hidden="1">
            <a:extLst>
              <a:ext uri="{FF2B5EF4-FFF2-40B4-BE49-F238E27FC236}">
                <a16:creationId xmlns:a16="http://schemas.microsoft.com/office/drawing/2014/main" id="{F0C0D938-729F-46EF-8DA8-F2C4590E5D51}"/>
              </a:ext>
            </a:extLst>
          </p:cNvPr>
          <p:cNvSpPr/>
          <p:nvPr>
            <p:custDataLst>
              <p:tags r:id="rId2"/>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 name="Rectangle 1" hidden="1">
            <a:extLst>
              <a:ext uri="{FF2B5EF4-FFF2-40B4-BE49-F238E27FC236}">
                <a16:creationId xmlns:a16="http://schemas.microsoft.com/office/drawing/2014/main" id="{F2FE1E90-B616-47D6-8EB1-A757D38B0721}"/>
              </a:ext>
            </a:extLst>
          </p:cNvPr>
          <p:cNvSpPr/>
          <p:nvPr>
            <p:custDataLst>
              <p:tags r:id="rId3"/>
            </p:custDataLst>
          </p:nvPr>
        </p:nvSpPr>
        <p:spPr>
          <a:xfrm>
            <a:off x="129540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73" name="Rectangle 72">
            <a:extLst>
              <a:ext uri="{FF2B5EF4-FFF2-40B4-BE49-F238E27FC236}">
                <a16:creationId xmlns:a16="http://schemas.microsoft.com/office/drawing/2014/main" id="{62E931F7-3CCE-4552-A3E5-938F7E76ACBC}"/>
              </a:ext>
            </a:extLst>
          </p:cNvPr>
          <p:cNvSpPr>
            <a:spLocks/>
          </p:cNvSpPr>
          <p:nvPr/>
        </p:nvSpPr>
        <p:spPr>
          <a:xfrm>
            <a:off x="6284683" y="1397822"/>
            <a:ext cx="2901727" cy="369332"/>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sz="2400" b="1" kern="0">
                <a:solidFill>
                  <a:schemeClr val="accent1"/>
                </a:solidFill>
                <a:latin typeface="+mj-lt"/>
                <a:cs typeface="Calibri" panose="020F0502020204030204" pitchFamily="34" charset="0"/>
              </a:rPr>
              <a:t>Amplified Volatility </a:t>
            </a:r>
          </a:p>
        </p:txBody>
      </p:sp>
      <p:sp>
        <p:nvSpPr>
          <p:cNvPr id="48" name="Rectangle 47">
            <a:extLst>
              <a:ext uri="{FF2B5EF4-FFF2-40B4-BE49-F238E27FC236}">
                <a16:creationId xmlns:a16="http://schemas.microsoft.com/office/drawing/2014/main" id="{CE09DC68-0471-4E6E-B6A5-AD58F3DCA7F1}"/>
              </a:ext>
            </a:extLst>
          </p:cNvPr>
          <p:cNvSpPr>
            <a:spLocks/>
          </p:cNvSpPr>
          <p:nvPr/>
        </p:nvSpPr>
        <p:spPr>
          <a:xfrm>
            <a:off x="481793" y="1397822"/>
            <a:ext cx="2785386" cy="369332"/>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sz="2400" b="1" kern="0">
                <a:solidFill>
                  <a:schemeClr val="accent1"/>
                </a:solidFill>
                <a:latin typeface="+mj-lt"/>
                <a:cs typeface="Calibri" panose="020F0502020204030204" pitchFamily="34" charset="0"/>
              </a:rPr>
              <a:t>New world order</a:t>
            </a:r>
          </a:p>
        </p:txBody>
      </p:sp>
      <p:sp>
        <p:nvSpPr>
          <p:cNvPr id="9" name="Title 8">
            <a:extLst>
              <a:ext uri="{FF2B5EF4-FFF2-40B4-BE49-F238E27FC236}">
                <a16:creationId xmlns:a16="http://schemas.microsoft.com/office/drawing/2014/main" id="{FFF7D320-9C7C-4925-9087-CDFD95C91D4D}"/>
              </a:ext>
            </a:extLst>
          </p:cNvPr>
          <p:cNvSpPr>
            <a:spLocks noGrp="1"/>
          </p:cNvSpPr>
          <p:nvPr>
            <p:ph type="title"/>
          </p:nvPr>
        </p:nvSpPr>
        <p:spPr>
          <a:xfrm>
            <a:off x="457199" y="380253"/>
            <a:ext cx="10905423" cy="766542"/>
          </a:xfrm>
        </p:spPr>
        <p:txBody>
          <a:bodyPr vert="horz"/>
          <a:lstStyle/>
          <a:p>
            <a:r>
              <a:rPr lang="en-GB"/>
              <a:t>8 </a:t>
            </a:r>
            <a:r>
              <a:rPr lang="en-GB">
                <a:cs typeface="Calibri" panose="020F0502020204030204" pitchFamily="34" charset="0"/>
              </a:rPr>
              <a:t>major disruptions </a:t>
            </a:r>
            <a:r>
              <a:rPr lang="en-GB">
                <a:solidFill>
                  <a:srgbClr val="8096B2"/>
                </a:solidFill>
                <a:cs typeface="Calibri" panose="020F0502020204030204" pitchFamily="34" charset="0"/>
              </a:rPr>
              <a:t>To manage Simultaneously</a:t>
            </a:r>
            <a:endParaRPr lang="en-GB">
              <a:solidFill>
                <a:srgbClr val="8096B2"/>
              </a:solidFill>
              <a:highlight>
                <a:srgbClr val="FFFF00"/>
              </a:highlight>
              <a:cs typeface="Calibri" panose="020F0502020204030204" pitchFamily="34" charset="0"/>
            </a:endParaRPr>
          </a:p>
        </p:txBody>
      </p:sp>
      <p:pic>
        <p:nvPicPr>
          <p:cNvPr id="17" name="Picture 16">
            <a:extLst>
              <a:ext uri="{FF2B5EF4-FFF2-40B4-BE49-F238E27FC236}">
                <a16:creationId xmlns:a16="http://schemas.microsoft.com/office/drawing/2014/main" id="{AC5C2861-9700-95C1-FFC5-7372B253998F}"/>
              </a:ext>
            </a:extLst>
          </p:cNvPr>
          <p:cNvPicPr>
            <a:picLocks noChangeAspect="1"/>
          </p:cNvPicPr>
          <p:nvPr/>
        </p:nvPicPr>
        <p:blipFill>
          <a:blip r:embed="rId11"/>
          <a:stretch>
            <a:fillRect/>
          </a:stretch>
        </p:blipFill>
        <p:spPr>
          <a:xfrm>
            <a:off x="333762" y="4101897"/>
            <a:ext cx="11723624" cy="182896"/>
          </a:xfrm>
          <a:prstGeom prst="rect">
            <a:avLst/>
          </a:prstGeom>
        </p:spPr>
      </p:pic>
      <p:pic>
        <p:nvPicPr>
          <p:cNvPr id="18" name="Picture 17">
            <a:extLst>
              <a:ext uri="{FF2B5EF4-FFF2-40B4-BE49-F238E27FC236}">
                <a16:creationId xmlns:a16="http://schemas.microsoft.com/office/drawing/2014/main" id="{5BD81A4E-A4FD-C9F9-E671-9C886516522D}"/>
              </a:ext>
            </a:extLst>
          </p:cNvPr>
          <p:cNvPicPr>
            <a:picLocks noChangeAspect="1"/>
          </p:cNvPicPr>
          <p:nvPr/>
        </p:nvPicPr>
        <p:blipFill>
          <a:blip r:embed="rId12"/>
          <a:stretch>
            <a:fillRect/>
          </a:stretch>
        </p:blipFill>
        <p:spPr>
          <a:xfrm>
            <a:off x="8870342" y="1845830"/>
            <a:ext cx="176799" cy="4608975"/>
          </a:xfrm>
          <a:prstGeom prst="rect">
            <a:avLst/>
          </a:prstGeom>
        </p:spPr>
      </p:pic>
      <p:pic>
        <p:nvPicPr>
          <p:cNvPr id="19" name="Picture 18">
            <a:extLst>
              <a:ext uri="{FF2B5EF4-FFF2-40B4-BE49-F238E27FC236}">
                <a16:creationId xmlns:a16="http://schemas.microsoft.com/office/drawing/2014/main" id="{0C11C45E-DABC-4D0C-882E-0175FF865EE5}"/>
              </a:ext>
            </a:extLst>
          </p:cNvPr>
          <p:cNvPicPr>
            <a:picLocks noChangeAspect="1"/>
          </p:cNvPicPr>
          <p:nvPr/>
        </p:nvPicPr>
        <p:blipFill>
          <a:blip r:embed="rId12"/>
          <a:stretch>
            <a:fillRect/>
          </a:stretch>
        </p:blipFill>
        <p:spPr>
          <a:xfrm>
            <a:off x="3051136" y="1845830"/>
            <a:ext cx="176799" cy="4608975"/>
          </a:xfrm>
          <a:prstGeom prst="rect">
            <a:avLst/>
          </a:prstGeom>
        </p:spPr>
      </p:pic>
      <p:sp>
        <p:nvSpPr>
          <p:cNvPr id="24" name="Ghost">
            <a:extLst>
              <a:ext uri="{FF2B5EF4-FFF2-40B4-BE49-F238E27FC236}">
                <a16:creationId xmlns:a16="http://schemas.microsoft.com/office/drawing/2014/main" id="{446EFE64-F412-435E-9D8A-BB174162B440}"/>
              </a:ext>
            </a:extLst>
          </p:cNvPr>
          <p:cNvSpPr/>
          <p:nvPr/>
        </p:nvSpPr>
        <p:spPr>
          <a:xfrm>
            <a:off x="457200" y="107385"/>
            <a:ext cx="257121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Understanding the perma-crisis environment</a:t>
            </a:r>
          </a:p>
        </p:txBody>
      </p:sp>
      <p:sp>
        <p:nvSpPr>
          <p:cNvPr id="4" name="TextBox 3">
            <a:extLst>
              <a:ext uri="{FF2B5EF4-FFF2-40B4-BE49-F238E27FC236}">
                <a16:creationId xmlns:a16="http://schemas.microsoft.com/office/drawing/2014/main" id="{DA7690BC-8C1A-4948-354A-6501C70474F2}"/>
              </a:ext>
            </a:extLst>
          </p:cNvPr>
          <p:cNvSpPr txBox="1"/>
          <p:nvPr/>
        </p:nvSpPr>
        <p:spPr>
          <a:xfrm>
            <a:off x="3204997" y="1898161"/>
            <a:ext cx="2172373" cy="369332"/>
          </a:xfrm>
          <a:prstGeom prst="rect">
            <a:avLst/>
          </a:prstGeom>
          <a:noFill/>
        </p:spPr>
        <p:txBody>
          <a:bodyPr wrap="square">
            <a:spAutoFit/>
          </a:bodyPr>
          <a:lstStyle/>
          <a:p>
            <a:r>
              <a:rPr lang="en-GB" b="1" kern="0">
                <a:latin typeface="MMC Display Condensed"/>
                <a:cs typeface="Calibri" panose="020F0502020204030204" pitchFamily="34" charset="0"/>
              </a:rPr>
              <a:t>Protectionism</a:t>
            </a:r>
          </a:p>
        </p:txBody>
      </p:sp>
      <p:sp>
        <p:nvSpPr>
          <p:cNvPr id="6" name="TextBox 5">
            <a:extLst>
              <a:ext uri="{FF2B5EF4-FFF2-40B4-BE49-F238E27FC236}">
                <a16:creationId xmlns:a16="http://schemas.microsoft.com/office/drawing/2014/main" id="{D0DCAF2D-6D7C-63F0-CB65-77AB0A20BC59}"/>
              </a:ext>
            </a:extLst>
          </p:cNvPr>
          <p:cNvSpPr txBox="1"/>
          <p:nvPr/>
        </p:nvSpPr>
        <p:spPr>
          <a:xfrm>
            <a:off x="460833" y="4280864"/>
            <a:ext cx="1833158" cy="3722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kern="0">
                <a:latin typeface="MMC Display Condensed"/>
                <a:cs typeface="Calibri" panose="020F0502020204030204" pitchFamily="34" charset="0"/>
              </a:rPr>
              <a:t>China’s dilemma</a:t>
            </a:r>
            <a:endParaRPr kumimoji="0" lang="en-GB" b="1" i="0" u="none" strike="noStrike" kern="0" cap="none" spc="0" normalizeH="0" baseline="0" noProof="0">
              <a:ln>
                <a:noFill/>
              </a:ln>
              <a:effectLst/>
              <a:uLnTx/>
              <a:uFillTx/>
              <a:latin typeface="MMC Display Condensed"/>
              <a:cs typeface="Calibri" panose="020F0502020204030204" pitchFamily="34" charset="0"/>
            </a:endParaRPr>
          </a:p>
        </p:txBody>
      </p:sp>
      <p:sp>
        <p:nvSpPr>
          <p:cNvPr id="8" name="TextBox 7">
            <a:extLst>
              <a:ext uri="{FF2B5EF4-FFF2-40B4-BE49-F238E27FC236}">
                <a16:creationId xmlns:a16="http://schemas.microsoft.com/office/drawing/2014/main" id="{D7F7306C-FE1C-405B-9B81-0BBF3646A8C1}"/>
              </a:ext>
            </a:extLst>
          </p:cNvPr>
          <p:cNvSpPr txBox="1"/>
          <p:nvPr/>
        </p:nvSpPr>
        <p:spPr>
          <a:xfrm>
            <a:off x="9026633" y="4280864"/>
            <a:ext cx="1932051" cy="369332"/>
          </a:xfrm>
          <a:prstGeom prst="rect">
            <a:avLst/>
          </a:prstGeom>
          <a:noFill/>
        </p:spPr>
        <p:txBody>
          <a:bodyPr wrap="square">
            <a:spAutoFit/>
          </a:bodyPr>
          <a:lstStyle/>
          <a:p>
            <a:r>
              <a:rPr lang="en-GB" b="1" kern="0">
                <a:latin typeface="MMC Display Condensed"/>
                <a:cs typeface="Calibri" panose="020F0502020204030204" pitchFamily="34" charset="0"/>
              </a:rPr>
              <a:t>Talent challenge</a:t>
            </a:r>
            <a:endParaRPr kumimoji="0" lang="en-GB" b="1" i="0" u="none" strike="noStrike" kern="0" cap="none" spc="0" normalizeH="0" baseline="0" noProof="0">
              <a:ln>
                <a:noFill/>
              </a:ln>
              <a:effectLst/>
              <a:uLnTx/>
              <a:uFillTx/>
              <a:latin typeface="MMC Display Condensed"/>
              <a:cs typeface="Calibri" panose="020F0502020204030204" pitchFamily="34" charset="0"/>
            </a:endParaRPr>
          </a:p>
        </p:txBody>
      </p:sp>
      <p:sp>
        <p:nvSpPr>
          <p:cNvPr id="11" name="TextBox 10">
            <a:extLst>
              <a:ext uri="{FF2B5EF4-FFF2-40B4-BE49-F238E27FC236}">
                <a16:creationId xmlns:a16="http://schemas.microsoft.com/office/drawing/2014/main" id="{0BEB1AE6-0738-E31B-888B-A4F4B03F4198}"/>
              </a:ext>
            </a:extLst>
          </p:cNvPr>
          <p:cNvSpPr txBox="1"/>
          <p:nvPr/>
        </p:nvSpPr>
        <p:spPr>
          <a:xfrm>
            <a:off x="9023835" y="1898161"/>
            <a:ext cx="2700001" cy="381452"/>
          </a:xfrm>
          <a:prstGeom prst="rect">
            <a:avLst/>
          </a:prstGeom>
          <a:noFill/>
        </p:spPr>
        <p:txBody>
          <a:bodyPr wrap="square">
            <a:spAutoFit/>
          </a:bodyPr>
          <a:lstStyle/>
          <a:p>
            <a:r>
              <a:rPr kumimoji="0" lang="en-GB" b="1" i="0" u="none" strike="noStrike" kern="0" cap="none" spc="0" normalizeH="0" baseline="0" noProof="0">
                <a:ln>
                  <a:noFill/>
                </a:ln>
                <a:effectLst/>
                <a:uLnTx/>
                <a:uFillTx/>
                <a:latin typeface="MMC Display Condensed"/>
                <a:ea typeface="+mn-ea"/>
                <a:cs typeface="Calibri" panose="020F0502020204030204" pitchFamily="34" charset="0"/>
              </a:rPr>
              <a:t>Supply multi-disruptions</a:t>
            </a:r>
          </a:p>
        </p:txBody>
      </p:sp>
      <p:sp>
        <p:nvSpPr>
          <p:cNvPr id="12" name="TextBox 11">
            <a:extLst>
              <a:ext uri="{FF2B5EF4-FFF2-40B4-BE49-F238E27FC236}">
                <a16:creationId xmlns:a16="http://schemas.microsoft.com/office/drawing/2014/main" id="{197C3ED6-BDCB-50B6-C985-62F1648A4DDD}"/>
              </a:ext>
            </a:extLst>
          </p:cNvPr>
          <p:cNvSpPr txBox="1"/>
          <p:nvPr/>
        </p:nvSpPr>
        <p:spPr>
          <a:xfrm>
            <a:off x="6263908" y="1898161"/>
            <a:ext cx="2553851" cy="646331"/>
          </a:xfrm>
          <a:prstGeom prst="rect">
            <a:avLst/>
          </a:prstGeom>
          <a:noFill/>
        </p:spPr>
        <p:txBody>
          <a:bodyPr wrap="square">
            <a:spAutoFit/>
          </a:bodyPr>
          <a:lstStyle/>
          <a:p>
            <a:r>
              <a:rPr lang="en-GB" sz="1800" b="1" kern="0">
                <a:latin typeface="MMC Display Condensed"/>
                <a:cs typeface="Calibri" panose="020F0502020204030204" pitchFamily="34" charset="0"/>
              </a:rPr>
              <a:t>Volatile Inflation </a:t>
            </a:r>
            <a:r>
              <a:rPr lang="en-GB" b="1" kern="0">
                <a:latin typeface="MMC Display Condensed"/>
                <a:cs typeface="Calibri" panose="020F0502020204030204" pitchFamily="34" charset="0"/>
              </a:rPr>
              <a:t>&amp; </a:t>
            </a:r>
          </a:p>
          <a:p>
            <a:r>
              <a:rPr lang="en-GB" sz="1800" b="1" kern="0">
                <a:latin typeface="MMC Display Condensed"/>
                <a:cs typeface="Calibri" panose="020F0502020204030204" pitchFamily="34" charset="0"/>
              </a:rPr>
              <a:t>interest rates</a:t>
            </a:r>
            <a:endParaRPr kumimoji="0" lang="en-GB" sz="1800" b="1" i="0" u="none" strike="noStrike" kern="0" cap="none" spc="0" normalizeH="0" baseline="0" noProof="0">
              <a:ln>
                <a:noFill/>
              </a:ln>
              <a:effectLst/>
              <a:uLnTx/>
              <a:uFillTx/>
              <a:latin typeface="MMC Display Condensed"/>
              <a:cs typeface="Calibri" panose="020F0502020204030204" pitchFamily="34" charset="0"/>
            </a:endParaRPr>
          </a:p>
        </p:txBody>
      </p:sp>
      <p:sp>
        <p:nvSpPr>
          <p:cNvPr id="13" name="TextBox 12">
            <a:extLst>
              <a:ext uri="{FF2B5EF4-FFF2-40B4-BE49-F238E27FC236}">
                <a16:creationId xmlns:a16="http://schemas.microsoft.com/office/drawing/2014/main" id="{8DC5CE11-BDC4-9881-9F7C-B7A8E6D358C5}"/>
              </a:ext>
            </a:extLst>
          </p:cNvPr>
          <p:cNvSpPr txBox="1"/>
          <p:nvPr/>
        </p:nvSpPr>
        <p:spPr>
          <a:xfrm>
            <a:off x="457200" y="1898161"/>
            <a:ext cx="2494724" cy="369332"/>
          </a:xfrm>
          <a:prstGeom prst="rect">
            <a:avLst/>
          </a:prstGeom>
          <a:noFill/>
        </p:spPr>
        <p:txBody>
          <a:bodyPr wrap="square">
            <a:spAutoFit/>
          </a:bodyPr>
          <a:lstStyle/>
          <a:p>
            <a:r>
              <a:rPr lang="en-GB" b="1" kern="0">
                <a:latin typeface="MMC Display Condensed"/>
                <a:cs typeface="Calibri" panose="020F0502020204030204" pitchFamily="34" charset="0"/>
              </a:rPr>
              <a:t>Geopolitical Reshaping</a:t>
            </a:r>
            <a:endParaRPr kumimoji="0" lang="en-GB" b="1" i="0" u="none" strike="noStrike" kern="0" cap="none" spc="0" normalizeH="0" baseline="0" noProof="0">
              <a:ln>
                <a:noFill/>
              </a:ln>
              <a:effectLst/>
              <a:uLnTx/>
              <a:uFillTx/>
              <a:latin typeface="MMC Display Condensed"/>
              <a:cs typeface="Calibri" panose="020F0502020204030204" pitchFamily="34" charset="0"/>
            </a:endParaRPr>
          </a:p>
        </p:txBody>
      </p:sp>
      <p:sp>
        <p:nvSpPr>
          <p:cNvPr id="14" name="TextBox 13">
            <a:extLst>
              <a:ext uri="{FF2B5EF4-FFF2-40B4-BE49-F238E27FC236}">
                <a16:creationId xmlns:a16="http://schemas.microsoft.com/office/drawing/2014/main" id="{0D0FAE92-7922-2BF9-81A9-6117551A7ECD}"/>
              </a:ext>
            </a:extLst>
          </p:cNvPr>
          <p:cNvSpPr txBox="1"/>
          <p:nvPr/>
        </p:nvSpPr>
        <p:spPr>
          <a:xfrm>
            <a:off x="6261693" y="4280864"/>
            <a:ext cx="2550476" cy="381452"/>
          </a:xfrm>
          <a:prstGeom prst="rect">
            <a:avLst/>
          </a:prstGeom>
          <a:noFill/>
        </p:spPr>
        <p:txBody>
          <a:bodyPr wrap="square">
            <a:spAutoFit/>
          </a:bodyPr>
          <a:lstStyle/>
          <a:p>
            <a:r>
              <a:rPr kumimoji="0" lang="en-GB" b="1" i="0" u="none" strike="noStrike" kern="0" cap="none" spc="0" normalizeH="0" baseline="0" noProof="0">
                <a:ln>
                  <a:noFill/>
                </a:ln>
                <a:effectLst/>
                <a:uLnTx/>
                <a:uFillTx/>
                <a:latin typeface="MMC Display Condensed"/>
                <a:ea typeface="+mn-ea"/>
                <a:cs typeface="Calibri" panose="020F0502020204030204" pitchFamily="34" charset="0"/>
              </a:rPr>
              <a:t>AI acceleration</a:t>
            </a:r>
          </a:p>
        </p:txBody>
      </p:sp>
      <p:sp>
        <p:nvSpPr>
          <p:cNvPr id="15" name="TextBox 14">
            <a:extLst>
              <a:ext uri="{FF2B5EF4-FFF2-40B4-BE49-F238E27FC236}">
                <a16:creationId xmlns:a16="http://schemas.microsoft.com/office/drawing/2014/main" id="{8165E446-1843-E8AF-C757-504BBA9456A1}"/>
              </a:ext>
            </a:extLst>
          </p:cNvPr>
          <p:cNvSpPr txBox="1"/>
          <p:nvPr/>
        </p:nvSpPr>
        <p:spPr>
          <a:xfrm>
            <a:off x="3206828" y="4280864"/>
            <a:ext cx="2236850" cy="646331"/>
          </a:xfrm>
          <a:prstGeom prst="rect">
            <a:avLst/>
          </a:prstGeom>
          <a:noFill/>
        </p:spPr>
        <p:txBody>
          <a:bodyPr wrap="square">
            <a:spAutoFit/>
          </a:bodyPr>
          <a:lstStyle/>
          <a:p>
            <a:r>
              <a:rPr lang="en-GB" b="1" kern="0">
                <a:latin typeface="MMC Display Condensed"/>
                <a:cs typeface="Calibri" panose="020F0502020204030204" pitchFamily="34" charset="0"/>
              </a:rPr>
              <a:t>Unequal energy &amp; resource crisis</a:t>
            </a:r>
          </a:p>
        </p:txBody>
      </p:sp>
      <p:sp>
        <p:nvSpPr>
          <p:cNvPr id="26" name="TextBox 25">
            <a:extLst>
              <a:ext uri="{FF2B5EF4-FFF2-40B4-BE49-F238E27FC236}">
                <a16:creationId xmlns:a16="http://schemas.microsoft.com/office/drawing/2014/main" id="{5A23DD01-FA90-E8A3-2705-6D8DC3AD1AF2}"/>
              </a:ext>
            </a:extLst>
          </p:cNvPr>
          <p:cNvSpPr txBox="1"/>
          <p:nvPr/>
        </p:nvSpPr>
        <p:spPr>
          <a:xfrm>
            <a:off x="452858" y="2176454"/>
            <a:ext cx="2502648" cy="923330"/>
          </a:xfrm>
          <a:prstGeom prst="rect">
            <a:avLst/>
          </a:prstGeom>
          <a:noFill/>
        </p:spPr>
        <p:txBody>
          <a:bodyPr wrap="square">
            <a:spAutoFit/>
          </a:bodyPr>
          <a:lstStyle/>
          <a:p>
            <a:pPr lvl="0">
              <a:defRPr/>
            </a:pPr>
            <a:r>
              <a:rPr kumimoji="0" lang="en-GB" sz="1800" b="0" i="0" u="none" strike="noStrike" kern="0" cap="none" spc="0" normalizeH="0" baseline="0" noProof="0">
                <a:ln>
                  <a:noFill/>
                </a:ln>
                <a:solidFill>
                  <a:srgbClr val="000000"/>
                </a:solidFill>
                <a:effectLst/>
                <a:uLnTx/>
                <a:uFillTx/>
                <a:latin typeface="Calibri"/>
                <a:cs typeface="Calibri" panose="020F0502020204030204" pitchFamily="34" charset="0"/>
              </a:rPr>
              <a:t>block vs multi-alignment, </a:t>
            </a:r>
            <a:r>
              <a:rPr lang="en-GB" kern="0">
                <a:solidFill>
                  <a:srgbClr val="000000"/>
                </a:solidFill>
                <a:cs typeface="Calibri" panose="020F0502020204030204" pitchFamily="34" charset="0"/>
              </a:rPr>
              <a:t>rise of populism</a:t>
            </a:r>
            <a:endParaRPr kumimoji="0" lang="en-GB" sz="1800" b="0" i="0" u="none" strike="noStrike" kern="0" cap="none" spc="0" normalizeH="0" baseline="0" noProof="0">
              <a:ln>
                <a:noFill/>
              </a:ln>
              <a:solidFill>
                <a:srgbClr val="000000"/>
              </a:solidFill>
              <a:effectLst/>
              <a:uLnTx/>
              <a:uFillTx/>
              <a:latin typeface="Calibri"/>
              <a:cs typeface="Calibri" panose="020F0502020204030204" pitchFamily="34" charset="0"/>
            </a:endParaRPr>
          </a:p>
        </p:txBody>
      </p:sp>
      <p:sp>
        <p:nvSpPr>
          <p:cNvPr id="27" name="TextBox 26">
            <a:extLst>
              <a:ext uri="{FF2B5EF4-FFF2-40B4-BE49-F238E27FC236}">
                <a16:creationId xmlns:a16="http://schemas.microsoft.com/office/drawing/2014/main" id="{040F5F40-088F-A693-A828-E5DE00C624C7}"/>
              </a:ext>
            </a:extLst>
          </p:cNvPr>
          <p:cNvSpPr txBox="1"/>
          <p:nvPr/>
        </p:nvSpPr>
        <p:spPr>
          <a:xfrm>
            <a:off x="3234333" y="2176454"/>
            <a:ext cx="2502648" cy="646331"/>
          </a:xfrm>
          <a:prstGeom prst="rect">
            <a:avLst/>
          </a:prstGeom>
          <a:noFill/>
        </p:spPr>
        <p:txBody>
          <a:bodyPr wrap="square">
            <a:spAutoFit/>
          </a:bodyPr>
          <a:lstStyle/>
          <a:p>
            <a:r>
              <a:rPr lang="en-GB" kern="0">
                <a:solidFill>
                  <a:schemeClr val="tx1"/>
                </a:solidFill>
                <a:cs typeface="Calibri" panose="020F0502020204030204" pitchFamily="34" charset="0"/>
              </a:rPr>
              <a:t>m</a:t>
            </a:r>
            <a:r>
              <a:rPr kumimoji="0" lang="en-GB" i="0" u="none" strike="noStrike" kern="0" cap="none" spc="0" normalizeH="0" baseline="0" noProof="0" err="1">
                <a:ln>
                  <a:noFill/>
                </a:ln>
                <a:solidFill>
                  <a:schemeClr val="tx1"/>
                </a:solidFill>
                <a:effectLst/>
                <a:uLnTx/>
                <a:uFillTx/>
                <a:cs typeface="Calibri" panose="020F0502020204030204" pitchFamily="34" charset="0"/>
              </a:rPr>
              <a:t>anaging</a:t>
            </a:r>
            <a:r>
              <a:rPr kumimoji="0" lang="en-GB" i="0" u="none" strike="noStrike" kern="0" cap="none" spc="0" normalizeH="0" baseline="0" noProof="0">
                <a:ln>
                  <a:noFill/>
                </a:ln>
                <a:solidFill>
                  <a:schemeClr val="tx1"/>
                </a:solidFill>
                <a:effectLst/>
                <a:uLnTx/>
                <a:uFillTx/>
                <a:cs typeface="Calibri" panose="020F0502020204030204" pitchFamily="34" charset="0"/>
              </a:rPr>
              <a:t> partial </a:t>
            </a:r>
            <a:br>
              <a:rPr kumimoji="0" lang="en-GB" i="0" u="none" strike="noStrike" kern="0" cap="none" spc="0" normalizeH="0" baseline="0" noProof="0">
                <a:ln>
                  <a:noFill/>
                </a:ln>
                <a:solidFill>
                  <a:schemeClr val="tx1"/>
                </a:solidFill>
                <a:effectLst/>
                <a:uLnTx/>
                <a:uFillTx/>
                <a:cs typeface="Calibri" panose="020F0502020204030204" pitchFamily="34" charset="0"/>
              </a:rPr>
            </a:br>
            <a:r>
              <a:rPr kumimoji="0" lang="en-GB" i="0" u="none" strike="noStrike" kern="0" cap="none" spc="0" normalizeH="0" baseline="0" noProof="0">
                <a:ln>
                  <a:noFill/>
                </a:ln>
                <a:solidFill>
                  <a:schemeClr val="tx1"/>
                </a:solidFill>
                <a:effectLst/>
                <a:uLnTx/>
                <a:uFillTx/>
                <a:cs typeface="Calibri" panose="020F0502020204030204" pitchFamily="34" charset="0"/>
              </a:rPr>
              <a:t>de-globalization</a:t>
            </a:r>
          </a:p>
        </p:txBody>
      </p:sp>
      <p:sp>
        <p:nvSpPr>
          <p:cNvPr id="28" name="TextBox 27">
            <a:extLst>
              <a:ext uri="{FF2B5EF4-FFF2-40B4-BE49-F238E27FC236}">
                <a16:creationId xmlns:a16="http://schemas.microsoft.com/office/drawing/2014/main" id="{BD07B308-DA94-63B2-09DB-D8FCEC011BF5}"/>
              </a:ext>
            </a:extLst>
          </p:cNvPr>
          <p:cNvSpPr txBox="1"/>
          <p:nvPr/>
        </p:nvSpPr>
        <p:spPr>
          <a:xfrm>
            <a:off x="9039475" y="2176454"/>
            <a:ext cx="2502648" cy="646331"/>
          </a:xfrm>
          <a:prstGeom prst="rect">
            <a:avLst/>
          </a:prstGeom>
          <a:noFill/>
        </p:spPr>
        <p:txBody>
          <a:bodyPr wrap="square">
            <a:spAutoFit/>
          </a:bodyPr>
          <a:lstStyle/>
          <a:p>
            <a:r>
              <a:rPr lang="en-GB" kern="0">
                <a:solidFill>
                  <a:schemeClr val="tx1"/>
                </a:solidFill>
                <a:cs typeface="Calibri" panose="020F0502020204030204" pitchFamily="34" charset="0"/>
              </a:rPr>
              <a:t>securing supply web, </a:t>
            </a:r>
            <a:br>
              <a:rPr lang="en-GB" kern="0">
                <a:solidFill>
                  <a:schemeClr val="tx1"/>
                </a:solidFill>
                <a:cs typeface="Calibri" panose="020F0502020204030204" pitchFamily="34" charset="0"/>
              </a:rPr>
            </a:br>
            <a:r>
              <a:rPr lang="en-GB" kern="0">
                <a:solidFill>
                  <a:schemeClr val="tx1"/>
                </a:solidFill>
                <a:cs typeface="Calibri" panose="020F0502020204030204" pitchFamily="34" charset="0"/>
              </a:rPr>
              <a:t>no matter what</a:t>
            </a:r>
            <a:endParaRPr kumimoji="0" lang="en-GB" i="0" u="none" strike="noStrike" kern="0" cap="none" spc="0" normalizeH="0" baseline="0" noProof="0">
              <a:ln>
                <a:noFill/>
              </a:ln>
              <a:solidFill>
                <a:schemeClr val="tx1"/>
              </a:solidFill>
              <a:effectLst/>
              <a:uLnTx/>
              <a:uFillTx/>
              <a:cs typeface="Calibri" panose="020F0502020204030204" pitchFamily="34" charset="0"/>
            </a:endParaRPr>
          </a:p>
        </p:txBody>
      </p:sp>
      <p:sp>
        <p:nvSpPr>
          <p:cNvPr id="30" name="TextBox 29">
            <a:extLst>
              <a:ext uri="{FF2B5EF4-FFF2-40B4-BE49-F238E27FC236}">
                <a16:creationId xmlns:a16="http://schemas.microsoft.com/office/drawing/2014/main" id="{E978616A-1AFE-98C9-EE62-B82D8CAC26D5}"/>
              </a:ext>
            </a:extLst>
          </p:cNvPr>
          <p:cNvSpPr txBox="1"/>
          <p:nvPr/>
        </p:nvSpPr>
        <p:spPr>
          <a:xfrm>
            <a:off x="6285607" y="2455510"/>
            <a:ext cx="2502648" cy="646331"/>
          </a:xfrm>
          <a:prstGeom prst="rect">
            <a:avLst/>
          </a:prstGeom>
          <a:noFill/>
        </p:spPr>
        <p:txBody>
          <a:bodyPr wrap="square">
            <a:spAutoFit/>
          </a:bodyPr>
          <a:lstStyle/>
          <a:p>
            <a:r>
              <a:rPr kumimoji="0" lang="en-GB" i="0" u="none" strike="noStrike" kern="0" cap="none" spc="0" normalizeH="0" baseline="0" noProof="0" err="1">
                <a:ln>
                  <a:noFill/>
                </a:ln>
                <a:solidFill>
                  <a:schemeClr val="tx1"/>
                </a:solidFill>
                <a:effectLst/>
                <a:uLnTx/>
                <a:uFillTx/>
                <a:ea typeface="+mn-ea"/>
                <a:cs typeface="Calibri" panose="020F0502020204030204" pitchFamily="34" charset="0"/>
              </a:rPr>
              <a:t>greenflation</a:t>
            </a:r>
            <a:r>
              <a:rPr kumimoji="0" lang="en-GB" i="0" u="none" strike="noStrike" kern="0" cap="none" spc="0" normalizeH="0" baseline="0" noProof="0">
                <a:ln>
                  <a:noFill/>
                </a:ln>
                <a:solidFill>
                  <a:schemeClr val="tx1"/>
                </a:solidFill>
                <a:effectLst/>
                <a:uLnTx/>
                <a:uFillTx/>
                <a:ea typeface="+mn-ea"/>
                <a:cs typeface="Calibri" panose="020F0502020204030204" pitchFamily="34" charset="0"/>
              </a:rPr>
              <a:t> monitoring, end of free money</a:t>
            </a:r>
          </a:p>
        </p:txBody>
      </p:sp>
      <p:sp>
        <p:nvSpPr>
          <p:cNvPr id="36" name="TextBox 35">
            <a:extLst>
              <a:ext uri="{FF2B5EF4-FFF2-40B4-BE49-F238E27FC236}">
                <a16:creationId xmlns:a16="http://schemas.microsoft.com/office/drawing/2014/main" id="{65847D08-169A-7496-3C9A-18934BAE227B}"/>
              </a:ext>
            </a:extLst>
          </p:cNvPr>
          <p:cNvSpPr txBox="1"/>
          <p:nvPr/>
        </p:nvSpPr>
        <p:spPr>
          <a:xfrm>
            <a:off x="452858" y="4569229"/>
            <a:ext cx="2502648" cy="369332"/>
          </a:xfrm>
          <a:prstGeom prst="rect">
            <a:avLst/>
          </a:prstGeom>
          <a:noFill/>
        </p:spPr>
        <p:txBody>
          <a:bodyPr wrap="square">
            <a:spAutoFit/>
          </a:bodyPr>
          <a:lstStyle/>
          <a:p>
            <a:r>
              <a:rPr kumimoji="0" lang="en-GB" i="0" u="none" strike="noStrike" kern="0" cap="none" spc="0" normalizeH="0" baseline="0" noProof="0">
                <a:ln>
                  <a:noFill/>
                </a:ln>
                <a:solidFill>
                  <a:schemeClr val="tx1"/>
                </a:solidFill>
                <a:effectLst/>
                <a:uLnTx/>
                <a:uFillTx/>
                <a:ea typeface="+mn-ea"/>
                <a:cs typeface="Calibri" panose="020F0502020204030204" pitchFamily="34" charset="0"/>
              </a:rPr>
              <a:t>stay or go</a:t>
            </a:r>
          </a:p>
        </p:txBody>
      </p:sp>
      <p:sp>
        <p:nvSpPr>
          <p:cNvPr id="37" name="TextBox 36">
            <a:extLst>
              <a:ext uri="{FF2B5EF4-FFF2-40B4-BE49-F238E27FC236}">
                <a16:creationId xmlns:a16="http://schemas.microsoft.com/office/drawing/2014/main" id="{DF4313EA-345C-F98E-D61D-7809E03CD95F}"/>
              </a:ext>
            </a:extLst>
          </p:cNvPr>
          <p:cNvSpPr txBox="1"/>
          <p:nvPr/>
        </p:nvSpPr>
        <p:spPr>
          <a:xfrm>
            <a:off x="3234333" y="4846623"/>
            <a:ext cx="2502648" cy="646331"/>
          </a:xfrm>
          <a:prstGeom prst="rect">
            <a:avLst/>
          </a:prstGeom>
          <a:noFill/>
        </p:spPr>
        <p:txBody>
          <a:bodyPr wrap="square">
            <a:spAutoFit/>
          </a:bodyPr>
          <a:lstStyle/>
          <a:p>
            <a:r>
              <a:rPr lang="en-GB" kern="0">
                <a:solidFill>
                  <a:schemeClr val="tx1"/>
                </a:solidFill>
                <a:cs typeface="Calibri" panose="020F0502020204030204" pitchFamily="34" charset="0"/>
              </a:rPr>
              <a:t>securing</a:t>
            </a:r>
            <a:r>
              <a:rPr kumimoji="0" lang="en-GB" i="0" u="none" strike="noStrike" kern="0" cap="none" spc="0" normalizeH="0" baseline="0" noProof="0">
                <a:ln>
                  <a:noFill/>
                </a:ln>
                <a:solidFill>
                  <a:schemeClr val="tx1"/>
                </a:solidFill>
                <a:effectLst/>
                <a:uLnTx/>
                <a:uFillTx/>
                <a:cs typeface="Calibri" panose="020F0502020204030204" pitchFamily="34" charset="0"/>
              </a:rPr>
              <a:t> </a:t>
            </a:r>
            <a:r>
              <a:rPr lang="en-GB" kern="0">
                <a:solidFill>
                  <a:schemeClr val="tx1"/>
                </a:solidFill>
                <a:cs typeface="Calibri" panose="020F0502020204030204" pitchFamily="34" charset="0"/>
              </a:rPr>
              <a:t>strategic resources</a:t>
            </a:r>
            <a:endParaRPr kumimoji="0" lang="en-GB" i="0" u="none" strike="noStrike" kern="0" cap="none" spc="0" normalizeH="0" baseline="0" noProof="0">
              <a:ln>
                <a:noFill/>
              </a:ln>
              <a:solidFill>
                <a:schemeClr val="tx1"/>
              </a:solidFill>
              <a:effectLst/>
              <a:uLnTx/>
              <a:uFillTx/>
              <a:cs typeface="Calibri" panose="020F0502020204030204" pitchFamily="34" charset="0"/>
            </a:endParaRPr>
          </a:p>
        </p:txBody>
      </p:sp>
      <p:sp>
        <p:nvSpPr>
          <p:cNvPr id="38" name="TextBox 37">
            <a:extLst>
              <a:ext uri="{FF2B5EF4-FFF2-40B4-BE49-F238E27FC236}">
                <a16:creationId xmlns:a16="http://schemas.microsoft.com/office/drawing/2014/main" id="{B9D2D77D-3511-1D61-41F0-14DA80BC26D4}"/>
              </a:ext>
            </a:extLst>
          </p:cNvPr>
          <p:cNvSpPr txBox="1"/>
          <p:nvPr/>
        </p:nvSpPr>
        <p:spPr>
          <a:xfrm>
            <a:off x="9039475" y="4569229"/>
            <a:ext cx="2502648" cy="646331"/>
          </a:xfrm>
          <a:prstGeom prst="rect">
            <a:avLst/>
          </a:prstGeom>
          <a:noFill/>
        </p:spPr>
        <p:txBody>
          <a:bodyPr wrap="square">
            <a:spAutoFit/>
          </a:bodyPr>
          <a:lstStyle/>
          <a:p>
            <a:r>
              <a:rPr kumimoji="0" lang="en-GB" i="0" u="none" strike="noStrike" kern="0" cap="none" spc="0" normalizeH="0" baseline="0" noProof="0">
                <a:ln>
                  <a:noFill/>
                </a:ln>
                <a:solidFill>
                  <a:schemeClr val="tx1"/>
                </a:solidFill>
                <a:effectLst/>
                <a:uLnTx/>
                <a:uFillTx/>
                <a:ea typeface="+mn-ea"/>
                <a:cs typeface="Calibri" panose="020F0502020204030204" pitchFamily="34" charset="0"/>
              </a:rPr>
              <a:t>Talent war, demographic challenge </a:t>
            </a:r>
          </a:p>
        </p:txBody>
      </p:sp>
      <p:sp>
        <p:nvSpPr>
          <p:cNvPr id="39" name="TextBox 38">
            <a:extLst>
              <a:ext uri="{FF2B5EF4-FFF2-40B4-BE49-F238E27FC236}">
                <a16:creationId xmlns:a16="http://schemas.microsoft.com/office/drawing/2014/main" id="{DA32B042-5844-20DA-C8E2-EB137DB05D3A}"/>
              </a:ext>
            </a:extLst>
          </p:cNvPr>
          <p:cNvSpPr txBox="1"/>
          <p:nvPr/>
        </p:nvSpPr>
        <p:spPr>
          <a:xfrm>
            <a:off x="6285606" y="4569229"/>
            <a:ext cx="2584735" cy="646331"/>
          </a:xfrm>
          <a:prstGeom prst="rect">
            <a:avLst/>
          </a:prstGeom>
          <a:noFill/>
        </p:spPr>
        <p:txBody>
          <a:bodyPr wrap="square">
            <a:spAutoFit/>
          </a:bodyPr>
          <a:lstStyle/>
          <a:p>
            <a:r>
              <a:rPr lang="en-GB" kern="0">
                <a:solidFill>
                  <a:schemeClr val="tx1"/>
                </a:solidFill>
                <a:cs typeface="Calibri" panose="020F0502020204030204" pitchFamily="34" charset="0"/>
              </a:rPr>
              <a:t>new AI opportunities and threats, </a:t>
            </a:r>
            <a:r>
              <a:rPr kumimoji="0" lang="en-GB" i="0" u="none" strike="noStrike" kern="0" cap="none" spc="0" normalizeH="0" baseline="0" noProof="0">
                <a:ln>
                  <a:noFill/>
                </a:ln>
                <a:solidFill>
                  <a:schemeClr val="tx1"/>
                </a:solidFill>
                <a:effectLst/>
                <a:uLnTx/>
                <a:uFillTx/>
                <a:cs typeface="Calibri" panose="020F0502020204030204" pitchFamily="34" charset="0"/>
              </a:rPr>
              <a:t>cybersecurity</a:t>
            </a:r>
          </a:p>
        </p:txBody>
      </p:sp>
    </p:spTree>
    <p:extLst>
      <p:ext uri="{BB962C8B-B14F-4D97-AF65-F5344CB8AC3E}">
        <p14:creationId xmlns:p14="http://schemas.microsoft.com/office/powerpoint/2010/main" val="25214642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250"/>
                                        <p:tgtEl>
                                          <p:spTgt spid="26"/>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250"/>
                                        <p:tgtEl>
                                          <p:spTgt spid="27"/>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250"/>
                                        <p:tgtEl>
                                          <p:spTgt spid="30"/>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250"/>
                                        <p:tgtEl>
                                          <p:spTgt spid="28"/>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250"/>
                                        <p:tgtEl>
                                          <p:spTgt spid="3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250"/>
                                        <p:tgtEl>
                                          <p:spTgt spid="37"/>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250"/>
                                        <p:tgtEl>
                                          <p:spTgt spid="39"/>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38"/>
                                        </p:tgtEl>
                                        <p:attrNameLst>
                                          <p:attrName>style.visibility</p:attrName>
                                        </p:attrNameLst>
                                      </p:cBhvr>
                                      <p:to>
                                        <p:strVal val="visible"/>
                                      </p:to>
                                    </p:set>
                                    <p:animEffect transition="in" filter="fade">
                                      <p:cBhvr>
                                        <p:cTn id="28" dur="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30" grpId="0"/>
      <p:bldP spid="36" grpId="0"/>
      <p:bldP spid="37" grpId="0"/>
      <p:bldP spid="38" grpId="0"/>
      <p:bldP spid="3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192FED-F17C-4716-A6B9-2E20C979060A}"/>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8192FED-F17C-4716-A6B9-2E20C979060A}"/>
                          </a:ext>
                        </a:extLst>
                      </p:cNvPr>
                      <p:cNvPicPr/>
                      <p:nvPr/>
                    </p:nvPicPr>
                    <p:blipFill>
                      <a:blip r:embed="rId5"/>
                      <a:stretch>
                        <a:fillRect/>
                      </a:stretch>
                    </p:blipFill>
                    <p:spPr>
                      <a:xfrm>
                        <a:off x="1296988" y="1588"/>
                        <a:ext cx="1588" cy="1588"/>
                      </a:xfrm>
                      <a:prstGeom prst="rect">
                        <a:avLst/>
                      </a:prstGeom>
                    </p:spPr>
                  </p:pic>
                </p:oleObj>
              </mc:Fallback>
            </mc:AlternateContent>
          </a:graphicData>
        </a:graphic>
      </p:graphicFrame>
      <p:pic>
        <p:nvPicPr>
          <p:cNvPr id="6" name="Picture 5" descr="A city skyline at night&#10;&#10;Description automatically generated with low confidence">
            <a:extLst>
              <a:ext uri="{FF2B5EF4-FFF2-40B4-BE49-F238E27FC236}">
                <a16:creationId xmlns:a16="http://schemas.microsoft.com/office/drawing/2014/main" id="{AC22AC5A-5761-CAC1-DD57-8506FB5C87C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5" name="Text Placeholder 4">
            <a:extLst>
              <a:ext uri="{FF2B5EF4-FFF2-40B4-BE49-F238E27FC236}">
                <a16:creationId xmlns:a16="http://schemas.microsoft.com/office/drawing/2014/main" id="{D4A4FD71-4E04-4266-BD64-0A440ABFDB06}"/>
              </a:ext>
            </a:extLst>
          </p:cNvPr>
          <p:cNvSpPr>
            <a:spLocks noGrp="1"/>
          </p:cNvSpPr>
          <p:nvPr>
            <p:ph type="body" sz="quarter" idx="12"/>
          </p:nvPr>
        </p:nvSpPr>
        <p:spPr>
          <a:xfrm>
            <a:off x="457200" y="39482"/>
            <a:ext cx="8348472" cy="2308324"/>
          </a:xfrm>
        </p:spPr>
        <p:txBody>
          <a:bodyPr/>
          <a:lstStyle/>
          <a:p>
            <a:r>
              <a:rPr lang="en-GB">
                <a:solidFill>
                  <a:schemeClr val="bg1"/>
                </a:solidFill>
                <a:cs typeface="Calibri" panose="020F0502020204030204" pitchFamily="34" charset="0"/>
              </a:rPr>
              <a:t>02</a:t>
            </a:r>
          </a:p>
        </p:txBody>
      </p:sp>
      <p:sp>
        <p:nvSpPr>
          <p:cNvPr id="4" name="Text Placeholder 3">
            <a:extLst>
              <a:ext uri="{FF2B5EF4-FFF2-40B4-BE49-F238E27FC236}">
                <a16:creationId xmlns:a16="http://schemas.microsoft.com/office/drawing/2014/main" id="{04C53409-6954-47B4-9F30-8153F79B78EC}"/>
              </a:ext>
            </a:extLst>
          </p:cNvPr>
          <p:cNvSpPr>
            <a:spLocks noGrp="1"/>
          </p:cNvSpPr>
          <p:nvPr>
            <p:ph type="body" sz="quarter" idx="11"/>
          </p:nvPr>
        </p:nvSpPr>
        <p:spPr>
          <a:xfrm>
            <a:off x="457200" y="2191447"/>
            <a:ext cx="5163808" cy="1263679"/>
          </a:xfrm>
        </p:spPr>
        <p:txBody>
          <a:bodyPr/>
          <a:lstStyle/>
          <a:p>
            <a:pPr>
              <a:buNone/>
            </a:pPr>
            <a:r>
              <a:rPr lang="en-GB" sz="4800">
                <a:solidFill>
                  <a:schemeClr val="bg1"/>
                </a:solidFill>
                <a:cs typeface="Calibri" panose="020F0502020204030204" pitchFamily="34" charset="0"/>
              </a:rPr>
              <a:t>CONFRONTING  Permacrisis in ASIA  </a:t>
            </a:r>
          </a:p>
        </p:txBody>
      </p:sp>
    </p:spTree>
    <p:extLst>
      <p:ext uri="{BB962C8B-B14F-4D97-AF65-F5344CB8AC3E}">
        <p14:creationId xmlns:p14="http://schemas.microsoft.com/office/powerpoint/2010/main" val="20605535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A92DB5-49FC-EE81-D1FE-4ABEB0ABF61F}"/>
              </a:ext>
            </a:extLst>
          </p:cNvPr>
          <p:cNvSpPr/>
          <p:nvPr/>
        </p:nvSpPr>
        <p:spPr>
          <a:xfrm>
            <a:off x="4711279" y="2052858"/>
            <a:ext cx="1384721" cy="3821102"/>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sp>
        <p:nvSpPr>
          <p:cNvPr id="15" name="Rectangle 14">
            <a:extLst>
              <a:ext uri="{FF2B5EF4-FFF2-40B4-BE49-F238E27FC236}">
                <a16:creationId xmlns:a16="http://schemas.microsoft.com/office/drawing/2014/main" id="{0FA5FEBC-A3B8-B016-7039-ABE247F8866E}"/>
              </a:ext>
            </a:extLst>
          </p:cNvPr>
          <p:cNvSpPr/>
          <p:nvPr/>
        </p:nvSpPr>
        <p:spPr>
          <a:xfrm>
            <a:off x="9138953" y="2052858"/>
            <a:ext cx="1173783" cy="3853076"/>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sp>
        <p:nvSpPr>
          <p:cNvPr id="16" name="Rectangle 15">
            <a:extLst>
              <a:ext uri="{FF2B5EF4-FFF2-40B4-BE49-F238E27FC236}">
                <a16:creationId xmlns:a16="http://schemas.microsoft.com/office/drawing/2014/main" id="{30D1DB15-7132-100B-8CAD-51E7CF0F4A5D}"/>
              </a:ext>
            </a:extLst>
          </p:cNvPr>
          <p:cNvSpPr/>
          <p:nvPr/>
        </p:nvSpPr>
        <p:spPr>
          <a:xfrm>
            <a:off x="10380360" y="2036871"/>
            <a:ext cx="1173783" cy="3853076"/>
          </a:xfrm>
          <a:prstGeom prst="rect">
            <a:avLst/>
          </a:prstGeom>
          <a:solidFill>
            <a:schemeClr val="accent2">
              <a:lumMod val="20000"/>
              <a:lumOff val="8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sp>
        <p:nvSpPr>
          <p:cNvPr id="6" name="Title 5">
            <a:extLst>
              <a:ext uri="{FF2B5EF4-FFF2-40B4-BE49-F238E27FC236}">
                <a16:creationId xmlns:a16="http://schemas.microsoft.com/office/drawing/2014/main" id="{2422CA78-2057-D23E-899F-3FFC8068E507}"/>
              </a:ext>
            </a:extLst>
          </p:cNvPr>
          <p:cNvSpPr>
            <a:spLocks noGrp="1"/>
          </p:cNvSpPr>
          <p:nvPr>
            <p:ph type="title"/>
          </p:nvPr>
        </p:nvSpPr>
        <p:spPr/>
        <p:txBody>
          <a:bodyPr/>
          <a:lstStyle/>
          <a:p>
            <a:r>
              <a:rPr lang="en-GB">
                <a:solidFill>
                  <a:srgbClr val="009DE0"/>
                </a:solidFill>
              </a:rPr>
              <a:t>Short-term outlook: </a:t>
            </a:r>
            <a:r>
              <a:rPr lang="en-GB"/>
              <a:t>GDP</a:t>
            </a:r>
            <a:r>
              <a:rPr lang="en-GB">
                <a:solidFill>
                  <a:srgbClr val="009DE0"/>
                </a:solidFill>
              </a:rPr>
              <a:t> </a:t>
            </a:r>
            <a:r>
              <a:rPr lang="en-GB"/>
              <a:t>growth remains choppy</a:t>
            </a:r>
          </a:p>
        </p:txBody>
      </p:sp>
      <p:sp>
        <p:nvSpPr>
          <p:cNvPr id="10" name="Text Placeholder 9">
            <a:extLst>
              <a:ext uri="{FF2B5EF4-FFF2-40B4-BE49-F238E27FC236}">
                <a16:creationId xmlns:a16="http://schemas.microsoft.com/office/drawing/2014/main" id="{18611E3B-AD5E-2293-617C-4C88A755C99A}"/>
              </a:ext>
            </a:extLst>
          </p:cNvPr>
          <p:cNvSpPr>
            <a:spLocks noGrp="1"/>
          </p:cNvSpPr>
          <p:nvPr>
            <p:ph type="body" idx="10"/>
          </p:nvPr>
        </p:nvSpPr>
        <p:spPr/>
        <p:txBody>
          <a:bodyPr/>
          <a:lstStyle/>
          <a:p>
            <a:r>
              <a:rPr lang="en-GB"/>
              <a:t>We are still in a period of economic volatility. 2024 risks are not small</a:t>
            </a:r>
          </a:p>
        </p:txBody>
      </p:sp>
      <p:sp>
        <p:nvSpPr>
          <p:cNvPr id="11" name="Content Placeholder 10">
            <a:extLst>
              <a:ext uri="{FF2B5EF4-FFF2-40B4-BE49-F238E27FC236}">
                <a16:creationId xmlns:a16="http://schemas.microsoft.com/office/drawing/2014/main" id="{771E01C5-FB4C-C7A5-1C1F-4AA2EFA2E2F4}"/>
              </a:ext>
            </a:extLst>
          </p:cNvPr>
          <p:cNvSpPr>
            <a:spLocks noGrp="1"/>
          </p:cNvSpPr>
          <p:nvPr>
            <p:ph sz="half" idx="11"/>
          </p:nvPr>
        </p:nvSpPr>
        <p:spPr>
          <a:xfrm>
            <a:off x="457200" y="1919807"/>
            <a:ext cx="3454400" cy="4480992"/>
          </a:xfrm>
        </p:spPr>
        <p:txBody>
          <a:bodyPr/>
          <a:lstStyle/>
          <a:p>
            <a:r>
              <a:rPr lang="en-GB"/>
              <a:t>Economic growth was choppy in the second half of 2024. Only Indonesia and India show any real strength.</a:t>
            </a:r>
          </a:p>
          <a:p>
            <a:r>
              <a:rPr lang="en-GB"/>
              <a:t>China’s recovery remains soft owing to weak exports and real estate, providing no lift to the rest of the region.</a:t>
            </a:r>
          </a:p>
          <a:p>
            <a:r>
              <a:rPr lang="en-GB"/>
              <a:t>Don’t overlook how much </a:t>
            </a:r>
            <a:r>
              <a:rPr lang="en-GB" b="1">
                <a:solidFill>
                  <a:srgbClr val="009DE0"/>
                </a:solidFill>
              </a:rPr>
              <a:t>economic volatility</a:t>
            </a:r>
            <a:r>
              <a:rPr lang="en-GB"/>
              <a:t> business has had to deal with over the past two years.</a:t>
            </a:r>
          </a:p>
        </p:txBody>
      </p:sp>
      <p:sp>
        <p:nvSpPr>
          <p:cNvPr id="13" name="Text Placeholder 12">
            <a:extLst>
              <a:ext uri="{FF2B5EF4-FFF2-40B4-BE49-F238E27FC236}">
                <a16:creationId xmlns:a16="http://schemas.microsoft.com/office/drawing/2014/main" id="{17D4F793-06D3-B959-C1F1-80514703D9B2}"/>
              </a:ext>
            </a:extLst>
          </p:cNvPr>
          <p:cNvSpPr>
            <a:spLocks noGrp="1"/>
          </p:cNvSpPr>
          <p:nvPr>
            <p:ph type="body" sz="quarter" idx="13"/>
          </p:nvPr>
        </p:nvSpPr>
        <p:spPr/>
        <p:txBody>
          <a:bodyPr/>
          <a:lstStyle/>
          <a:p>
            <a:r>
              <a:rPr lang="en-GB"/>
              <a:t>Asia’s quarterly GDP growth rates</a:t>
            </a:r>
          </a:p>
          <a:p>
            <a:r>
              <a:rPr lang="en-GB" b="0" i="1"/>
              <a:t>Quarter on quarter, seasonally adjusted, annualized rate</a:t>
            </a:r>
          </a:p>
        </p:txBody>
      </p:sp>
      <p:graphicFrame>
        <p:nvGraphicFramePr>
          <p:cNvPr id="8" name="Chart 7">
            <a:extLst>
              <a:ext uri="{FF2B5EF4-FFF2-40B4-BE49-F238E27FC236}">
                <a16:creationId xmlns:a16="http://schemas.microsoft.com/office/drawing/2014/main" id="{F84D90D6-029D-0A86-F070-A5C921FAEA6A}"/>
              </a:ext>
            </a:extLst>
          </p:cNvPr>
          <p:cNvGraphicFramePr>
            <a:graphicFrameLocks/>
          </p:cNvGraphicFramePr>
          <p:nvPr/>
        </p:nvGraphicFramePr>
        <p:xfrm>
          <a:off x="4368799" y="1996676"/>
          <a:ext cx="7300398" cy="40771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9">
            <a:extLst>
              <a:ext uri="{FF2B5EF4-FFF2-40B4-BE49-F238E27FC236}">
                <a16:creationId xmlns:a16="http://schemas.microsoft.com/office/drawing/2014/main" id="{283F1FF9-AAB8-0023-F92B-F001659D00BB}"/>
              </a:ext>
            </a:extLst>
          </p:cNvPr>
          <p:cNvGraphicFramePr>
            <a:graphicFrameLocks noGrp="1"/>
          </p:cNvGraphicFramePr>
          <p:nvPr>
            <p:extLst>
              <p:ext uri="{D42A27DB-BD31-4B8C-83A1-F6EECF244321}">
                <p14:modId xmlns:p14="http://schemas.microsoft.com/office/powerpoint/2010/main" val="325972174"/>
              </p:ext>
            </p:extLst>
          </p:nvPr>
        </p:nvGraphicFramePr>
        <p:xfrm>
          <a:off x="4597566" y="6057824"/>
          <a:ext cx="6842864" cy="274320"/>
        </p:xfrm>
        <a:graphic>
          <a:graphicData uri="http://schemas.openxmlformats.org/drawingml/2006/table">
            <a:tbl>
              <a:tblPr firstRow="1" bandRow="1">
                <a:tableStyleId>{839DD9DD-9E6C-4910-8AC0-68ADFF6A6AFC}</a:tableStyleId>
              </a:tblPr>
              <a:tblGrid>
                <a:gridCol w="977552">
                  <a:extLst>
                    <a:ext uri="{9D8B030D-6E8A-4147-A177-3AD203B41FA5}">
                      <a16:colId xmlns:a16="http://schemas.microsoft.com/office/drawing/2014/main" val="1824073030"/>
                    </a:ext>
                  </a:extLst>
                </a:gridCol>
                <a:gridCol w="977552">
                  <a:extLst>
                    <a:ext uri="{9D8B030D-6E8A-4147-A177-3AD203B41FA5}">
                      <a16:colId xmlns:a16="http://schemas.microsoft.com/office/drawing/2014/main" val="2030127371"/>
                    </a:ext>
                  </a:extLst>
                </a:gridCol>
                <a:gridCol w="977552">
                  <a:extLst>
                    <a:ext uri="{9D8B030D-6E8A-4147-A177-3AD203B41FA5}">
                      <a16:colId xmlns:a16="http://schemas.microsoft.com/office/drawing/2014/main" val="4137548025"/>
                    </a:ext>
                  </a:extLst>
                </a:gridCol>
                <a:gridCol w="977552">
                  <a:extLst>
                    <a:ext uri="{9D8B030D-6E8A-4147-A177-3AD203B41FA5}">
                      <a16:colId xmlns:a16="http://schemas.microsoft.com/office/drawing/2014/main" val="4132656564"/>
                    </a:ext>
                  </a:extLst>
                </a:gridCol>
                <a:gridCol w="977552">
                  <a:extLst>
                    <a:ext uri="{9D8B030D-6E8A-4147-A177-3AD203B41FA5}">
                      <a16:colId xmlns:a16="http://schemas.microsoft.com/office/drawing/2014/main" val="3936493247"/>
                    </a:ext>
                  </a:extLst>
                </a:gridCol>
                <a:gridCol w="977552">
                  <a:extLst>
                    <a:ext uri="{9D8B030D-6E8A-4147-A177-3AD203B41FA5}">
                      <a16:colId xmlns:a16="http://schemas.microsoft.com/office/drawing/2014/main" val="935916658"/>
                    </a:ext>
                  </a:extLst>
                </a:gridCol>
                <a:gridCol w="977552">
                  <a:extLst>
                    <a:ext uri="{9D8B030D-6E8A-4147-A177-3AD203B41FA5}">
                      <a16:colId xmlns:a16="http://schemas.microsoft.com/office/drawing/2014/main" val="3220889479"/>
                    </a:ext>
                  </a:extLst>
                </a:gridCol>
              </a:tblGrid>
              <a:tr h="261839">
                <a:tc>
                  <a:txBody>
                    <a:bodyPr/>
                    <a:lstStyle/>
                    <a:p>
                      <a:pPr algn="ctr"/>
                      <a:r>
                        <a:rPr lang="en-GB" b="0"/>
                        <a:t>2010</a:t>
                      </a:r>
                    </a:p>
                  </a:txBody>
                  <a:tcP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GB" b="0"/>
                        <a:t>2012</a:t>
                      </a:r>
                    </a:p>
                  </a:txBody>
                  <a:tcP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GB" b="0"/>
                        <a:t>2014</a:t>
                      </a:r>
                    </a:p>
                  </a:txBody>
                  <a:tcP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GB" b="0"/>
                        <a:t>2016</a:t>
                      </a:r>
                    </a:p>
                  </a:txBody>
                  <a:tcP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GB" b="0"/>
                        <a:t>2018</a:t>
                      </a:r>
                    </a:p>
                  </a:txBody>
                  <a:tcP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GB" b="0"/>
                        <a:t>2020</a:t>
                      </a:r>
                    </a:p>
                  </a:txBody>
                  <a:tcP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GB" b="0"/>
                        <a:t>2022</a:t>
                      </a:r>
                    </a:p>
                  </a:txBody>
                  <a:tcPr>
                    <a:lnL>
                      <a:noFill/>
                    </a:lnL>
                    <a:lnR>
                      <a:noFill/>
                    </a:lnR>
                    <a:lnT>
                      <a:noFill/>
                    </a:lnT>
                    <a:lnB w="9525" cmpd="sng">
                      <a:noFill/>
                    </a:lnB>
                    <a:lnTlToBr w="12700" cmpd="sng">
                      <a:noFill/>
                      <a:prstDash val="solid"/>
                    </a:lnTlToBr>
                    <a:lnBlToTr w="12700" cmpd="sng">
                      <a:noFill/>
                      <a:prstDash val="solid"/>
                    </a:lnBlToTr>
                  </a:tcPr>
                </a:tc>
                <a:extLst>
                  <a:ext uri="{0D108BD9-81ED-4DB2-BD59-A6C34878D82A}">
                    <a16:rowId xmlns:a16="http://schemas.microsoft.com/office/drawing/2014/main" val="3052680243"/>
                  </a:ext>
                </a:extLst>
              </a:tr>
            </a:tbl>
          </a:graphicData>
        </a:graphic>
      </p:graphicFrame>
      <p:sp>
        <p:nvSpPr>
          <p:cNvPr id="17" name="TextBox 16">
            <a:extLst>
              <a:ext uri="{FF2B5EF4-FFF2-40B4-BE49-F238E27FC236}">
                <a16:creationId xmlns:a16="http://schemas.microsoft.com/office/drawing/2014/main" id="{B722F90D-E3BB-2513-289F-4C578085836C}"/>
              </a:ext>
            </a:extLst>
          </p:cNvPr>
          <p:cNvSpPr txBox="1"/>
          <p:nvPr/>
        </p:nvSpPr>
        <p:spPr>
          <a:xfrm>
            <a:off x="5969165" y="2211297"/>
            <a:ext cx="1027608" cy="215444"/>
          </a:xfrm>
          <a:prstGeom prst="rect">
            <a:avLst/>
          </a:prstGeom>
          <a:noFill/>
        </p:spPr>
        <p:txBody>
          <a:bodyPr wrap="square" lIns="0" tIns="0" rIns="0" bIns="0" rtlCol="0">
            <a:spAutoFit/>
          </a:bodyPr>
          <a:lstStyle/>
          <a:p>
            <a:pPr algn="l"/>
            <a:r>
              <a:rPr lang="en-GB" sz="1400" kern="0"/>
              <a:t>Global Crisis</a:t>
            </a:r>
          </a:p>
        </p:txBody>
      </p:sp>
      <p:sp>
        <p:nvSpPr>
          <p:cNvPr id="18" name="TextBox 17">
            <a:extLst>
              <a:ext uri="{FF2B5EF4-FFF2-40B4-BE49-F238E27FC236}">
                <a16:creationId xmlns:a16="http://schemas.microsoft.com/office/drawing/2014/main" id="{9E48A7C5-5E33-5AF4-162F-3536660076CE}"/>
              </a:ext>
            </a:extLst>
          </p:cNvPr>
          <p:cNvSpPr txBox="1"/>
          <p:nvPr/>
        </p:nvSpPr>
        <p:spPr>
          <a:xfrm>
            <a:off x="8557525" y="2236722"/>
            <a:ext cx="1027608" cy="215444"/>
          </a:xfrm>
          <a:prstGeom prst="rect">
            <a:avLst/>
          </a:prstGeom>
          <a:noFill/>
        </p:spPr>
        <p:txBody>
          <a:bodyPr wrap="square" lIns="0" tIns="0" rIns="0" bIns="0" rtlCol="0">
            <a:spAutoFit/>
          </a:bodyPr>
          <a:lstStyle/>
          <a:p>
            <a:pPr algn="l"/>
            <a:r>
              <a:rPr lang="en-GB" sz="1400" kern="0"/>
              <a:t>Pandemic</a:t>
            </a:r>
          </a:p>
        </p:txBody>
      </p:sp>
      <p:cxnSp>
        <p:nvCxnSpPr>
          <p:cNvPr id="20" name="Straight Connector 19">
            <a:extLst>
              <a:ext uri="{FF2B5EF4-FFF2-40B4-BE49-F238E27FC236}">
                <a16:creationId xmlns:a16="http://schemas.microsoft.com/office/drawing/2014/main" id="{605143CA-5EEC-E5BA-8BDB-3234FE0B8E26}"/>
              </a:ext>
            </a:extLst>
          </p:cNvPr>
          <p:cNvCxnSpPr/>
          <p:nvPr/>
        </p:nvCxnSpPr>
        <p:spPr>
          <a:xfrm flipH="1">
            <a:off x="5875642" y="2507030"/>
            <a:ext cx="1078911" cy="0"/>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7957F42-8DB9-FC58-28E5-0731A9A7BECE}"/>
              </a:ext>
            </a:extLst>
          </p:cNvPr>
          <p:cNvCxnSpPr/>
          <p:nvPr/>
        </p:nvCxnSpPr>
        <p:spPr>
          <a:xfrm flipH="1">
            <a:off x="8398146" y="2507030"/>
            <a:ext cx="1078911" cy="0"/>
          </a:xfrm>
          <a:prstGeom prst="line">
            <a:avLst/>
          </a:prstGeom>
          <a:ln w="9525">
            <a:solidFill>
              <a:schemeClr val="tx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05A3CA8-9CBB-B2E7-B7A2-F0843090C367}"/>
              </a:ext>
            </a:extLst>
          </p:cNvPr>
          <p:cNvSpPr txBox="1"/>
          <p:nvPr/>
        </p:nvSpPr>
        <p:spPr>
          <a:xfrm>
            <a:off x="4420609" y="6349910"/>
            <a:ext cx="6116185" cy="153888"/>
          </a:xfrm>
          <a:prstGeom prst="rect">
            <a:avLst/>
          </a:prstGeom>
          <a:noFill/>
        </p:spPr>
        <p:txBody>
          <a:bodyPr wrap="square" lIns="0" tIns="0" rIns="0" bIns="0" rtlCol="0">
            <a:spAutoFit/>
          </a:bodyPr>
          <a:lstStyle/>
          <a:p>
            <a:pPr algn="l"/>
            <a:r>
              <a:rPr lang="en-GB" sz="1000" kern="0"/>
              <a:t>Note: Extent of pandemic-driven 20Q2 and 20Q3 changes not fully shown</a:t>
            </a:r>
          </a:p>
        </p:txBody>
      </p:sp>
      <p:sp>
        <p:nvSpPr>
          <p:cNvPr id="24" name="TextBox 23">
            <a:extLst>
              <a:ext uri="{FF2B5EF4-FFF2-40B4-BE49-F238E27FC236}">
                <a16:creationId xmlns:a16="http://schemas.microsoft.com/office/drawing/2014/main" id="{36FB743E-17EB-7A75-ABEC-AA95B6B13F5D}"/>
              </a:ext>
            </a:extLst>
          </p:cNvPr>
          <p:cNvSpPr txBox="1"/>
          <p:nvPr/>
        </p:nvSpPr>
        <p:spPr>
          <a:xfrm>
            <a:off x="10284892" y="4338797"/>
            <a:ext cx="1350121" cy="215444"/>
          </a:xfrm>
          <a:prstGeom prst="rect">
            <a:avLst/>
          </a:prstGeom>
          <a:noFill/>
        </p:spPr>
        <p:txBody>
          <a:bodyPr wrap="square" lIns="0" tIns="0" rIns="0" bIns="0" rtlCol="0">
            <a:spAutoFit/>
          </a:bodyPr>
          <a:lstStyle/>
          <a:p>
            <a:pPr algn="ctr"/>
            <a:r>
              <a:rPr lang="en-GB" sz="1400" kern="0"/>
              <a:t>High Volatility</a:t>
            </a:r>
          </a:p>
        </p:txBody>
      </p:sp>
      <p:sp>
        <p:nvSpPr>
          <p:cNvPr id="2" name="Ghost">
            <a:extLst>
              <a:ext uri="{FF2B5EF4-FFF2-40B4-BE49-F238E27FC236}">
                <a16:creationId xmlns:a16="http://schemas.microsoft.com/office/drawing/2014/main" id="{2FE61F12-04CB-E5F9-B93B-7E369E9864B5}"/>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28853254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C08A89-698F-4FEA-A427-2AB03A348E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4" name="think-cell data - do not delete" hidden="1">
                        <a:extLst>
                          <a:ext uri="{FF2B5EF4-FFF2-40B4-BE49-F238E27FC236}">
                            <a16:creationId xmlns:a16="http://schemas.microsoft.com/office/drawing/2014/main" id="{EAC08A89-698F-4FEA-A427-2AB03A348E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FAFDBFAF-21E9-056B-8B29-AF44F00340D2}"/>
              </a:ext>
            </a:extLst>
          </p:cNvPr>
          <p:cNvSpPr/>
          <p:nvPr/>
        </p:nvSpPr>
        <p:spPr>
          <a:xfrm>
            <a:off x="4694737" y="4500154"/>
            <a:ext cx="6971533" cy="417310"/>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GB"/>
          </a:p>
        </p:txBody>
      </p:sp>
      <p:graphicFrame>
        <p:nvGraphicFramePr>
          <p:cNvPr id="2" name="Chart 1">
            <a:extLst>
              <a:ext uri="{FF2B5EF4-FFF2-40B4-BE49-F238E27FC236}">
                <a16:creationId xmlns:a16="http://schemas.microsoft.com/office/drawing/2014/main" id="{10327DD3-8C6A-4D85-829F-76CC7E8FFEA4}"/>
              </a:ext>
            </a:extLst>
          </p:cNvPr>
          <p:cNvGraphicFramePr>
            <a:graphicFrameLocks noGrp="1"/>
          </p:cNvGraphicFramePr>
          <p:nvPr/>
        </p:nvGraphicFramePr>
        <p:xfrm>
          <a:off x="4400317" y="1883665"/>
          <a:ext cx="7265953" cy="4517135"/>
        </p:xfrm>
        <a:graphic>
          <a:graphicData uri="http://schemas.openxmlformats.org/drawingml/2006/chart">
            <c:chart xmlns:c="http://schemas.openxmlformats.org/drawingml/2006/chart" xmlns:r="http://schemas.openxmlformats.org/officeDocument/2006/relationships" r:id="rId6"/>
          </a:graphicData>
        </a:graphic>
      </p:graphicFrame>
      <p:sp>
        <p:nvSpPr>
          <p:cNvPr id="6" name="Title 5">
            <a:extLst>
              <a:ext uri="{FF2B5EF4-FFF2-40B4-BE49-F238E27FC236}">
                <a16:creationId xmlns:a16="http://schemas.microsoft.com/office/drawing/2014/main" id="{2422CA78-2057-D23E-899F-3FFC8068E507}"/>
              </a:ext>
            </a:extLst>
          </p:cNvPr>
          <p:cNvSpPr>
            <a:spLocks noGrp="1"/>
          </p:cNvSpPr>
          <p:nvPr>
            <p:ph type="title"/>
          </p:nvPr>
        </p:nvSpPr>
        <p:spPr/>
        <p:txBody>
          <a:bodyPr vert="horz"/>
          <a:lstStyle/>
          <a:p>
            <a:r>
              <a:rPr lang="en-GB">
                <a:solidFill>
                  <a:srgbClr val="009DE0"/>
                </a:solidFill>
              </a:rPr>
              <a:t>Short-term outlook: </a:t>
            </a:r>
            <a:r>
              <a:rPr lang="en-GB"/>
              <a:t>stay wary of inflation</a:t>
            </a:r>
          </a:p>
        </p:txBody>
      </p:sp>
      <p:sp>
        <p:nvSpPr>
          <p:cNvPr id="10" name="Text Placeholder 9">
            <a:extLst>
              <a:ext uri="{FF2B5EF4-FFF2-40B4-BE49-F238E27FC236}">
                <a16:creationId xmlns:a16="http://schemas.microsoft.com/office/drawing/2014/main" id="{18611E3B-AD5E-2293-617C-4C88A755C99A}"/>
              </a:ext>
            </a:extLst>
          </p:cNvPr>
          <p:cNvSpPr>
            <a:spLocks noGrp="1"/>
          </p:cNvSpPr>
          <p:nvPr>
            <p:ph type="body" idx="10"/>
          </p:nvPr>
        </p:nvSpPr>
        <p:spPr/>
        <p:txBody>
          <a:bodyPr/>
          <a:lstStyle/>
          <a:p>
            <a:r>
              <a:rPr lang="en-GB"/>
              <a:t>Inflation risks are lower than in the rest of the world, but…</a:t>
            </a:r>
          </a:p>
        </p:txBody>
      </p:sp>
      <p:sp>
        <p:nvSpPr>
          <p:cNvPr id="11" name="Content Placeholder 10">
            <a:extLst>
              <a:ext uri="{FF2B5EF4-FFF2-40B4-BE49-F238E27FC236}">
                <a16:creationId xmlns:a16="http://schemas.microsoft.com/office/drawing/2014/main" id="{771E01C5-FB4C-C7A5-1C1F-4AA2EFA2E2F4}"/>
              </a:ext>
            </a:extLst>
          </p:cNvPr>
          <p:cNvSpPr>
            <a:spLocks noGrp="1"/>
          </p:cNvSpPr>
          <p:nvPr>
            <p:ph sz="half" idx="11"/>
          </p:nvPr>
        </p:nvSpPr>
        <p:spPr/>
        <p:txBody>
          <a:bodyPr/>
          <a:lstStyle/>
          <a:p>
            <a:r>
              <a:rPr lang="en-GB"/>
              <a:t>Asia was fortunate to not suffer the same magnitude of cost-of-living increases as the rest of the world.</a:t>
            </a:r>
          </a:p>
          <a:p>
            <a:r>
              <a:rPr lang="en-GB"/>
              <a:t>Inflation rates have eased, but they are not returning to pre-pandemic levels. </a:t>
            </a:r>
          </a:p>
          <a:p>
            <a:r>
              <a:rPr lang="en-GB"/>
              <a:t>Nevertheless, lower inflation rates in Asia relative to Australia or rest of the world will create competitive pressures.</a:t>
            </a:r>
          </a:p>
          <a:p>
            <a:r>
              <a:rPr lang="en-GB"/>
              <a:t>China’s inflation rate (~0%) is a particular risk as there are few signs prices will pick up significantly. </a:t>
            </a:r>
          </a:p>
          <a:p>
            <a:endParaRPr lang="en-GB"/>
          </a:p>
          <a:p>
            <a:endParaRPr lang="en-GB"/>
          </a:p>
        </p:txBody>
      </p:sp>
      <p:sp>
        <p:nvSpPr>
          <p:cNvPr id="13" name="Text Placeholder 12">
            <a:extLst>
              <a:ext uri="{FF2B5EF4-FFF2-40B4-BE49-F238E27FC236}">
                <a16:creationId xmlns:a16="http://schemas.microsoft.com/office/drawing/2014/main" id="{17D4F793-06D3-B959-C1F1-80514703D9B2}"/>
              </a:ext>
            </a:extLst>
          </p:cNvPr>
          <p:cNvSpPr>
            <a:spLocks noGrp="1"/>
          </p:cNvSpPr>
          <p:nvPr>
            <p:ph type="body" sz="quarter" idx="13"/>
          </p:nvPr>
        </p:nvSpPr>
        <p:spPr/>
        <p:txBody>
          <a:bodyPr/>
          <a:lstStyle/>
          <a:p>
            <a:r>
              <a:rPr lang="en-GB"/>
              <a:t>Inflation Asia and the US</a:t>
            </a:r>
          </a:p>
          <a:p>
            <a:r>
              <a:rPr lang="en-GB" b="0" i="1"/>
              <a:t>Percentage changes, year-on-year</a:t>
            </a:r>
          </a:p>
        </p:txBody>
      </p:sp>
      <p:sp>
        <p:nvSpPr>
          <p:cNvPr id="3" name="Ghost">
            <a:extLst>
              <a:ext uri="{FF2B5EF4-FFF2-40B4-BE49-F238E27FC236}">
                <a16:creationId xmlns:a16="http://schemas.microsoft.com/office/drawing/2014/main" id="{598C4127-BF82-8C2E-16A3-3B6365BD4369}"/>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20871156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9EA25E-AA3E-43CD-B6E5-796A0F3F39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F69EA25E-AA3E-43CD-B6E5-796A0F3F39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7EBBED0-85DC-416D-9797-05551D14E81B}"/>
              </a:ext>
            </a:extLst>
          </p:cNvPr>
          <p:cNvSpPr>
            <a:spLocks noGrp="1"/>
          </p:cNvSpPr>
          <p:nvPr>
            <p:ph type="title"/>
          </p:nvPr>
        </p:nvSpPr>
        <p:spPr>
          <a:xfrm>
            <a:off x="457200" y="381000"/>
            <a:ext cx="11277600" cy="1171732"/>
          </a:xfrm>
        </p:spPr>
        <p:txBody>
          <a:bodyPr vert="horz"/>
          <a:lstStyle/>
          <a:p>
            <a:r>
              <a:rPr lang="en-GB" sz="2600">
                <a:solidFill>
                  <a:srgbClr val="009DE0"/>
                </a:solidFill>
              </a:rPr>
              <a:t>geopolitics: </a:t>
            </a:r>
            <a:r>
              <a:rPr lang="en-GB" sz="2600"/>
              <a:t>firms remain committed to </a:t>
            </a:r>
            <a:r>
              <a:rPr lang="en-GB" sz="2600" err="1"/>
              <a:t>china</a:t>
            </a:r>
            <a:r>
              <a:rPr lang="en-GB" sz="2600"/>
              <a:t>. but local business risks drifting away from global</a:t>
            </a:r>
          </a:p>
        </p:txBody>
      </p:sp>
      <p:pic>
        <p:nvPicPr>
          <p:cNvPr id="13" name="ico-currency-exchange-2">
            <a:extLst>
              <a:ext uri="{FF2B5EF4-FFF2-40B4-BE49-F238E27FC236}">
                <a16:creationId xmlns:a16="http://schemas.microsoft.com/office/drawing/2014/main" id="{65F4F289-2000-4D3F-8A70-2D56F5668FC8}"/>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561958" y="2059878"/>
            <a:ext cx="627513" cy="627513"/>
          </a:xfrm>
          <a:prstGeom prst="rect">
            <a:avLst/>
          </a:prstGeom>
        </p:spPr>
      </p:pic>
      <p:graphicFrame>
        <p:nvGraphicFramePr>
          <p:cNvPr id="77" name="Table 77">
            <a:extLst>
              <a:ext uri="{FF2B5EF4-FFF2-40B4-BE49-F238E27FC236}">
                <a16:creationId xmlns:a16="http://schemas.microsoft.com/office/drawing/2014/main" id="{6D2A87CC-096C-48BD-AD6E-7535DD31F1AE}"/>
              </a:ext>
            </a:extLst>
          </p:cNvPr>
          <p:cNvGraphicFramePr>
            <a:graphicFrameLocks noGrp="1"/>
          </p:cNvGraphicFramePr>
          <p:nvPr>
            <p:extLst>
              <p:ext uri="{D42A27DB-BD31-4B8C-83A1-F6EECF244321}">
                <p14:modId xmlns:p14="http://schemas.microsoft.com/office/powerpoint/2010/main" val="1467443094"/>
              </p:ext>
            </p:extLst>
          </p:nvPr>
        </p:nvGraphicFramePr>
        <p:xfrm>
          <a:off x="821596" y="2908509"/>
          <a:ext cx="10480028" cy="3398918"/>
        </p:xfrm>
        <a:graphic>
          <a:graphicData uri="http://schemas.openxmlformats.org/drawingml/2006/table">
            <a:tbl>
              <a:tblPr firstRow="1" bandRow="1">
                <a:tableStyleId>{839DD9DD-9E6C-4910-8AC0-68ADFF6A6AFC}</a:tableStyleId>
              </a:tblPr>
              <a:tblGrid>
                <a:gridCol w="2620007">
                  <a:extLst>
                    <a:ext uri="{9D8B030D-6E8A-4147-A177-3AD203B41FA5}">
                      <a16:colId xmlns:a16="http://schemas.microsoft.com/office/drawing/2014/main" val="729230028"/>
                    </a:ext>
                  </a:extLst>
                </a:gridCol>
                <a:gridCol w="2620007">
                  <a:extLst>
                    <a:ext uri="{9D8B030D-6E8A-4147-A177-3AD203B41FA5}">
                      <a16:colId xmlns:a16="http://schemas.microsoft.com/office/drawing/2014/main" val="2559171905"/>
                    </a:ext>
                  </a:extLst>
                </a:gridCol>
                <a:gridCol w="2620007">
                  <a:extLst>
                    <a:ext uri="{9D8B030D-6E8A-4147-A177-3AD203B41FA5}">
                      <a16:colId xmlns:a16="http://schemas.microsoft.com/office/drawing/2014/main" val="3870971977"/>
                    </a:ext>
                  </a:extLst>
                </a:gridCol>
                <a:gridCol w="2620007">
                  <a:extLst>
                    <a:ext uri="{9D8B030D-6E8A-4147-A177-3AD203B41FA5}">
                      <a16:colId xmlns:a16="http://schemas.microsoft.com/office/drawing/2014/main" val="940484882"/>
                    </a:ext>
                  </a:extLst>
                </a:gridCol>
              </a:tblGrid>
              <a:tr h="950918">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solidFill>
                            <a:schemeClr val="tx1"/>
                          </a:solidFill>
                          <a:latin typeface="Calibri" panose="020F0502020204030204" pitchFamily="34" charset="0"/>
                          <a:ea typeface="Meiryo" panose="020B0604030504040204" pitchFamily="34" charset="-128"/>
                          <a:cs typeface="Dubai" panose="020B0503030403030204" pitchFamily="34" charset="-78"/>
                        </a:rPr>
                        <a:t>MNCs still see China as a compelling opportunity given its scale</a:t>
                      </a:r>
                      <a:endParaRPr lang="en-GB" sz="1400" b="1">
                        <a:solidFill>
                          <a:schemeClr val="tx1"/>
                        </a:solidFill>
                        <a:effectLst/>
                        <a:latin typeface="Calibri" panose="020F0502020204030204" pitchFamily="34" charset="0"/>
                        <a:ea typeface="Meiryo" panose="020B0604030504040204" pitchFamily="34" charset="-128"/>
                        <a:cs typeface="Dubai" panose="020B0503030403030204" pitchFamily="34" charset="-78"/>
                      </a:endParaRPr>
                    </a:p>
                  </a:txBody>
                  <a:tcPr>
                    <a:lnB w="9525" cmpd="sng">
                      <a:noFill/>
                    </a:lnB>
                  </a:tcPr>
                </a:tc>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solidFill>
                            <a:schemeClr val="tx1"/>
                          </a:solidFill>
                          <a:latin typeface="Calibri" panose="020F0502020204030204" pitchFamily="34" charset="0"/>
                          <a:ea typeface="Meiryo" panose="020B0604030504040204" pitchFamily="34" charset="-128"/>
                          <a:cs typeface="Dubai" panose="020B0503030403030204" pitchFamily="34" charset="-78"/>
                        </a:rPr>
                        <a:t>Most MNCs are mitigating China risks rather than exiting from market entirely</a:t>
                      </a:r>
                      <a:endParaRPr lang="en-GB" sz="1400" b="1">
                        <a:solidFill>
                          <a:schemeClr val="tx1"/>
                        </a:solidFill>
                        <a:effectLst/>
                        <a:latin typeface="Calibri" panose="020F0502020204030204" pitchFamily="34" charset="0"/>
                        <a:ea typeface="Meiryo" panose="020B0604030504040204" pitchFamily="34" charset="-128"/>
                        <a:cs typeface="Dubai" panose="020B0503030403030204" pitchFamily="34" charset="-78"/>
                      </a:endParaRPr>
                    </a:p>
                  </a:txBody>
                  <a:tcPr>
                    <a:lnB w="9525" cmpd="sng">
                      <a:noFill/>
                    </a:lnB>
                  </a:tcPr>
                </a:tc>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solidFill>
                            <a:schemeClr val="tx1"/>
                          </a:solidFill>
                          <a:effectLst/>
                          <a:latin typeface="Calibri" panose="020F0502020204030204" pitchFamily="34" charset="0"/>
                          <a:ea typeface="Meiryo" panose="020B0604030504040204" pitchFamily="34" charset="-128"/>
                          <a:cs typeface="Dubai" panose="020B0503030403030204" pitchFamily="34" charset="-78"/>
                        </a:rPr>
                        <a:t>But some fear China business is starting to ‘drift away’ from global business</a:t>
                      </a:r>
                    </a:p>
                  </a:txBody>
                  <a:tcPr>
                    <a:lnB w="9525" cmpd="sng">
                      <a:noFill/>
                    </a:lnB>
                  </a:tcPr>
                </a:tc>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solidFill>
                            <a:schemeClr val="tx1"/>
                          </a:solidFill>
                          <a:latin typeface="Calibri" panose="020F0502020204030204" pitchFamily="34" charset="0"/>
                          <a:ea typeface="Meiryo" panose="020B0604030504040204" pitchFamily="34" charset="-128"/>
                          <a:cs typeface="Dubai" panose="020B0503030403030204" pitchFamily="34" charset="-78"/>
                        </a:rPr>
                        <a:t>Even as MNCs are increasingly looking at opportunities in the rest of the region. </a:t>
                      </a:r>
                      <a:endParaRPr lang="en-GB" sz="1400" b="1">
                        <a:solidFill>
                          <a:schemeClr val="tx1"/>
                        </a:solidFill>
                        <a:effectLst/>
                        <a:latin typeface="Calibri" panose="020F0502020204030204" pitchFamily="34" charset="0"/>
                        <a:ea typeface="Meiryo" panose="020B0604030504040204" pitchFamily="34" charset="-128"/>
                        <a:cs typeface="Dubai" panose="020B0503030403030204" pitchFamily="34" charset="-78"/>
                      </a:endParaRPr>
                    </a:p>
                  </a:txBody>
                  <a:tcPr>
                    <a:lnB w="9525" cmpd="sng">
                      <a:noFill/>
                    </a:lnB>
                  </a:tcPr>
                </a:tc>
                <a:extLst>
                  <a:ext uri="{0D108BD9-81ED-4DB2-BD59-A6C34878D82A}">
                    <a16:rowId xmlns:a16="http://schemas.microsoft.com/office/drawing/2014/main" val="820929913"/>
                  </a:ext>
                </a:extLst>
              </a:tr>
              <a:tr h="2448000">
                <a:tc>
                  <a:txBody>
                    <a:bodyPr/>
                    <a:lstStyle/>
                    <a:p>
                      <a:pPr marL="171450" lvl="0" indent="-171450">
                        <a:spcAft>
                          <a:spcPts val="800"/>
                        </a:spcAft>
                        <a:buFont typeface="Arial" panose="020B0604020202020204" pitchFamily="34" charset="0"/>
                        <a:buChar char="•"/>
                      </a:pPr>
                      <a:r>
                        <a:rPr lang="en-GB" sz="1200">
                          <a:effectLst/>
                          <a:latin typeface="Calibri" panose="020F0502020204030204" pitchFamily="34" charset="0"/>
                          <a:ea typeface="Meiryo" panose="020B0604030504040204" pitchFamily="34" charset="-128"/>
                          <a:cs typeface="Dubai" panose="020B0503030403030204" pitchFamily="34" charset="-78"/>
                        </a:rPr>
                        <a:t>China is 55% of Asia’s economy and larger than Korea, Japan, and India combined.</a:t>
                      </a:r>
                    </a:p>
                    <a:p>
                      <a:pPr marL="171450" lvl="0" indent="-171450">
                        <a:spcAft>
                          <a:spcPts val="800"/>
                        </a:spcAft>
                        <a:buFont typeface="Arial" panose="020B0604020202020204" pitchFamily="34" charset="0"/>
                        <a:buChar char="•"/>
                      </a:pPr>
                      <a:r>
                        <a:rPr lang="en-GB" sz="1200">
                          <a:latin typeface="Calibri" panose="020F0502020204030204" pitchFamily="34" charset="0"/>
                          <a:ea typeface="Meiryo" panose="020B0604030504040204" pitchFamily="34" charset="-128"/>
                          <a:cs typeface="Dubai" panose="020B0503030403030204" pitchFamily="34" charset="-78"/>
                        </a:rPr>
                        <a:t>China is largest market for many global goods </a:t>
                      </a:r>
                      <a:r>
                        <a:rPr lang="en-GB" sz="1200">
                          <a:effectLst/>
                          <a:latin typeface="Calibri" panose="020F0502020204030204" pitchFamily="34" charset="0"/>
                          <a:ea typeface="Meiryo" panose="020B0604030504040204" pitchFamily="34" charset="-128"/>
                          <a:cs typeface="Dubai" panose="020B0503030403030204" pitchFamily="34" charset="-78"/>
                        </a:rPr>
                        <a:t>(e.g. automobiles and luxury goods)</a:t>
                      </a:r>
                    </a:p>
                    <a:p>
                      <a:pPr marL="171450" lvl="0" indent="-171450">
                        <a:spcAft>
                          <a:spcPts val="800"/>
                        </a:spcAft>
                        <a:buFont typeface="Arial" panose="020B0604020202020204" pitchFamily="34" charset="0"/>
                        <a:buChar char="•"/>
                      </a:pPr>
                      <a:r>
                        <a:rPr lang="en-GB" sz="1200">
                          <a:latin typeface="Calibri" panose="020F0502020204030204" pitchFamily="34" charset="0"/>
                          <a:ea typeface="Meiryo" panose="020B0604030504040204" pitchFamily="34" charset="-128"/>
                          <a:cs typeface="Dubai" panose="020B0503030403030204" pitchFamily="34" charset="-78"/>
                        </a:rPr>
                        <a:t>Chinese MNCs are future global champions and still important global partners.</a:t>
                      </a:r>
                      <a:endParaRPr lang="en-GB" sz="1400">
                        <a:effectLst/>
                        <a:latin typeface="Calibri" panose="020F0502020204030204" pitchFamily="34" charset="0"/>
                        <a:ea typeface="Meiryo" panose="020B0604030504040204" pitchFamily="34" charset="-128"/>
                        <a:cs typeface="Dubai" panose="020B0503030403030204" pitchFamily="34" charset="-78"/>
                      </a:endParaRPr>
                    </a:p>
                  </a:txBody>
                  <a:tcPr marL="137160" marR="137160" marT="137160" marB="137160">
                    <a:lnL>
                      <a:noFill/>
                    </a:lnL>
                    <a:lnR>
                      <a:noFill/>
                    </a:lnR>
                    <a:lnT w="9525" cmpd="sng">
                      <a:noFill/>
                    </a:lnT>
                    <a:lnB w="9525" cmpd="sng">
                      <a:noFill/>
                    </a:lnB>
                    <a:lnTlToBr w="12700" cmpd="sng">
                      <a:noFill/>
                      <a:prstDash val="solid"/>
                    </a:lnTlToBr>
                    <a:lnBlToTr w="12700" cmpd="sng">
                      <a:noFill/>
                      <a:prstDash val="solid"/>
                    </a:lnBlToTr>
                  </a:tcPr>
                </a:tc>
                <a:tc>
                  <a:txBody>
                    <a:bodyPr/>
                    <a:lstStyle/>
                    <a:p>
                      <a:pPr marL="171450" marR="0" lvl="0" indent="-171450" algn="l" defTabSz="91437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en-GB" sz="1200">
                          <a:effectLst/>
                          <a:latin typeface="Calibri" panose="020F0502020204030204" pitchFamily="34" charset="0"/>
                          <a:ea typeface="Meiryo" panose="020B0604030504040204" pitchFamily="34" charset="-128"/>
                          <a:cs typeface="Dubai" panose="020B0503030403030204" pitchFamily="34" charset="-78"/>
                        </a:rPr>
                        <a:t>The intensity of risk discussions and mitigation has accelerated in the past 6 months.</a:t>
                      </a:r>
                      <a:endParaRPr lang="en-GB" sz="1200">
                        <a:latin typeface="Calibri" panose="020F0502020204030204" pitchFamily="34" charset="0"/>
                        <a:ea typeface="Meiryo" panose="020B0604030504040204" pitchFamily="34" charset="-128"/>
                        <a:cs typeface="Dubai" panose="020B0503030403030204" pitchFamily="34" charset="-78"/>
                      </a:endParaRPr>
                    </a:p>
                    <a:p>
                      <a:pPr marL="171450" lvl="0" indent="-171450">
                        <a:spcAft>
                          <a:spcPts val="800"/>
                        </a:spcAft>
                        <a:buFont typeface="Arial" panose="020B0604020202020204" pitchFamily="34" charset="0"/>
                        <a:buChar char="•"/>
                      </a:pPr>
                      <a:r>
                        <a:rPr lang="en-GB" sz="1200">
                          <a:latin typeface="Calibri" panose="020F0502020204030204" pitchFamily="34" charset="0"/>
                          <a:ea typeface="Meiryo" panose="020B0604030504040204" pitchFamily="34" charset="-128"/>
                          <a:cs typeface="Dubai" panose="020B0503030403030204" pitchFamily="34" charset="-78"/>
                        </a:rPr>
                        <a:t>Firms are seeking to mainly accept, mitigate, or share risks rather than exit.</a:t>
                      </a:r>
                      <a:endParaRPr lang="en-GB" sz="1200">
                        <a:effectLst/>
                        <a:latin typeface="Calibri" panose="020F0502020204030204" pitchFamily="34" charset="0"/>
                        <a:ea typeface="Meiryo" panose="020B0604030504040204" pitchFamily="34" charset="-128"/>
                        <a:cs typeface="Dubai" panose="020B0503030403030204" pitchFamily="34" charset="-78"/>
                      </a:endParaRPr>
                    </a:p>
                    <a:p>
                      <a:pPr marL="171450" lvl="0" indent="-171450">
                        <a:spcAft>
                          <a:spcPts val="800"/>
                        </a:spcAft>
                        <a:buFont typeface="Arial" panose="020B0604020202020204" pitchFamily="34" charset="0"/>
                        <a:buChar char="•"/>
                      </a:pPr>
                      <a:r>
                        <a:rPr lang="en-GB" sz="1200">
                          <a:effectLst/>
                          <a:latin typeface="Calibri" panose="020F0502020204030204" pitchFamily="34" charset="0"/>
                          <a:ea typeface="Meiryo" panose="020B0604030504040204" pitchFamily="34" charset="-128"/>
                          <a:cs typeface="Dubai" panose="020B0503030403030204" pitchFamily="34" charset="-78"/>
                        </a:rPr>
                        <a:t>Business structures are changing fastest among non-financial firms relative to financial.</a:t>
                      </a:r>
                    </a:p>
                  </a:txBody>
                  <a:tcPr marL="137160" marR="137160" marT="137160" marB="137160">
                    <a:lnL>
                      <a:noFill/>
                    </a:lnL>
                    <a:lnR>
                      <a:noFill/>
                    </a:lnR>
                    <a:lnT w="9525" cmpd="sng">
                      <a:noFill/>
                    </a:lnT>
                    <a:lnB w="9525" cmpd="sng">
                      <a:noFill/>
                    </a:lnB>
                    <a:lnTlToBr w="12700" cmpd="sng">
                      <a:noFill/>
                      <a:prstDash val="solid"/>
                    </a:lnTlToBr>
                    <a:lnBlToTr w="12700" cmpd="sng">
                      <a:noFill/>
                      <a:prstDash val="solid"/>
                    </a:lnBlToTr>
                  </a:tcPr>
                </a:tc>
                <a:tc>
                  <a:txBody>
                    <a:bodyPr/>
                    <a:lstStyle/>
                    <a:p>
                      <a:pPr marL="285750" indent="-285750">
                        <a:spcAft>
                          <a:spcPts val="800"/>
                        </a:spcAft>
                        <a:buFont typeface="Arial" panose="020B0604020202020204" pitchFamily="34" charset="0"/>
                        <a:buChar char="•"/>
                      </a:pPr>
                      <a:r>
                        <a:rPr lang="en-GB" sz="1200">
                          <a:latin typeface="Calibri" panose="020F0502020204030204" pitchFamily="34" charset="0"/>
                          <a:ea typeface="Meiryo" panose="020B0604030504040204" pitchFamily="34" charset="-128"/>
                          <a:cs typeface="Dubai" panose="020B0503030403030204" pitchFamily="34" charset="-78"/>
                        </a:rPr>
                        <a:t>Mitigation measures to further localize operations and build firewalls</a:t>
                      </a:r>
                      <a:endParaRPr lang="en-GB" sz="1200">
                        <a:effectLst/>
                        <a:latin typeface="Calibri" panose="020F0502020204030204" pitchFamily="34" charset="0"/>
                        <a:ea typeface="Meiryo" panose="020B0604030504040204" pitchFamily="34" charset="-128"/>
                        <a:cs typeface="Dubai" panose="020B0503030403030204" pitchFamily="34" charset="-78"/>
                      </a:endParaRPr>
                    </a:p>
                    <a:p>
                      <a:pPr marL="285750" lvl="0" indent="-285750">
                        <a:spcAft>
                          <a:spcPts val="800"/>
                        </a:spcAft>
                        <a:buFont typeface="Arial" panose="020B0604020202020204" pitchFamily="34" charset="0"/>
                        <a:buChar char="•"/>
                      </a:pPr>
                      <a:r>
                        <a:rPr lang="en-GB" sz="1200">
                          <a:effectLst/>
                          <a:latin typeface="Calibri" panose="020F0502020204030204" pitchFamily="34" charset="0"/>
                          <a:ea typeface="Meiryo" panose="020B0604030504040204" pitchFamily="34" charset="-128"/>
                          <a:cs typeface="Dubai" panose="020B0503030403030204" pitchFamily="34" charset="-78"/>
                        </a:rPr>
                        <a:t>Foreign management further declines during COVID and on recent policies.</a:t>
                      </a:r>
                    </a:p>
                    <a:p>
                      <a:pPr marL="285750" lvl="0" indent="-285750">
                        <a:spcAft>
                          <a:spcPts val="800"/>
                        </a:spcAft>
                        <a:buFont typeface="Arial" panose="020B0604020202020204" pitchFamily="34" charset="0"/>
                        <a:buChar char="•"/>
                      </a:pPr>
                      <a:r>
                        <a:rPr lang="en-GB" sz="1200">
                          <a:effectLst/>
                          <a:latin typeface="Calibri" panose="020F0502020204030204" pitchFamily="34" charset="0"/>
                          <a:ea typeface="Meiryo" panose="020B0604030504040204" pitchFamily="34" charset="-128"/>
                          <a:cs typeface="Dubai" panose="020B0503030403030204" pitchFamily="34" charset="-78"/>
                        </a:rPr>
                        <a:t>Data transfer laws are illustrative of regulatory firewalls that further decouple business.</a:t>
                      </a:r>
                    </a:p>
                  </a:txBody>
                  <a:tcPr marL="137160" marR="137160" marT="137160" marB="137160">
                    <a:lnL>
                      <a:noFill/>
                    </a:lnL>
                    <a:lnR>
                      <a:noFill/>
                    </a:lnR>
                    <a:lnT w="9525" cmpd="sng">
                      <a:noFill/>
                    </a:lnT>
                    <a:lnB w="9525" cmpd="sng">
                      <a:noFill/>
                    </a:lnB>
                    <a:lnTlToBr w="12700" cmpd="sng">
                      <a:noFill/>
                      <a:prstDash val="solid"/>
                    </a:lnTlToBr>
                    <a:lnBlToTr w="12700" cmpd="sng">
                      <a:noFill/>
                      <a:prstDash val="solid"/>
                    </a:lnBlToTr>
                  </a:tcPr>
                </a:tc>
                <a:tc>
                  <a:txBody>
                    <a:bodyPr/>
                    <a:lstStyle/>
                    <a:p>
                      <a:pPr marL="285750" lvl="0" indent="-285750">
                        <a:spcAft>
                          <a:spcPts val="800"/>
                        </a:spcAft>
                        <a:buFont typeface="Arial" panose="020B0604020202020204" pitchFamily="34" charset="0"/>
                        <a:buChar char="•"/>
                      </a:pPr>
                      <a:r>
                        <a:rPr lang="en-GB" sz="1200">
                          <a:latin typeface="Calibri" panose="020F0502020204030204" pitchFamily="34" charset="0"/>
                          <a:ea typeface="Meiryo" panose="020B0604030504040204" pitchFamily="34" charset="-128"/>
                          <a:cs typeface="Dubai" panose="020B0503030403030204" pitchFamily="34" charset="-78"/>
                        </a:rPr>
                        <a:t>Southeast Asia and India GDP growth 1% to 2% faster than China for now.</a:t>
                      </a:r>
                    </a:p>
                    <a:p>
                      <a:pPr marL="285750" lvl="0" indent="-285750">
                        <a:spcAft>
                          <a:spcPts val="800"/>
                        </a:spcAft>
                        <a:buFont typeface="Arial" panose="020B0604020202020204" pitchFamily="34" charset="0"/>
                        <a:buChar char="•"/>
                      </a:pPr>
                      <a:r>
                        <a:rPr lang="en-GB" sz="1200">
                          <a:effectLst/>
                          <a:latin typeface="Calibri" panose="020F0502020204030204" pitchFamily="34" charset="0"/>
                          <a:ea typeface="Meiryo" panose="020B0604030504040204" pitchFamily="34" charset="-128"/>
                          <a:cs typeface="Dubai" panose="020B0503030403030204" pitchFamily="34" charset="-78"/>
                        </a:rPr>
                        <a:t>Middle East opportunities for select firms (e.g. construction) are booming.</a:t>
                      </a:r>
                    </a:p>
                    <a:p>
                      <a:pPr marL="285750" lvl="0" indent="-285750">
                        <a:spcAft>
                          <a:spcPts val="800"/>
                        </a:spcAft>
                        <a:buFont typeface="Arial" panose="020B0604020202020204" pitchFamily="34" charset="0"/>
                        <a:buChar char="•"/>
                      </a:pPr>
                      <a:r>
                        <a:rPr lang="en-GB" sz="1200">
                          <a:latin typeface="Calibri" panose="020F0502020204030204" pitchFamily="34" charset="0"/>
                          <a:ea typeface="Meiryo" panose="020B0604030504040204" pitchFamily="34" charset="-128"/>
                          <a:cs typeface="Dubai" panose="020B0503030403030204" pitchFamily="34" charset="-78"/>
                        </a:rPr>
                        <a:t>Capital-heavy factory owners will be slower to invest in new capacity.</a:t>
                      </a:r>
                      <a:endParaRPr lang="en-GB" sz="1400">
                        <a:effectLst/>
                        <a:latin typeface="Calibri" panose="020F0502020204030204" pitchFamily="34" charset="0"/>
                        <a:ea typeface="Meiryo" panose="020B0604030504040204" pitchFamily="34" charset="-128"/>
                        <a:cs typeface="Dubai" panose="020B0503030403030204" pitchFamily="34" charset="-78"/>
                      </a:endParaRPr>
                    </a:p>
                  </a:txBody>
                  <a:tcPr marL="137160" marR="137160" marT="137160" marB="137160">
                    <a:lnL>
                      <a:noFill/>
                    </a:lnL>
                    <a:lnR>
                      <a:noFill/>
                    </a:lnR>
                    <a:lnT w="9525" cmpd="sng">
                      <a:noFill/>
                    </a:lnT>
                    <a:lnB w="9525" cmpd="sng">
                      <a:noFill/>
                    </a:lnB>
                    <a:lnTlToBr w="12700" cmpd="sng">
                      <a:noFill/>
                      <a:prstDash val="solid"/>
                    </a:lnTlToBr>
                    <a:lnBlToTr w="12700" cmpd="sng">
                      <a:noFill/>
                      <a:prstDash val="solid"/>
                    </a:lnBlToTr>
                  </a:tcPr>
                </a:tc>
                <a:extLst>
                  <a:ext uri="{0D108BD9-81ED-4DB2-BD59-A6C34878D82A}">
                    <a16:rowId xmlns:a16="http://schemas.microsoft.com/office/drawing/2014/main" val="2095188181"/>
                  </a:ext>
                </a:extLst>
              </a:tr>
            </a:tbl>
          </a:graphicData>
        </a:graphic>
      </p:graphicFrame>
      <p:pic>
        <p:nvPicPr>
          <p:cNvPr id="10" name="ico-curved-arrow-left">
            <a:extLst>
              <a:ext uri="{FF2B5EF4-FFF2-40B4-BE49-F238E27FC236}">
                <a16:creationId xmlns:a16="http://schemas.microsoft.com/office/drawing/2014/main" id="{40D9DECA-6257-48F9-9CFA-52AB633965DF}"/>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858815" y="2059878"/>
            <a:ext cx="685800" cy="685800"/>
          </a:xfrm>
          <a:prstGeom prst="rect">
            <a:avLst/>
          </a:prstGeom>
        </p:spPr>
      </p:pic>
      <p:pic>
        <p:nvPicPr>
          <p:cNvPr id="11" name="ico-world-2">
            <a:extLst>
              <a:ext uri="{FF2B5EF4-FFF2-40B4-BE49-F238E27FC236}">
                <a16:creationId xmlns:a16="http://schemas.microsoft.com/office/drawing/2014/main" id="{F3CDF98A-DD5C-4493-B61B-69EB0ED1199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516867" y="2059878"/>
            <a:ext cx="685800" cy="685800"/>
          </a:xfrm>
          <a:prstGeom prst="rect">
            <a:avLst/>
          </a:prstGeom>
        </p:spPr>
      </p:pic>
      <p:pic>
        <p:nvPicPr>
          <p:cNvPr id="12" name="ico-risk-management">
            <a:extLst>
              <a:ext uri="{FF2B5EF4-FFF2-40B4-BE49-F238E27FC236}">
                <a16:creationId xmlns:a16="http://schemas.microsoft.com/office/drawing/2014/main" id="{FF45B324-24BC-4903-BD29-846ACB1E6266}"/>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304487" y="2049918"/>
            <a:ext cx="685800" cy="685800"/>
          </a:xfrm>
          <a:prstGeom prst="rect">
            <a:avLst/>
          </a:prstGeom>
        </p:spPr>
      </p:pic>
      <p:sp>
        <p:nvSpPr>
          <p:cNvPr id="2" name="Ghost">
            <a:extLst>
              <a:ext uri="{FF2B5EF4-FFF2-40B4-BE49-F238E27FC236}">
                <a16:creationId xmlns:a16="http://schemas.microsoft.com/office/drawing/2014/main" id="{7BA918F3-E5C1-3B4F-8886-36699E7DB8A5}"/>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3692757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936EF-0A77-2C79-3C74-44491BFAF8E6}"/>
              </a:ext>
            </a:extLst>
          </p:cNvPr>
          <p:cNvSpPr>
            <a:spLocks noGrp="1"/>
          </p:cNvSpPr>
          <p:nvPr>
            <p:ph type="title"/>
          </p:nvPr>
        </p:nvSpPr>
        <p:spPr/>
        <p:txBody>
          <a:bodyPr/>
          <a:lstStyle/>
          <a:p>
            <a:r>
              <a:rPr lang="en-GB">
                <a:solidFill>
                  <a:srgbClr val="009DE0"/>
                </a:solidFill>
              </a:rPr>
              <a:t>geopolitics: </a:t>
            </a:r>
            <a:r>
              <a:rPr lang="en-GB"/>
              <a:t>China still offers a compelling story</a:t>
            </a:r>
          </a:p>
        </p:txBody>
      </p:sp>
      <p:sp>
        <p:nvSpPr>
          <p:cNvPr id="33" name="Rectangle 32">
            <a:extLst>
              <a:ext uri="{FF2B5EF4-FFF2-40B4-BE49-F238E27FC236}">
                <a16:creationId xmlns:a16="http://schemas.microsoft.com/office/drawing/2014/main" id="{82700B80-D587-68CD-57A3-85D9150501FC}"/>
              </a:ext>
            </a:extLst>
          </p:cNvPr>
          <p:cNvSpPr/>
          <p:nvPr/>
        </p:nvSpPr>
        <p:spPr>
          <a:xfrm>
            <a:off x="457199" y="1955856"/>
            <a:ext cx="3210338" cy="4328466"/>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graphicFrame>
        <p:nvGraphicFramePr>
          <p:cNvPr id="34" name="Table 33">
            <a:extLst>
              <a:ext uri="{FF2B5EF4-FFF2-40B4-BE49-F238E27FC236}">
                <a16:creationId xmlns:a16="http://schemas.microsoft.com/office/drawing/2014/main" id="{2C9C0292-E6AB-56DD-2C53-D463652C0BC5}"/>
              </a:ext>
            </a:extLst>
          </p:cNvPr>
          <p:cNvGraphicFramePr>
            <a:graphicFrameLocks noGrp="1"/>
          </p:cNvGraphicFramePr>
          <p:nvPr>
            <p:extLst>
              <p:ext uri="{D42A27DB-BD31-4B8C-83A1-F6EECF244321}">
                <p14:modId xmlns:p14="http://schemas.microsoft.com/office/powerpoint/2010/main" val="4040668342"/>
              </p:ext>
            </p:extLst>
          </p:nvPr>
        </p:nvGraphicFramePr>
        <p:xfrm>
          <a:off x="583182" y="2032684"/>
          <a:ext cx="2915390" cy="4193490"/>
        </p:xfrm>
        <a:graphic>
          <a:graphicData uri="http://schemas.openxmlformats.org/drawingml/2006/table">
            <a:tbl>
              <a:tblPr firstRow="1" bandRow="1">
                <a:tableStyleId>{839DD9DD-9E6C-4910-8AC0-68ADFF6A6AFC}</a:tableStyleId>
              </a:tblPr>
              <a:tblGrid>
                <a:gridCol w="1024741">
                  <a:extLst>
                    <a:ext uri="{9D8B030D-6E8A-4147-A177-3AD203B41FA5}">
                      <a16:colId xmlns:a16="http://schemas.microsoft.com/office/drawing/2014/main" val="3954262239"/>
                    </a:ext>
                  </a:extLst>
                </a:gridCol>
                <a:gridCol w="1221403">
                  <a:extLst>
                    <a:ext uri="{9D8B030D-6E8A-4147-A177-3AD203B41FA5}">
                      <a16:colId xmlns:a16="http://schemas.microsoft.com/office/drawing/2014/main" val="4152090847"/>
                    </a:ext>
                  </a:extLst>
                </a:gridCol>
                <a:gridCol w="669246">
                  <a:extLst>
                    <a:ext uri="{9D8B030D-6E8A-4147-A177-3AD203B41FA5}">
                      <a16:colId xmlns:a16="http://schemas.microsoft.com/office/drawing/2014/main" val="3414596204"/>
                    </a:ext>
                  </a:extLst>
                </a:gridCol>
              </a:tblGrid>
              <a:tr h="599070">
                <a:tc>
                  <a:txBody>
                    <a:bodyPr/>
                    <a:lstStyle/>
                    <a:p>
                      <a:endParaRPr lang="en-GB" b="0"/>
                    </a:p>
                  </a:txBody>
                  <a:tcPr anchor="ctr">
                    <a:lnL>
                      <a:noFill/>
                    </a:lnL>
                    <a:lnR>
                      <a:noFill/>
                    </a:lnR>
                    <a:lnT>
                      <a:noFill/>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r>
                        <a:rPr lang="en-GB" sz="1400" b="0"/>
                        <a:t>Volkswagen</a:t>
                      </a:r>
                    </a:p>
                  </a:txBody>
                  <a:tcPr anchor="ctr">
                    <a:lnL>
                      <a:noFill/>
                    </a:lnL>
                    <a:lnR>
                      <a:noFill/>
                    </a:lnR>
                    <a:lnT>
                      <a:noFill/>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GB" sz="1600" b="0">
                          <a:latin typeface="+mj-lt"/>
                        </a:rPr>
                        <a:t>38%</a:t>
                      </a:r>
                    </a:p>
                  </a:txBody>
                  <a:tcPr anchor="ctr">
                    <a:lnL>
                      <a:noFill/>
                    </a:lnL>
                    <a:lnR>
                      <a:noFill/>
                    </a:lnR>
                    <a:lnT>
                      <a:noFill/>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9233285"/>
                  </a:ext>
                </a:extLst>
              </a:tr>
              <a:tr h="599070">
                <a:tc>
                  <a:txBody>
                    <a:bodyPr/>
                    <a:lstStyle/>
                    <a:p>
                      <a:endParaRPr lang="en-GB"/>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r>
                        <a:rPr lang="en-GB" sz="1400"/>
                        <a:t>Tesla</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GB" sz="1600">
                          <a:latin typeface="+mj-lt"/>
                        </a:rPr>
                        <a:t>26%</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1890821"/>
                  </a:ext>
                </a:extLst>
              </a:tr>
              <a:tr h="599070">
                <a:tc>
                  <a:txBody>
                    <a:bodyPr/>
                    <a:lstStyle/>
                    <a:p>
                      <a:endParaRPr lang="en-GB"/>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r>
                        <a:rPr lang="en-GB" sz="1400"/>
                        <a:t>Adidas</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GB" sz="1600">
                          <a:latin typeface="+mj-lt"/>
                        </a:rPr>
                        <a:t>22%</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3363030"/>
                  </a:ext>
                </a:extLst>
              </a:tr>
              <a:tr h="599070">
                <a:tc>
                  <a:txBody>
                    <a:bodyPr/>
                    <a:lstStyle/>
                    <a:p>
                      <a:endParaRPr lang="en-GB"/>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r>
                        <a:rPr lang="en-GB" sz="1400"/>
                        <a:t>Apple</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GB" sz="1600">
                          <a:latin typeface="+mj-lt"/>
                        </a:rPr>
                        <a:t>19%</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191944"/>
                  </a:ext>
                </a:extLst>
              </a:tr>
              <a:tr h="599070">
                <a:tc>
                  <a:txBody>
                    <a:bodyPr/>
                    <a:lstStyle/>
                    <a:p>
                      <a:endParaRPr lang="en-GB"/>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r>
                        <a:rPr lang="en-GB" sz="1400" b="0"/>
                        <a:t>Nike</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GB" sz="1600" b="0">
                          <a:latin typeface="+mj-lt"/>
                        </a:rPr>
                        <a:t>19%</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6670687"/>
                  </a:ext>
                </a:extLst>
              </a:tr>
              <a:tr h="599070">
                <a:tc>
                  <a:txBody>
                    <a:bodyPr/>
                    <a:lstStyle/>
                    <a:p>
                      <a:endParaRPr lang="en-GB"/>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r>
                        <a:rPr lang="en-GB" sz="1400"/>
                        <a:t>Ford</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GB" sz="1600">
                          <a:latin typeface="+mj-lt"/>
                        </a:rPr>
                        <a:t>17%</a:t>
                      </a:r>
                    </a:p>
                  </a:txBody>
                  <a:tcPr anchor="ctr">
                    <a:lnL>
                      <a:noFill/>
                    </a:lnL>
                    <a:lnR>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96599654"/>
                  </a:ext>
                </a:extLst>
              </a:tr>
              <a:tr h="599070">
                <a:tc>
                  <a:txBody>
                    <a:bodyPr/>
                    <a:lstStyle/>
                    <a:p>
                      <a:endParaRPr lang="en-GB"/>
                    </a:p>
                  </a:txBody>
                  <a:tcPr anchor="ctr">
                    <a:lnL>
                      <a:noFill/>
                    </a:lnL>
                    <a:lnR>
                      <a:noFill/>
                    </a:lnR>
                    <a:lnT w="6350" cap="flat" cmpd="sng" algn="ctr">
                      <a:solidFill>
                        <a:schemeClr val="tx1"/>
                      </a:solidFill>
                      <a:prstDash val="sysDot"/>
                      <a:round/>
                      <a:headEnd type="none" w="med" len="med"/>
                      <a:tailEnd type="none" w="med" len="med"/>
                    </a:lnT>
                    <a:lnB w="9525" cmpd="sng">
                      <a:noFill/>
                    </a:lnB>
                    <a:lnTlToBr w="12700" cmpd="sng">
                      <a:noFill/>
                      <a:prstDash val="solid"/>
                    </a:lnTlToBr>
                    <a:lnBlToTr w="12700" cmpd="sng">
                      <a:noFill/>
                      <a:prstDash val="solid"/>
                    </a:lnBlToTr>
                  </a:tcPr>
                </a:tc>
                <a:tc>
                  <a:txBody>
                    <a:bodyPr/>
                    <a:lstStyle/>
                    <a:p>
                      <a:r>
                        <a:rPr lang="en-GB" sz="1400"/>
                        <a:t>Starbucks</a:t>
                      </a:r>
                    </a:p>
                  </a:txBody>
                  <a:tcPr anchor="ctr">
                    <a:lnL>
                      <a:noFill/>
                    </a:lnL>
                    <a:lnR>
                      <a:noFill/>
                    </a:lnR>
                    <a:lnT w="6350" cap="flat" cmpd="sng" algn="ctr">
                      <a:solidFill>
                        <a:schemeClr val="tx1"/>
                      </a:solidFill>
                      <a:prstDash val="sysDot"/>
                      <a:round/>
                      <a:headEnd type="none" w="med" len="med"/>
                      <a:tailEnd type="none" w="med" len="med"/>
                    </a:lnT>
                    <a:lnB w="9525" cmpd="sng">
                      <a:noFill/>
                    </a:lnB>
                    <a:lnTlToBr w="12700" cmpd="sng">
                      <a:noFill/>
                      <a:prstDash val="solid"/>
                    </a:lnTlToBr>
                    <a:lnBlToTr w="12700" cmpd="sng">
                      <a:noFill/>
                      <a:prstDash val="solid"/>
                    </a:lnBlToTr>
                  </a:tcPr>
                </a:tc>
                <a:tc>
                  <a:txBody>
                    <a:bodyPr/>
                    <a:lstStyle/>
                    <a:p>
                      <a:pPr algn="ctr"/>
                      <a:r>
                        <a:rPr lang="en-GB" sz="1600">
                          <a:latin typeface="+mj-lt"/>
                        </a:rPr>
                        <a:t>13%</a:t>
                      </a:r>
                    </a:p>
                  </a:txBody>
                  <a:tcPr anchor="ctr">
                    <a:lnL>
                      <a:noFill/>
                    </a:lnL>
                    <a:lnR>
                      <a:noFill/>
                    </a:lnR>
                    <a:lnT w="6350" cap="flat" cmpd="sng" algn="ctr">
                      <a:solidFill>
                        <a:schemeClr val="tx1"/>
                      </a:solidFill>
                      <a:prstDash val="sysDot"/>
                      <a:round/>
                      <a:headEnd type="none" w="med" len="med"/>
                      <a:tailEnd type="none" w="med" len="med"/>
                    </a:lnT>
                    <a:lnB w="9525" cmpd="sng">
                      <a:noFill/>
                    </a:lnB>
                    <a:lnTlToBr w="12700" cmpd="sng">
                      <a:noFill/>
                      <a:prstDash val="solid"/>
                    </a:lnTlToBr>
                    <a:lnBlToTr w="12700" cmpd="sng">
                      <a:noFill/>
                      <a:prstDash val="solid"/>
                    </a:lnBlToTr>
                  </a:tcPr>
                </a:tc>
                <a:extLst>
                  <a:ext uri="{0D108BD9-81ED-4DB2-BD59-A6C34878D82A}">
                    <a16:rowId xmlns:a16="http://schemas.microsoft.com/office/drawing/2014/main" val="3911893521"/>
                  </a:ext>
                </a:extLst>
              </a:tr>
            </a:tbl>
          </a:graphicData>
        </a:graphic>
      </p:graphicFrame>
      <p:pic>
        <p:nvPicPr>
          <p:cNvPr id="35" name="Apple">
            <a:extLst>
              <a:ext uri="{FF2B5EF4-FFF2-40B4-BE49-F238E27FC236}">
                <a16:creationId xmlns:a16="http://schemas.microsoft.com/office/drawing/2014/main" id="{4143A0AD-9916-C717-E887-F84A11A9524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868017" y="3905544"/>
            <a:ext cx="318441" cy="381389"/>
          </a:xfrm>
          <a:prstGeom prst="rect">
            <a:avLst/>
          </a:prstGeom>
          <a:noFill/>
          <a:extLst>
            <a:ext uri="{909E8E84-426E-40DD-AFC4-6F175D3DCCD1}">
              <a14:hiddenFill xmlns:a14="http://schemas.microsoft.com/office/drawing/2010/main">
                <a:solidFill>
                  <a:srgbClr val="FFFFFF"/>
                </a:solidFill>
              </a14:hiddenFill>
            </a:ext>
          </a:extLst>
        </p:spPr>
      </p:pic>
      <p:pic>
        <p:nvPicPr>
          <p:cNvPr id="36" name="Ford Motor Company">
            <a:extLst>
              <a:ext uri="{FF2B5EF4-FFF2-40B4-BE49-F238E27FC236}">
                <a16:creationId xmlns:a16="http://schemas.microsoft.com/office/drawing/2014/main" id="{2117FB0B-0CFF-EA68-206B-124C710C4C2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770976" y="5304149"/>
            <a:ext cx="546878" cy="205770"/>
          </a:xfrm>
          <a:prstGeom prst="rect">
            <a:avLst/>
          </a:prstGeom>
          <a:noFill/>
          <a:extLst>
            <a:ext uri="{909E8E84-426E-40DD-AFC4-6F175D3DCCD1}">
              <a14:hiddenFill xmlns:a14="http://schemas.microsoft.com/office/drawing/2010/main">
                <a:solidFill>
                  <a:srgbClr val="FFFFFF"/>
                </a:solidFill>
              </a14:hiddenFill>
            </a:ext>
          </a:extLst>
        </p:spPr>
      </p:pic>
      <p:pic>
        <p:nvPicPr>
          <p:cNvPr id="37" name="Nike">
            <a:extLst>
              <a:ext uri="{FF2B5EF4-FFF2-40B4-BE49-F238E27FC236}">
                <a16:creationId xmlns:a16="http://schemas.microsoft.com/office/drawing/2014/main" id="{5E6F926B-36C9-EAF5-BB54-789FA142A10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841783" y="4726028"/>
            <a:ext cx="439255" cy="158459"/>
          </a:xfrm>
          <a:prstGeom prst="rect">
            <a:avLst/>
          </a:prstGeom>
          <a:noFill/>
          <a:extLst>
            <a:ext uri="{909E8E84-426E-40DD-AFC4-6F175D3DCCD1}">
              <a14:hiddenFill xmlns:a14="http://schemas.microsoft.com/office/drawing/2010/main">
                <a:solidFill>
                  <a:srgbClr val="FFFFFF"/>
                </a:solidFill>
              </a14:hiddenFill>
            </a:ext>
          </a:extLst>
        </p:spPr>
      </p:pic>
      <p:sp>
        <p:nvSpPr>
          <p:cNvPr id="38" name="Text Placeholder 3">
            <a:extLst>
              <a:ext uri="{FF2B5EF4-FFF2-40B4-BE49-F238E27FC236}">
                <a16:creationId xmlns:a16="http://schemas.microsoft.com/office/drawing/2014/main" id="{CA368A22-21B4-FEEA-7593-11393F6E147F}"/>
              </a:ext>
            </a:extLst>
          </p:cNvPr>
          <p:cNvSpPr>
            <a:spLocks noGrp="1"/>
          </p:cNvSpPr>
          <p:nvPr>
            <p:ph type="body" idx="10"/>
          </p:nvPr>
        </p:nvSpPr>
        <p:spPr>
          <a:xfrm>
            <a:off x="457199" y="1399032"/>
            <a:ext cx="6621029" cy="429768"/>
          </a:xfrm>
        </p:spPr>
        <p:txBody>
          <a:bodyPr/>
          <a:lstStyle/>
          <a:p>
            <a:pPr>
              <a:buNone/>
            </a:pPr>
            <a:r>
              <a:rPr lang="en-GB"/>
              <a:t>Major MNCs share of revenue from China and China’s growth of Asia’s GDP</a:t>
            </a:r>
          </a:p>
          <a:p>
            <a:pPr>
              <a:buNone/>
            </a:pPr>
            <a:r>
              <a:rPr lang="en-GB" sz="1200" b="0"/>
              <a:t>% share, 2021 and % share (2023)</a:t>
            </a:r>
            <a:endParaRPr lang="en-GB" b="0"/>
          </a:p>
        </p:txBody>
      </p:sp>
      <p:sp>
        <p:nvSpPr>
          <p:cNvPr id="39" name="Text Placeholder 4">
            <a:extLst>
              <a:ext uri="{FF2B5EF4-FFF2-40B4-BE49-F238E27FC236}">
                <a16:creationId xmlns:a16="http://schemas.microsoft.com/office/drawing/2014/main" id="{71FFC185-B0B4-B3E5-A2C7-2F088F3B5F97}"/>
              </a:ext>
            </a:extLst>
          </p:cNvPr>
          <p:cNvSpPr>
            <a:spLocks noGrp="1"/>
          </p:cNvSpPr>
          <p:nvPr>
            <p:ph type="body" sz="quarter" idx="13"/>
          </p:nvPr>
        </p:nvSpPr>
        <p:spPr>
          <a:xfrm>
            <a:off x="8280398" y="1399032"/>
            <a:ext cx="3586006" cy="429768"/>
          </a:xfrm>
        </p:spPr>
        <p: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solidFill>
                  <a:schemeClr val="tx1"/>
                </a:solidFill>
                <a:latin typeface="Calibri" panose="020F0502020204030204" pitchFamily="34" charset="0"/>
                <a:ea typeface="Meiryo" panose="020B0604030504040204" pitchFamily="34" charset="-128"/>
                <a:cs typeface="Dubai" panose="020B0503030403030204" pitchFamily="34" charset="-78"/>
              </a:rPr>
              <a:t>There is no “next China”. MNCs are still attracted by the country’s scale.</a:t>
            </a:r>
            <a:endParaRPr lang="en-GB" sz="1400" b="1">
              <a:solidFill>
                <a:schemeClr val="tx1"/>
              </a:solidFill>
              <a:effectLst/>
              <a:latin typeface="Calibri" panose="020F0502020204030204" pitchFamily="34" charset="0"/>
              <a:ea typeface="Meiryo" panose="020B0604030504040204" pitchFamily="34" charset="-128"/>
              <a:cs typeface="Dubai" panose="020B0503030403030204" pitchFamily="34" charset="-78"/>
            </a:endParaRPr>
          </a:p>
        </p:txBody>
      </p:sp>
      <p:sp>
        <p:nvSpPr>
          <p:cNvPr id="40" name="Content Placeholder 12">
            <a:extLst>
              <a:ext uri="{FF2B5EF4-FFF2-40B4-BE49-F238E27FC236}">
                <a16:creationId xmlns:a16="http://schemas.microsoft.com/office/drawing/2014/main" id="{30FEB4BA-11CF-24E8-2D8F-1324A6F850CB}"/>
              </a:ext>
            </a:extLst>
          </p:cNvPr>
          <p:cNvSpPr txBox="1">
            <a:spLocks/>
          </p:cNvSpPr>
          <p:nvPr/>
        </p:nvSpPr>
        <p:spPr>
          <a:xfrm>
            <a:off x="8280399" y="1943100"/>
            <a:ext cx="3454400" cy="4457700"/>
          </a:xfrm>
          <a:prstGeom prst="rect">
            <a:avLst/>
          </a:prstGeom>
        </p:spPr>
        <p:txBody>
          <a:bodyPr vert="horz" lIns="0" tIns="0" rIns="0" bIns="0" rtlCol="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171450" indent="-171450">
              <a:spcAft>
                <a:spcPts val="800"/>
              </a:spcAft>
            </a:pPr>
            <a:r>
              <a:rPr lang="en-GB">
                <a:latin typeface="Calibri" panose="020F0502020204030204" pitchFamily="34" charset="0"/>
                <a:ea typeface="Meiryo" panose="020B0604030504040204" pitchFamily="34" charset="-128"/>
                <a:cs typeface="Dubai" panose="020B0503030403030204" pitchFamily="34" charset="-78"/>
              </a:rPr>
              <a:t>China is 55% of Asia’s economy and larger than Korea, Japan, and India combined. There is no easy alternative.</a:t>
            </a:r>
          </a:p>
          <a:p>
            <a:pPr marL="171450" indent="-171450">
              <a:spcAft>
                <a:spcPts val="800"/>
              </a:spcAft>
            </a:pPr>
            <a:r>
              <a:rPr lang="en-GB">
                <a:latin typeface="Calibri" panose="020F0502020204030204" pitchFamily="34" charset="0"/>
                <a:ea typeface="Meiryo" panose="020B0604030504040204" pitchFamily="34" charset="-128"/>
                <a:cs typeface="Dubai" panose="020B0503030403030204" pitchFamily="34" charset="-78"/>
              </a:rPr>
              <a:t>China is largest market for many global goods (e.g. automobiles and luxury goods),  and still growing.</a:t>
            </a:r>
          </a:p>
          <a:p>
            <a:pPr marL="171450" indent="-171450">
              <a:spcAft>
                <a:spcPts val="800"/>
              </a:spcAft>
            </a:pPr>
            <a:r>
              <a:rPr lang="en-GB">
                <a:latin typeface="Calibri" panose="020F0502020204030204" pitchFamily="34" charset="0"/>
                <a:ea typeface="Meiryo" panose="020B0604030504040204" pitchFamily="34" charset="-128"/>
                <a:cs typeface="Dubai" panose="020B0503030403030204" pitchFamily="34" charset="-78"/>
              </a:rPr>
              <a:t>Chinese MNCs are future global champions and foreign MNCs must learn how to compete or partner.</a:t>
            </a:r>
            <a:endParaRPr lang="en-GB"/>
          </a:p>
        </p:txBody>
      </p:sp>
      <p:pic>
        <p:nvPicPr>
          <p:cNvPr id="41" name="Starbucks">
            <a:extLst>
              <a:ext uri="{FF2B5EF4-FFF2-40B4-BE49-F238E27FC236}">
                <a16:creationId xmlns:a16="http://schemas.microsoft.com/office/drawing/2014/main" id="{8758C7E2-00EE-FDF2-6189-D4EE5956305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51796" y="5738225"/>
            <a:ext cx="382712" cy="382712"/>
          </a:xfrm>
          <a:prstGeom prst="rect">
            <a:avLst/>
          </a:prstGeom>
        </p:spPr>
      </p:pic>
      <p:pic>
        <p:nvPicPr>
          <p:cNvPr id="42" name="Tesla_2">
            <a:extLst>
              <a:ext uri="{FF2B5EF4-FFF2-40B4-BE49-F238E27FC236}">
                <a16:creationId xmlns:a16="http://schemas.microsoft.com/office/drawing/2014/main" id="{49F823D1-5B98-E052-A2A3-3C35D8223D1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579" y="2767705"/>
            <a:ext cx="291316" cy="377924"/>
          </a:xfrm>
          <a:prstGeom prst="rect">
            <a:avLst/>
          </a:prstGeom>
        </p:spPr>
      </p:pic>
      <p:sp>
        <p:nvSpPr>
          <p:cNvPr id="43" name="Text Placeholder 4">
            <a:extLst>
              <a:ext uri="{FF2B5EF4-FFF2-40B4-BE49-F238E27FC236}">
                <a16:creationId xmlns:a16="http://schemas.microsoft.com/office/drawing/2014/main" id="{10E052B2-21E4-F9D6-820D-7CF5C21F77BC}"/>
              </a:ext>
            </a:extLst>
          </p:cNvPr>
          <p:cNvSpPr txBox="1">
            <a:spLocks/>
          </p:cNvSpPr>
          <p:nvPr/>
        </p:nvSpPr>
        <p:spPr>
          <a:xfrm>
            <a:off x="6456204" y="2174323"/>
            <a:ext cx="5410200" cy="429768"/>
          </a:xfrm>
          <a:prstGeom prst="rect">
            <a:avLst/>
          </a:prstGeom>
        </p:spPr>
        <p:txBody>
          <a:bodyPr vert="horz" lIns="0" tIns="0" rIns="0" bIns="0" rtlCol="0">
            <a:noAutofit/>
          </a:bodyPr>
          <a:lstStyle>
            <a:lvl1pPr marL="0" indent="0" algn="l" defTabSz="914370" rtl="0" eaLnBrk="1" latinLnBrk="0" hangingPunct="1">
              <a:spcBef>
                <a:spcPts val="0"/>
              </a:spcBef>
              <a:buFont typeface="Arial" panose="020B0604020202020204" pitchFamily="34" charset="0"/>
              <a:buChar char="​"/>
              <a:defRPr sz="1400" b="1" kern="0">
                <a:solidFill>
                  <a:schemeClr val="tx1"/>
                </a:solidFill>
                <a:latin typeface="+mn-lt"/>
                <a:ea typeface="+mn-ea"/>
                <a:cs typeface="+mn-cs"/>
              </a:defRPr>
            </a:lvl1pPr>
            <a:lvl2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2pPr>
            <a:lvl3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3pPr>
            <a:lvl4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4pPr>
            <a:lvl5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5pPr>
            <a:lvl6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6pPr>
            <a:lvl7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7pPr>
            <a:lvl8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8pPr>
            <a:lvl9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9pPr>
          </a:lstStyle>
          <a:p>
            <a:endParaRPr lang="en-GB" sz="1200" b="0"/>
          </a:p>
        </p:txBody>
      </p:sp>
      <p:pic>
        <p:nvPicPr>
          <p:cNvPr id="44" name="Volkswagen (VW)">
            <a:extLst>
              <a:ext uri="{FF2B5EF4-FFF2-40B4-BE49-F238E27FC236}">
                <a16:creationId xmlns:a16="http://schemas.microsoft.com/office/drawing/2014/main" id="{8CC39452-9320-FD99-59FD-DDFE026308C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68017" y="2055767"/>
            <a:ext cx="367737" cy="367737"/>
          </a:xfrm>
          <a:prstGeom prst="rect">
            <a:avLst/>
          </a:prstGeom>
        </p:spPr>
      </p:pic>
      <p:pic>
        <p:nvPicPr>
          <p:cNvPr id="45" name="Adidas">
            <a:extLst>
              <a:ext uri="{FF2B5EF4-FFF2-40B4-BE49-F238E27FC236}">
                <a16:creationId xmlns:a16="http://schemas.microsoft.com/office/drawing/2014/main" id="{8F70E282-5D4A-3BEE-F86F-F7FAEF70788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29594" y="3383695"/>
            <a:ext cx="427116" cy="267412"/>
          </a:xfrm>
          <a:prstGeom prst="rect">
            <a:avLst/>
          </a:prstGeom>
        </p:spPr>
      </p:pic>
      <p:graphicFrame>
        <p:nvGraphicFramePr>
          <p:cNvPr id="46" name="Chart 45">
            <a:extLst>
              <a:ext uri="{FF2B5EF4-FFF2-40B4-BE49-F238E27FC236}">
                <a16:creationId xmlns:a16="http://schemas.microsoft.com/office/drawing/2014/main" id="{1B93C7A0-1702-41CC-B7E5-A81ADF422A4C}"/>
              </a:ext>
            </a:extLst>
          </p:cNvPr>
          <p:cNvGraphicFramePr>
            <a:graphicFrameLocks/>
          </p:cNvGraphicFramePr>
          <p:nvPr/>
        </p:nvGraphicFramePr>
        <p:xfrm>
          <a:off x="3911602" y="1999864"/>
          <a:ext cx="3857263" cy="4259130"/>
        </p:xfrm>
        <a:graphic>
          <a:graphicData uri="http://schemas.openxmlformats.org/drawingml/2006/chart">
            <c:chart xmlns:c="http://schemas.openxmlformats.org/drawingml/2006/chart" xmlns:r="http://schemas.openxmlformats.org/officeDocument/2006/relationships" r:id="rId14"/>
          </a:graphicData>
        </a:graphic>
      </p:graphicFrame>
      <p:sp>
        <p:nvSpPr>
          <p:cNvPr id="3" name="Ghost">
            <a:extLst>
              <a:ext uri="{FF2B5EF4-FFF2-40B4-BE49-F238E27FC236}">
                <a16:creationId xmlns:a16="http://schemas.microsoft.com/office/drawing/2014/main" id="{17E7DA29-2C75-BA1F-50A0-11C6F812DEC4}"/>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33692986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936EF-0A77-2C79-3C74-44491BFAF8E6}"/>
              </a:ext>
            </a:extLst>
          </p:cNvPr>
          <p:cNvSpPr>
            <a:spLocks noGrp="1"/>
          </p:cNvSpPr>
          <p:nvPr>
            <p:ph type="title"/>
          </p:nvPr>
        </p:nvSpPr>
        <p:spPr/>
        <p:txBody>
          <a:bodyPr/>
          <a:lstStyle/>
          <a:p>
            <a:r>
              <a:rPr lang="en-GB" sz="2600">
                <a:solidFill>
                  <a:srgbClr val="009DE0"/>
                </a:solidFill>
              </a:rPr>
              <a:t>geopolitics: </a:t>
            </a:r>
            <a:r>
              <a:rPr lang="en-GB" sz="2600"/>
              <a:t>but asean is looking more attractive of late</a:t>
            </a:r>
            <a:endParaRPr lang="en-GB"/>
          </a:p>
        </p:txBody>
      </p:sp>
      <p:sp>
        <p:nvSpPr>
          <p:cNvPr id="3" name="Text Placeholder 2">
            <a:extLst>
              <a:ext uri="{FF2B5EF4-FFF2-40B4-BE49-F238E27FC236}">
                <a16:creationId xmlns:a16="http://schemas.microsoft.com/office/drawing/2014/main" id="{CAFA7CA1-7E5D-07FC-779C-A37C56019E1F}"/>
              </a:ext>
            </a:extLst>
          </p:cNvPr>
          <p:cNvSpPr>
            <a:spLocks noGrp="1"/>
          </p:cNvSpPr>
          <p:nvPr>
            <p:ph type="body" idx="10"/>
          </p:nvPr>
        </p:nvSpPr>
        <p:spPr/>
        <p:txBody>
          <a:bodyPr/>
          <a:lstStyle/>
          <a:p>
            <a:pPr>
              <a:buNone/>
            </a:pPr>
            <a:r>
              <a:rPr lang="en-GB"/>
              <a:t>China’s GDP growth versus ASEAN &amp; India over the decades</a:t>
            </a:r>
          </a:p>
          <a:p>
            <a:pPr>
              <a:buNone/>
            </a:pPr>
            <a:r>
              <a:rPr lang="en-GB" sz="1200" b="0" i="1"/>
              <a:t>% annual change and % percentage point difference</a:t>
            </a:r>
          </a:p>
          <a:p>
            <a:endParaRPr lang="en-GB"/>
          </a:p>
        </p:txBody>
      </p:sp>
      <p:sp>
        <p:nvSpPr>
          <p:cNvPr id="5" name="Text Placeholder 4">
            <a:extLst>
              <a:ext uri="{FF2B5EF4-FFF2-40B4-BE49-F238E27FC236}">
                <a16:creationId xmlns:a16="http://schemas.microsoft.com/office/drawing/2014/main" id="{890D1F2B-81A0-B255-953F-E1205512C8EE}"/>
              </a:ext>
            </a:extLst>
          </p:cNvPr>
          <p:cNvSpPr>
            <a:spLocks noGrp="1"/>
          </p:cNvSpPr>
          <p:nvPr>
            <p:ph type="body" sz="quarter" idx="13"/>
          </p:nvPr>
        </p:nvSpPr>
        <p:spPr/>
        <p:txBody>
          <a:bodyPr/>
          <a:lstStyle/>
          <a:p>
            <a:pPr>
              <a:buNone/>
            </a:pPr>
            <a:r>
              <a:rPr lang="en-GB"/>
              <a:t>ASEAN and India are enjoying a golden period as growth booms</a:t>
            </a:r>
          </a:p>
        </p:txBody>
      </p:sp>
      <p:sp>
        <p:nvSpPr>
          <p:cNvPr id="6" name="Content Placeholder 5">
            <a:extLst>
              <a:ext uri="{FF2B5EF4-FFF2-40B4-BE49-F238E27FC236}">
                <a16:creationId xmlns:a16="http://schemas.microsoft.com/office/drawing/2014/main" id="{A5639732-E457-2856-3962-C629439E64DD}"/>
              </a:ext>
            </a:extLst>
          </p:cNvPr>
          <p:cNvSpPr>
            <a:spLocks noGrp="1"/>
          </p:cNvSpPr>
          <p:nvPr>
            <p:ph sz="quarter" idx="12"/>
          </p:nvPr>
        </p:nvSpPr>
        <p:spPr/>
        <p:txBody>
          <a:bodyPr/>
          <a:lstStyle/>
          <a:p>
            <a:pPr marL="171450" indent="-171450">
              <a:buFont typeface="Arial" panose="020B0604020202020204" pitchFamily="34" charset="0"/>
              <a:buChar char="•"/>
            </a:pPr>
            <a:r>
              <a:rPr lang="en-GB"/>
              <a:t>India, Indonesia, and Vietnam GDP growth has now overtaken China. MNCs are investing heavily.</a:t>
            </a:r>
          </a:p>
          <a:p>
            <a:pPr marL="171450" indent="-171450">
              <a:buFont typeface="Arial" panose="020B0604020202020204" pitchFamily="34" charset="0"/>
              <a:buChar char="•"/>
            </a:pPr>
            <a:r>
              <a:rPr lang="en-GB"/>
              <a:t>Southeast Asia is not a substitute for China, but it is capturing a growing share of global FDI dollars.</a:t>
            </a:r>
          </a:p>
          <a:p>
            <a:pPr marL="171450" indent="-171450">
              <a:buFont typeface="Arial" panose="020B0604020202020204" pitchFamily="34" charset="0"/>
              <a:buChar char="•"/>
            </a:pPr>
            <a:r>
              <a:rPr lang="en-GB"/>
              <a:t>China’s slower growth is also driving FDI flows as much as faster growth in the rest of the region.</a:t>
            </a:r>
          </a:p>
          <a:p>
            <a:pPr marL="171450" indent="-171450">
              <a:buFont typeface="Arial" panose="020B0604020202020204" pitchFamily="34" charset="0"/>
              <a:buChar char="•"/>
            </a:pPr>
            <a:endParaRPr lang="en-GB"/>
          </a:p>
          <a:p>
            <a:pPr marL="171450" indent="-171450">
              <a:buFont typeface="Arial" panose="020B0604020202020204" pitchFamily="34" charset="0"/>
              <a:buChar char="•"/>
            </a:pPr>
            <a:endParaRPr lang="en-GB"/>
          </a:p>
          <a:p>
            <a:endParaRPr lang="en-GB"/>
          </a:p>
        </p:txBody>
      </p:sp>
      <p:sp>
        <p:nvSpPr>
          <p:cNvPr id="14" name="Rectangle 13">
            <a:extLst>
              <a:ext uri="{FF2B5EF4-FFF2-40B4-BE49-F238E27FC236}">
                <a16:creationId xmlns:a16="http://schemas.microsoft.com/office/drawing/2014/main" id="{10765AA8-E803-6743-9E2D-C80A6B01E4A2}"/>
              </a:ext>
            </a:extLst>
          </p:cNvPr>
          <p:cNvSpPr/>
          <p:nvPr/>
        </p:nvSpPr>
        <p:spPr>
          <a:xfrm>
            <a:off x="5583482" y="4299295"/>
            <a:ext cx="2261153" cy="2012674"/>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0" indent="0" algn="ctr">
              <a:spcAft>
                <a:spcPts val="800"/>
              </a:spcAft>
              <a:buFont typeface="Arial" panose="020B0604020202020204" pitchFamily="34" charset="0"/>
              <a:buNone/>
            </a:pPr>
            <a:r>
              <a:rPr lang="en-GB" sz="2800" b="1">
                <a:solidFill>
                  <a:srgbClr val="009DE0"/>
                </a:solidFill>
                <a:latin typeface="+mj-lt"/>
                <a:ea typeface="Meiryo" panose="020B0604030504040204" pitchFamily="34" charset="-128"/>
                <a:cs typeface="Dubai" panose="020B0503030403030204" pitchFamily="34" charset="-78"/>
              </a:rPr>
              <a:t>660 </a:t>
            </a:r>
            <a:r>
              <a:rPr lang="en-GB" b="1">
                <a:solidFill>
                  <a:srgbClr val="009DE0"/>
                </a:solidFill>
                <a:latin typeface="+mj-lt"/>
                <a:ea typeface="Meiryo" panose="020B0604030504040204" pitchFamily="34" charset="-128"/>
                <a:cs typeface="Dubai" panose="020B0503030403030204" pitchFamily="34" charset="-78"/>
              </a:rPr>
              <a:t>mn</a:t>
            </a:r>
            <a:endParaRPr lang="en-GB" sz="2800" b="1">
              <a:solidFill>
                <a:srgbClr val="009DE0"/>
              </a:solidFill>
              <a:latin typeface="+mj-lt"/>
              <a:ea typeface="Meiryo" panose="020B0604030504040204" pitchFamily="34" charset="-128"/>
              <a:cs typeface="Dubai" panose="020B0503030403030204" pitchFamily="34" charset="-78"/>
            </a:endParaRPr>
          </a:p>
          <a:p>
            <a:pPr marL="0" lvl="0" indent="0" algn="ctr">
              <a:spcAft>
                <a:spcPts val="800"/>
              </a:spcAft>
              <a:buFont typeface="Arial" panose="020B0604020202020204" pitchFamily="34" charset="0"/>
              <a:buNone/>
            </a:pPr>
            <a:r>
              <a:rPr lang="en-GB" sz="1400">
                <a:solidFill>
                  <a:schemeClr val="tx1"/>
                </a:solidFill>
                <a:latin typeface="Calibri" panose="020F0502020204030204" pitchFamily="34" charset="0"/>
                <a:ea typeface="Meiryo" panose="020B0604030504040204" pitchFamily="34" charset="-128"/>
                <a:cs typeface="Dubai" panose="020B0503030403030204" pitchFamily="34" charset="-78"/>
              </a:rPr>
              <a:t>ASEAN population</a:t>
            </a:r>
            <a:endParaRPr lang="en-GB" sz="1400">
              <a:solidFill>
                <a:schemeClr val="tx1"/>
              </a:solidFill>
              <a:effectLst/>
              <a:latin typeface="Calibri" panose="020F0502020204030204" pitchFamily="34" charset="0"/>
              <a:ea typeface="Meiryo" panose="020B0604030504040204" pitchFamily="34" charset="-128"/>
              <a:cs typeface="Dubai" panose="020B0503030403030204" pitchFamily="34" charset="-78"/>
            </a:endParaRPr>
          </a:p>
        </p:txBody>
      </p:sp>
      <p:sp>
        <p:nvSpPr>
          <p:cNvPr id="15" name="Rectangle 14">
            <a:extLst>
              <a:ext uri="{FF2B5EF4-FFF2-40B4-BE49-F238E27FC236}">
                <a16:creationId xmlns:a16="http://schemas.microsoft.com/office/drawing/2014/main" id="{97B0D7A4-BE53-6312-A373-D071114987EB}"/>
              </a:ext>
            </a:extLst>
          </p:cNvPr>
          <p:cNvSpPr/>
          <p:nvPr/>
        </p:nvSpPr>
        <p:spPr>
          <a:xfrm>
            <a:off x="5583482" y="2217979"/>
            <a:ext cx="2261153" cy="2012674"/>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0" indent="0" algn="ctr">
              <a:spcAft>
                <a:spcPts val="800"/>
              </a:spcAft>
              <a:buFont typeface="Arial" panose="020B0604020202020204" pitchFamily="34" charset="0"/>
              <a:buNone/>
            </a:pPr>
            <a:r>
              <a:rPr lang="en-GB" sz="2800" b="1">
                <a:solidFill>
                  <a:srgbClr val="009DE0"/>
                </a:solidFill>
                <a:latin typeface="+mj-lt"/>
                <a:ea typeface="Meiryo" panose="020B0604030504040204" pitchFamily="34" charset="-128"/>
                <a:cs typeface="Dubai" panose="020B0503030403030204" pitchFamily="34" charset="-78"/>
              </a:rPr>
              <a:t>$3 : $1</a:t>
            </a:r>
          </a:p>
          <a:p>
            <a:pPr marL="0" lvl="0" indent="0" algn="ctr">
              <a:spcAft>
                <a:spcPts val="800"/>
              </a:spcAft>
              <a:buFont typeface="Arial" panose="020B0604020202020204" pitchFamily="34" charset="0"/>
              <a:buNone/>
            </a:pPr>
            <a:r>
              <a:rPr lang="en-GB" sz="1400">
                <a:solidFill>
                  <a:schemeClr val="tx1"/>
                </a:solidFill>
                <a:effectLst/>
                <a:latin typeface="Calibri" panose="020F0502020204030204" pitchFamily="34" charset="0"/>
                <a:ea typeface="Meiryo" panose="020B0604030504040204" pitchFamily="34" charset="-128"/>
                <a:cs typeface="Dubai" panose="020B0503030403030204" pitchFamily="34" charset="-78"/>
              </a:rPr>
              <a:t>Ratio of Japan’s FDI in ASEAN compared to China</a:t>
            </a:r>
          </a:p>
        </p:txBody>
      </p:sp>
      <p:graphicFrame>
        <p:nvGraphicFramePr>
          <p:cNvPr id="4" name="Chart 3">
            <a:extLst>
              <a:ext uri="{FF2B5EF4-FFF2-40B4-BE49-F238E27FC236}">
                <a16:creationId xmlns:a16="http://schemas.microsoft.com/office/drawing/2014/main" id="{BEDCA97E-9D20-E863-0E2E-E95683B8E314}"/>
              </a:ext>
            </a:extLst>
          </p:cNvPr>
          <p:cNvGraphicFramePr>
            <a:graphicFrameLocks/>
          </p:cNvGraphicFramePr>
          <p:nvPr/>
        </p:nvGraphicFramePr>
        <p:xfrm>
          <a:off x="457200" y="2159301"/>
          <a:ext cx="4777429" cy="4265286"/>
        </p:xfrm>
        <a:graphic>
          <a:graphicData uri="http://schemas.openxmlformats.org/drawingml/2006/chart">
            <c:chart xmlns:c="http://schemas.openxmlformats.org/drawingml/2006/chart" xmlns:r="http://schemas.openxmlformats.org/officeDocument/2006/relationships" r:id="rId3"/>
          </a:graphicData>
        </a:graphic>
      </p:graphicFrame>
      <p:sp>
        <p:nvSpPr>
          <p:cNvPr id="7" name="Ghost">
            <a:extLst>
              <a:ext uri="{FF2B5EF4-FFF2-40B4-BE49-F238E27FC236}">
                <a16:creationId xmlns:a16="http://schemas.microsoft.com/office/drawing/2014/main" id="{AEFCB84E-B45A-B9B6-B90A-91BE8ECB4965}"/>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105952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505ACD8-022F-E69B-E8FD-EF2F50B6A3AD}"/>
              </a:ext>
            </a:extLst>
          </p:cNvPr>
          <p:cNvGraphicFramePr>
            <a:graphicFrameLocks noChangeAspect="1"/>
          </p:cNvGraphicFramePr>
          <p:nvPr>
            <p:custDataLst>
              <p:tags r:id="rId1"/>
            </p:custDataLst>
            <p:extLst>
              <p:ext uri="{D42A27DB-BD31-4B8C-83A1-F6EECF244321}">
                <p14:modId xmlns:p14="http://schemas.microsoft.com/office/powerpoint/2010/main" val="2370090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A505ACD8-022F-E69B-E8FD-EF2F50B6A3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C2836A4E-FB52-42B7-C48E-F8B79B39A9CA}"/>
              </a:ext>
            </a:extLst>
          </p:cNvPr>
          <p:cNvSpPr/>
          <p:nvPr/>
        </p:nvSpPr>
        <p:spPr>
          <a:xfrm>
            <a:off x="487160" y="1397000"/>
            <a:ext cx="4574698" cy="4708589"/>
          </a:xfrm>
          <a:prstGeom prst="rect">
            <a:avLst/>
          </a:prstGeom>
          <a:solidFill>
            <a:srgbClr val="B1CEFF">
              <a:alpha val="30196"/>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2009" tIns="36005" rIns="0" bIns="0" rtlCol="0" anchor="t"/>
          <a:lstStyle/>
          <a:p>
            <a:r>
              <a:rPr lang="en-GB" sz="1400" b="1" kern="0">
                <a:solidFill>
                  <a:schemeClr val="accent1"/>
                </a:solidFill>
              </a:rPr>
              <a:t>Oliver Wyman facilitators</a:t>
            </a:r>
          </a:p>
        </p:txBody>
      </p:sp>
      <p:sp>
        <p:nvSpPr>
          <p:cNvPr id="2" name="Title 1">
            <a:extLst>
              <a:ext uri="{FF2B5EF4-FFF2-40B4-BE49-F238E27FC236}">
                <a16:creationId xmlns:a16="http://schemas.microsoft.com/office/drawing/2014/main" id="{B5029D0B-E9ED-6CAF-703B-80BBDD7DF09E}"/>
              </a:ext>
            </a:extLst>
          </p:cNvPr>
          <p:cNvSpPr>
            <a:spLocks noGrp="1"/>
          </p:cNvSpPr>
          <p:nvPr>
            <p:ph type="title"/>
          </p:nvPr>
        </p:nvSpPr>
        <p:spPr/>
        <p:txBody>
          <a:bodyPr vert="horz"/>
          <a:lstStyle/>
          <a:p>
            <a:r>
              <a:rPr lang="en-GB"/>
              <a:t>Our team today</a:t>
            </a:r>
          </a:p>
        </p:txBody>
      </p:sp>
      <p:graphicFrame>
        <p:nvGraphicFramePr>
          <p:cNvPr id="8" name="Table 7">
            <a:extLst>
              <a:ext uri="{FF2B5EF4-FFF2-40B4-BE49-F238E27FC236}">
                <a16:creationId xmlns:a16="http://schemas.microsoft.com/office/drawing/2014/main" id="{1B01C44B-AF37-9709-92B0-745CE284324A}"/>
              </a:ext>
            </a:extLst>
          </p:cNvPr>
          <p:cNvGraphicFramePr>
            <a:graphicFrameLocks noGrp="1"/>
          </p:cNvGraphicFramePr>
          <p:nvPr>
            <p:extLst>
              <p:ext uri="{D42A27DB-BD31-4B8C-83A1-F6EECF244321}">
                <p14:modId xmlns:p14="http://schemas.microsoft.com/office/powerpoint/2010/main" val="2596553347"/>
              </p:ext>
            </p:extLst>
          </p:nvPr>
        </p:nvGraphicFramePr>
        <p:xfrm>
          <a:off x="823141" y="3057808"/>
          <a:ext cx="1763629" cy="742384"/>
        </p:xfrm>
        <a:graphic>
          <a:graphicData uri="http://schemas.openxmlformats.org/drawingml/2006/table">
            <a:tbl>
              <a:tblPr firstRow="1" bandRow="1">
                <a:tableStyleId>{839DD9DD-9E6C-4910-8AC0-68ADFF6A6AFC}</a:tableStyleId>
              </a:tblPr>
              <a:tblGrid>
                <a:gridCol w="1763629">
                  <a:extLst>
                    <a:ext uri="{9D8B030D-6E8A-4147-A177-3AD203B41FA5}">
                      <a16:colId xmlns:a16="http://schemas.microsoft.com/office/drawing/2014/main" val="20000"/>
                    </a:ext>
                  </a:extLst>
                </a:gridCol>
              </a:tblGrid>
              <a:tr h="742384">
                <a:tc>
                  <a:txBody>
                    <a:bodyPr/>
                    <a:lstStyle/>
                    <a:p>
                      <a:pPr algn="ctr">
                        <a:spcBef>
                          <a:spcPts val="300"/>
                        </a:spcBef>
                      </a:pPr>
                      <a:r>
                        <a:rPr lang="en-GB" sz="1400">
                          <a:solidFill>
                            <a:schemeClr val="accent1"/>
                          </a:solidFill>
                        </a:rPr>
                        <a:t>Guillaume Thibault</a:t>
                      </a:r>
                    </a:p>
                    <a:p>
                      <a:pPr algn="ctr">
                        <a:spcBef>
                          <a:spcPts val="300"/>
                        </a:spcBef>
                      </a:pPr>
                      <a:r>
                        <a:rPr lang="en-GB" sz="1200" b="0">
                          <a:solidFill>
                            <a:schemeClr val="tx2"/>
                          </a:solidFill>
                        </a:rPr>
                        <a:t>Partner, </a:t>
                      </a:r>
                      <a:br>
                        <a:rPr lang="en-GB" sz="1200" b="0">
                          <a:solidFill>
                            <a:schemeClr val="tx2"/>
                          </a:solidFill>
                        </a:rPr>
                      </a:br>
                      <a:r>
                        <a:rPr lang="en-GB" sz="1200" b="0">
                          <a:solidFill>
                            <a:schemeClr val="tx2"/>
                          </a:solidFill>
                        </a:rPr>
                        <a:t>IMEA</a:t>
                      </a:r>
                    </a:p>
                  </a:txBody>
                  <a:tcPr marL="36000" marR="0">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pic>
        <p:nvPicPr>
          <p:cNvPr id="9" name="Google Shape;846;p11">
            <a:extLst>
              <a:ext uri="{FF2B5EF4-FFF2-40B4-BE49-F238E27FC236}">
                <a16:creationId xmlns:a16="http://schemas.microsoft.com/office/drawing/2014/main" id="{45B6EDE5-2936-CE59-9444-1B0CCA1B85A6}"/>
              </a:ext>
            </a:extLst>
          </p:cNvPr>
          <p:cNvPicPr preferRelativeResize="0">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87777" y="1935545"/>
            <a:ext cx="1034359" cy="1034359"/>
          </a:xfrm>
          <a:prstGeom prst="ellipse">
            <a:avLst/>
          </a:prstGeom>
        </p:spPr>
      </p:pic>
      <p:pic>
        <p:nvPicPr>
          <p:cNvPr id="10" name="Picture Placeholder 2">
            <a:extLst>
              <a:ext uri="{FF2B5EF4-FFF2-40B4-BE49-F238E27FC236}">
                <a16:creationId xmlns:a16="http://schemas.microsoft.com/office/drawing/2014/main" id="{E8C72F24-50B2-0B57-CB95-137D5D60051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348721" y="1935545"/>
            <a:ext cx="1007398" cy="1007398"/>
          </a:xfrm>
          <a:prstGeom prst="ellipse">
            <a:avLst/>
          </a:prstGeom>
        </p:spPr>
      </p:pic>
      <p:grpSp>
        <p:nvGrpSpPr>
          <p:cNvPr id="18" name="Group 17">
            <a:extLst>
              <a:ext uri="{FF2B5EF4-FFF2-40B4-BE49-F238E27FC236}">
                <a16:creationId xmlns:a16="http://schemas.microsoft.com/office/drawing/2014/main" id="{5806812B-5035-FC65-E6E8-2D8CED6E7727}"/>
              </a:ext>
            </a:extLst>
          </p:cNvPr>
          <p:cNvGrpSpPr/>
          <p:nvPr/>
        </p:nvGrpSpPr>
        <p:grpSpPr>
          <a:xfrm>
            <a:off x="1201256" y="4114347"/>
            <a:ext cx="1007398" cy="1007398"/>
            <a:chOff x="4652284" y="4215368"/>
            <a:chExt cx="1007398" cy="1007398"/>
          </a:xfrm>
        </p:grpSpPr>
        <p:sp>
          <p:nvSpPr>
            <p:cNvPr id="14" name="Oval 13">
              <a:extLst>
                <a:ext uri="{FF2B5EF4-FFF2-40B4-BE49-F238E27FC236}">
                  <a16:creationId xmlns:a16="http://schemas.microsoft.com/office/drawing/2014/main" id="{CCF53FC7-A5E3-9C92-1E69-FF3899547B6F}"/>
                </a:ext>
              </a:extLst>
            </p:cNvPr>
            <p:cNvSpPr>
              <a:spLocks/>
            </p:cNvSpPr>
            <p:nvPr/>
          </p:nvSpPr>
          <p:spPr>
            <a:xfrm>
              <a:off x="4652284" y="4215368"/>
              <a:ext cx="1007398" cy="1007398"/>
            </a:xfrm>
            <a:prstGeom prst="ellipse">
              <a:avLst/>
            </a:prstGeom>
            <a:solidFill>
              <a:srgbClr val="EBEAE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11" name="Picture Placeholder 2">
              <a:extLst>
                <a:ext uri="{FF2B5EF4-FFF2-40B4-BE49-F238E27FC236}">
                  <a16:creationId xmlns:a16="http://schemas.microsoft.com/office/drawing/2014/main" id="{E8BD551A-505A-6842-8530-4354F7D4C6A1}"/>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backgroundRemoval t="6087" b="98385" l="9938" r="94161">
                          <a14:foregroundMark x1="40870" y1="6335" x2="40870" y2="6335"/>
                          <a14:foregroundMark x1="50435" y1="92547" x2="50435" y2="92547"/>
                          <a14:foregroundMark x1="51553" y1="95901" x2="51553" y2="95901"/>
                          <a14:foregroundMark x1="57640" y1="90559" x2="57640" y2="90559"/>
                          <a14:foregroundMark x1="55031" y1="86211" x2="55031" y2="86211"/>
                          <a14:foregroundMark x1="48820" y1="84348" x2="48820" y2="84348"/>
                          <a14:foregroundMark x1="39130" y1="85342" x2="41366" y2="92298"/>
                          <a14:foregroundMark x1="62733" y1="82733" x2="84348" y2="80373"/>
                          <a14:foregroundMark x1="85590" y1="73540" x2="76770" y2="84720"/>
                          <a14:foregroundMark x1="61615" y1="89317" x2="32298" y2="92298"/>
                          <a14:foregroundMark x1="43975" y1="98509" x2="43975" y2="98509"/>
                          <a14:foregroundMark x1="19503" y1="86460" x2="19503" y2="86460"/>
                          <a14:foregroundMark x1="18509" y1="84596" x2="18509" y2="84596"/>
                          <a14:foregroundMark x1="15155" y1="81366" x2="22112" y2="87950"/>
                          <a14:foregroundMark x1="76894" y1="69068" x2="82609" y2="70807"/>
                          <a14:foregroundMark x1="87578" y1="72050" x2="86708" y2="80621"/>
                          <a14:foregroundMark x1="83975" y1="82857" x2="84099" y2="86708"/>
                          <a14:foregroundMark x1="87578" y1="75652" x2="94161" y2="78882"/>
                        </a14:backgroundRemoval>
                      </a14:imgEffect>
                    </a14:imgLayer>
                  </a14:imgProps>
                </a:ext>
                <a:ext uri="{28A0092B-C50C-407E-A947-70E740481C1C}">
                  <a14:useLocalDpi xmlns:a14="http://schemas.microsoft.com/office/drawing/2010/main"/>
                </a:ext>
              </a:extLst>
            </a:blip>
            <a:srcRect/>
            <a:stretch/>
          </p:blipFill>
          <p:spPr>
            <a:xfrm>
              <a:off x="4652284" y="4215368"/>
              <a:ext cx="1007398" cy="1007398"/>
            </a:xfrm>
            <a:prstGeom prst="ellipse">
              <a:avLst/>
            </a:prstGeom>
          </p:spPr>
        </p:pic>
      </p:grpSp>
      <p:sp>
        <p:nvSpPr>
          <p:cNvPr id="20" name="Rectangle 19">
            <a:extLst>
              <a:ext uri="{FF2B5EF4-FFF2-40B4-BE49-F238E27FC236}">
                <a16:creationId xmlns:a16="http://schemas.microsoft.com/office/drawing/2014/main" id="{F4C139AA-7938-85E8-B643-76E9DC05F2EA}"/>
              </a:ext>
            </a:extLst>
          </p:cNvPr>
          <p:cNvSpPr/>
          <p:nvPr/>
        </p:nvSpPr>
        <p:spPr>
          <a:xfrm>
            <a:off x="5429005" y="1396999"/>
            <a:ext cx="6305795" cy="4708589"/>
          </a:xfrm>
          <a:prstGeom prst="rect">
            <a:avLst/>
          </a:prstGeom>
          <a:solidFill>
            <a:schemeClr val="accent4">
              <a:alpha val="30196"/>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2009" tIns="36005" rIns="0" bIns="0" rtlCol="0" anchor="t"/>
          <a:lstStyle/>
          <a:p>
            <a:r>
              <a:rPr lang="en-GB" sz="1400" b="1" kern="0">
                <a:solidFill>
                  <a:schemeClr val="tx1"/>
                </a:solidFill>
              </a:rPr>
              <a:t>Attendees</a:t>
            </a:r>
          </a:p>
          <a:p>
            <a:pPr>
              <a:spcBef>
                <a:spcPts val="600"/>
              </a:spcBef>
              <a:buSzPct val="100000"/>
            </a:pPr>
            <a:endParaRPr lang="en-GB" sz="1400" b="1" kern="0">
              <a:solidFill>
                <a:schemeClr val="tx1"/>
              </a:solidFill>
            </a:endParaRPr>
          </a:p>
        </p:txBody>
      </p:sp>
      <p:sp>
        <p:nvSpPr>
          <p:cNvPr id="21" name="TextBox 20">
            <a:extLst>
              <a:ext uri="{FF2B5EF4-FFF2-40B4-BE49-F238E27FC236}">
                <a16:creationId xmlns:a16="http://schemas.microsoft.com/office/drawing/2014/main" id="{FEEB4119-CBAA-37F8-74FB-DC0A2DFB4C21}"/>
              </a:ext>
            </a:extLst>
          </p:cNvPr>
          <p:cNvSpPr txBox="1"/>
          <p:nvPr/>
        </p:nvSpPr>
        <p:spPr>
          <a:xfrm>
            <a:off x="5982790" y="4215368"/>
            <a:ext cx="5621480" cy="1677382"/>
          </a:xfrm>
          <a:prstGeom prst="rect">
            <a:avLst/>
          </a:prstGeom>
          <a:noFill/>
        </p:spPr>
        <p:txBody>
          <a:bodyPr wrap="square" lIns="0" tIns="0" rIns="0" bIns="0" numCol="2" rtlCol="0">
            <a:noAutofit/>
          </a:bodyPr>
          <a:lstStyle/>
          <a:p>
            <a:pPr>
              <a:spcBef>
                <a:spcPts val="600"/>
              </a:spcBef>
              <a:buSzPct val="100000"/>
            </a:pPr>
            <a:r>
              <a:rPr lang="en-GB" sz="1400" b="1" kern="0"/>
              <a:t>BU Asia</a:t>
            </a:r>
          </a:p>
          <a:p>
            <a:pPr marL="179994" indent="-179994">
              <a:spcBef>
                <a:spcPts val="600"/>
              </a:spcBef>
              <a:buSzPct val="100000"/>
              <a:buFont typeface="Arial" panose="020B0604020202020204" pitchFamily="34" charset="0"/>
              <a:buChar char="•"/>
            </a:pPr>
            <a:r>
              <a:rPr lang="en-GB" sz="1400" kern="0"/>
              <a:t>Donny Yu</a:t>
            </a:r>
          </a:p>
          <a:p>
            <a:pPr marL="179994" indent="-179994">
              <a:spcBef>
                <a:spcPts val="600"/>
              </a:spcBef>
              <a:buSzPct val="100000"/>
              <a:buFont typeface="Arial" panose="020B0604020202020204" pitchFamily="34" charset="0"/>
              <a:buChar char="•"/>
            </a:pPr>
            <a:r>
              <a:rPr lang="en-GB" sz="1400" kern="0"/>
              <a:t>Anne Sun</a:t>
            </a:r>
          </a:p>
          <a:p>
            <a:pPr marL="179994" indent="-179994">
              <a:spcBef>
                <a:spcPts val="600"/>
              </a:spcBef>
              <a:buSzPct val="100000"/>
              <a:buFont typeface="Arial" panose="020B0604020202020204" pitchFamily="34" charset="0"/>
              <a:buChar char="•"/>
            </a:pPr>
            <a:r>
              <a:rPr lang="en-GB" sz="1400" kern="0"/>
              <a:t>Bong-Ho </a:t>
            </a:r>
            <a:r>
              <a:rPr lang="en-GB" sz="1400" kern="0" err="1"/>
              <a:t>Hyoung</a:t>
            </a:r>
            <a:endParaRPr lang="en-GB" sz="1400" kern="0"/>
          </a:p>
          <a:p>
            <a:pPr marL="179994" indent="-179994">
              <a:spcBef>
                <a:spcPts val="600"/>
              </a:spcBef>
              <a:buSzPct val="100000"/>
              <a:buFont typeface="Arial" panose="020B0604020202020204" pitchFamily="34" charset="0"/>
              <a:buChar char="•"/>
            </a:pPr>
            <a:r>
              <a:rPr lang="en-GB" sz="1400" kern="0" err="1"/>
              <a:t>Zhitao</a:t>
            </a:r>
            <a:r>
              <a:rPr lang="en-GB" sz="1400" kern="0"/>
              <a:t> Duan</a:t>
            </a:r>
          </a:p>
          <a:p>
            <a:pPr marL="179994" indent="-179994">
              <a:spcBef>
                <a:spcPts val="600"/>
              </a:spcBef>
              <a:buSzPct val="100000"/>
              <a:buFont typeface="Arial" panose="020B0604020202020204" pitchFamily="34" charset="0"/>
              <a:buChar char="•"/>
            </a:pPr>
            <a:r>
              <a:rPr lang="en-GB" sz="1400" kern="0"/>
              <a:t>Jason Zhu</a:t>
            </a:r>
          </a:p>
          <a:p>
            <a:pPr>
              <a:spcBef>
                <a:spcPts val="600"/>
              </a:spcBef>
              <a:buSzPct val="100000"/>
            </a:pPr>
            <a:r>
              <a:rPr lang="en-GB" sz="1400" b="1" kern="0"/>
              <a:t>BU Oceania</a:t>
            </a:r>
          </a:p>
          <a:p>
            <a:pPr marL="179994" indent="-179994">
              <a:spcBef>
                <a:spcPts val="600"/>
              </a:spcBef>
              <a:buSzPct val="100000"/>
              <a:buFont typeface="Arial" panose="020B0604020202020204" pitchFamily="34" charset="0"/>
              <a:buChar char="•"/>
            </a:pPr>
            <a:r>
              <a:rPr lang="en-GB" sz="1400" kern="0"/>
              <a:t>Greg Stack</a:t>
            </a:r>
          </a:p>
          <a:p>
            <a:pPr marL="179994" indent="-179994">
              <a:spcBef>
                <a:spcPts val="600"/>
              </a:spcBef>
              <a:buSzPct val="100000"/>
              <a:buFont typeface="Arial" panose="020B0604020202020204" pitchFamily="34" charset="0"/>
              <a:buChar char="•"/>
            </a:pPr>
            <a:r>
              <a:rPr lang="en-GB" sz="1400" kern="0"/>
              <a:t>Michael D. Pienaar</a:t>
            </a:r>
          </a:p>
          <a:p>
            <a:pPr marL="179994" indent="-179994">
              <a:spcBef>
                <a:spcPts val="600"/>
              </a:spcBef>
              <a:buSzPct val="100000"/>
              <a:buFont typeface="Arial" panose="020B0604020202020204" pitchFamily="34" charset="0"/>
              <a:buChar char="•"/>
            </a:pPr>
            <a:r>
              <a:rPr lang="en-GB" sz="1400" kern="0"/>
              <a:t>Michael </a:t>
            </a:r>
            <a:r>
              <a:rPr lang="en-GB" sz="1400" kern="0" err="1"/>
              <a:t>Derimboglou</a:t>
            </a:r>
            <a:endParaRPr lang="en-GB" sz="1400" kern="0"/>
          </a:p>
          <a:p>
            <a:pPr marL="179994" indent="-179994">
              <a:spcBef>
                <a:spcPts val="600"/>
              </a:spcBef>
              <a:buSzPct val="100000"/>
              <a:buFont typeface="Arial" panose="020B0604020202020204" pitchFamily="34" charset="0"/>
              <a:buChar char="•"/>
            </a:pPr>
            <a:r>
              <a:rPr lang="en-GB" sz="1400" kern="0"/>
              <a:t>Mark Dabs</a:t>
            </a:r>
          </a:p>
        </p:txBody>
      </p:sp>
      <p:sp>
        <p:nvSpPr>
          <p:cNvPr id="24" name="TextBox 23">
            <a:extLst>
              <a:ext uri="{FF2B5EF4-FFF2-40B4-BE49-F238E27FC236}">
                <a16:creationId xmlns:a16="http://schemas.microsoft.com/office/drawing/2014/main" id="{39F8CEAC-7A18-4A06-9B47-0CB69F342507}"/>
              </a:ext>
            </a:extLst>
          </p:cNvPr>
          <p:cNvSpPr txBox="1"/>
          <p:nvPr/>
        </p:nvSpPr>
        <p:spPr>
          <a:xfrm>
            <a:off x="5982790" y="1935545"/>
            <a:ext cx="5621480" cy="1677382"/>
          </a:xfrm>
          <a:prstGeom prst="rect">
            <a:avLst/>
          </a:prstGeom>
          <a:noFill/>
        </p:spPr>
        <p:txBody>
          <a:bodyPr wrap="square" lIns="0" tIns="0" rIns="0" bIns="0" numCol="2" rtlCol="0">
            <a:noAutofit/>
          </a:bodyPr>
          <a:lstStyle/>
          <a:p>
            <a:pPr>
              <a:spcBef>
                <a:spcPts val="600"/>
              </a:spcBef>
              <a:buSzPct val="100000"/>
            </a:pPr>
            <a:r>
              <a:rPr lang="en-GB" sz="1400" b="1" kern="0">
                <a:solidFill>
                  <a:schemeClr val="tx1"/>
                </a:solidFill>
              </a:rPr>
              <a:t>Corporate</a:t>
            </a:r>
          </a:p>
          <a:p>
            <a:pPr marL="179994" indent="-179994">
              <a:spcBef>
                <a:spcPts val="600"/>
              </a:spcBef>
              <a:buSzPct val="100000"/>
              <a:buFont typeface="Arial" panose="020B0604020202020204" pitchFamily="34" charset="0"/>
              <a:buChar char="•"/>
            </a:pPr>
            <a:r>
              <a:rPr lang="en-GB" sz="1400" kern="0">
                <a:solidFill>
                  <a:schemeClr val="tx1"/>
                </a:solidFill>
              </a:rPr>
              <a:t>Christopher Guérin</a:t>
            </a:r>
          </a:p>
          <a:p>
            <a:pPr marL="179994" indent="-179994">
              <a:spcBef>
                <a:spcPts val="600"/>
              </a:spcBef>
              <a:buSzPct val="100000"/>
              <a:buFont typeface="Arial" panose="020B0604020202020204" pitchFamily="34" charset="0"/>
              <a:buChar char="•"/>
            </a:pPr>
            <a:r>
              <a:rPr lang="en-GB" sz="1400" kern="0">
                <a:solidFill>
                  <a:schemeClr val="tx1"/>
                </a:solidFill>
              </a:rPr>
              <a:t>Jean-Christophe </a:t>
            </a:r>
            <a:r>
              <a:rPr lang="en-GB" sz="1400" kern="0" err="1">
                <a:solidFill>
                  <a:schemeClr val="tx1"/>
                </a:solidFill>
              </a:rPr>
              <a:t>Juillard</a:t>
            </a:r>
            <a:endParaRPr lang="en-GB" sz="1400" kern="0">
              <a:solidFill>
                <a:schemeClr val="tx1"/>
              </a:solidFill>
            </a:endParaRPr>
          </a:p>
          <a:p>
            <a:pPr marL="179994" indent="-179994">
              <a:spcBef>
                <a:spcPts val="600"/>
              </a:spcBef>
              <a:buSzPct val="100000"/>
              <a:buFont typeface="Arial" panose="020B0604020202020204" pitchFamily="34" charset="0"/>
              <a:buChar char="•"/>
            </a:pPr>
            <a:r>
              <a:rPr lang="en-GB" sz="1400" kern="0"/>
              <a:t>Guillaume </a:t>
            </a:r>
            <a:r>
              <a:rPr lang="en-GB" sz="1400" kern="0" err="1"/>
              <a:t>Levrey</a:t>
            </a:r>
            <a:endParaRPr lang="en-GB" sz="1400" kern="0"/>
          </a:p>
          <a:p>
            <a:pPr marL="179994" indent="-179994">
              <a:spcBef>
                <a:spcPts val="600"/>
              </a:spcBef>
              <a:buSzPct val="100000"/>
              <a:buFont typeface="Arial" panose="020B0604020202020204" pitchFamily="34" charset="0"/>
              <a:buChar char="•"/>
            </a:pPr>
            <a:r>
              <a:rPr lang="en-GB" sz="1400" kern="0">
                <a:solidFill>
                  <a:schemeClr val="tx1"/>
                </a:solidFill>
              </a:rPr>
              <a:t>Franck Blanchard</a:t>
            </a:r>
          </a:p>
          <a:p>
            <a:pPr>
              <a:spcBef>
                <a:spcPts val="600"/>
              </a:spcBef>
              <a:buSzPct val="100000"/>
            </a:pPr>
            <a:endParaRPr lang="en-GB" sz="1400" b="1" kern="0">
              <a:solidFill>
                <a:schemeClr val="tx1"/>
              </a:solidFill>
            </a:endParaRPr>
          </a:p>
          <a:p>
            <a:pPr>
              <a:spcBef>
                <a:spcPts val="600"/>
              </a:spcBef>
              <a:buSzPct val="100000"/>
            </a:pPr>
            <a:r>
              <a:rPr lang="en-GB" sz="1400" b="1" kern="0">
                <a:solidFill>
                  <a:schemeClr val="tx1"/>
                </a:solidFill>
              </a:rPr>
              <a:t>D&amp;U EAP</a:t>
            </a:r>
          </a:p>
          <a:p>
            <a:pPr marL="179994" indent="-179994">
              <a:spcBef>
                <a:spcPts val="600"/>
              </a:spcBef>
              <a:buSzPct val="100000"/>
              <a:buFont typeface="Arial" panose="020B0604020202020204" pitchFamily="34" charset="0"/>
              <a:buChar char="•"/>
            </a:pPr>
            <a:r>
              <a:rPr lang="en-GB" sz="1400" kern="0">
                <a:solidFill>
                  <a:schemeClr val="tx1"/>
                </a:solidFill>
              </a:rPr>
              <a:t>Julien </a:t>
            </a:r>
            <a:r>
              <a:rPr lang="en-GB" sz="1400" kern="0" err="1">
                <a:solidFill>
                  <a:schemeClr val="tx1"/>
                </a:solidFill>
              </a:rPr>
              <a:t>Hueber</a:t>
            </a:r>
            <a:endParaRPr lang="en-GB" sz="1400" kern="0">
              <a:solidFill>
                <a:schemeClr val="tx1"/>
              </a:solidFill>
            </a:endParaRPr>
          </a:p>
          <a:p>
            <a:pPr marL="179994" indent="-179994">
              <a:spcBef>
                <a:spcPts val="600"/>
              </a:spcBef>
              <a:buSzPct val="100000"/>
              <a:buFont typeface="Arial" panose="020B0604020202020204" pitchFamily="34" charset="0"/>
              <a:buChar char="•"/>
            </a:pPr>
            <a:r>
              <a:rPr lang="en-GB" sz="1400" kern="0">
                <a:solidFill>
                  <a:schemeClr val="tx1"/>
                </a:solidFill>
              </a:rPr>
              <a:t>Julien Collet</a:t>
            </a:r>
          </a:p>
        </p:txBody>
      </p:sp>
      <p:graphicFrame>
        <p:nvGraphicFramePr>
          <p:cNvPr id="22" name="Table 21">
            <a:extLst>
              <a:ext uri="{FF2B5EF4-FFF2-40B4-BE49-F238E27FC236}">
                <a16:creationId xmlns:a16="http://schemas.microsoft.com/office/drawing/2014/main" id="{ADE7D8A2-0DD0-2F6B-F600-B2D8BC1B318D}"/>
              </a:ext>
            </a:extLst>
          </p:cNvPr>
          <p:cNvGraphicFramePr>
            <a:graphicFrameLocks noGrp="1"/>
          </p:cNvGraphicFramePr>
          <p:nvPr>
            <p:extLst>
              <p:ext uri="{D42A27DB-BD31-4B8C-83A1-F6EECF244321}">
                <p14:modId xmlns:p14="http://schemas.microsoft.com/office/powerpoint/2010/main" val="4026447360"/>
              </p:ext>
            </p:extLst>
          </p:nvPr>
        </p:nvGraphicFramePr>
        <p:xfrm>
          <a:off x="2970605" y="3057808"/>
          <a:ext cx="1763629" cy="742384"/>
        </p:xfrm>
        <a:graphic>
          <a:graphicData uri="http://schemas.openxmlformats.org/drawingml/2006/table">
            <a:tbl>
              <a:tblPr firstRow="1" bandRow="1">
                <a:tableStyleId>{839DD9DD-9E6C-4910-8AC0-68ADFF6A6AFC}</a:tableStyleId>
              </a:tblPr>
              <a:tblGrid>
                <a:gridCol w="1763629">
                  <a:extLst>
                    <a:ext uri="{9D8B030D-6E8A-4147-A177-3AD203B41FA5}">
                      <a16:colId xmlns:a16="http://schemas.microsoft.com/office/drawing/2014/main" val="3564672807"/>
                    </a:ext>
                  </a:extLst>
                </a:gridCol>
              </a:tblGrid>
              <a:tr h="742384">
                <a:tc>
                  <a:txBody>
                    <a:bodyPr/>
                    <a:lstStyle/>
                    <a:p>
                      <a:pPr algn="ctr">
                        <a:spcBef>
                          <a:spcPts val="300"/>
                        </a:spcBef>
                      </a:pPr>
                      <a:r>
                        <a:rPr lang="en-GB" sz="1400">
                          <a:solidFill>
                            <a:schemeClr val="accent1"/>
                          </a:solidFill>
                        </a:rPr>
                        <a:t>Ben </a:t>
                      </a:r>
                      <a:r>
                        <a:rPr lang="en-GB" sz="1400" err="1">
                          <a:solidFill>
                            <a:schemeClr val="accent1"/>
                          </a:solidFill>
                        </a:rPr>
                        <a:t>Simpfendorfer</a:t>
                      </a:r>
                      <a:endParaRPr lang="en-GB" sz="1400">
                        <a:solidFill>
                          <a:schemeClr val="accent1"/>
                        </a:solidFill>
                      </a:endParaRPr>
                    </a:p>
                    <a:p>
                      <a:pPr algn="ctr">
                        <a:spcBef>
                          <a:spcPts val="300"/>
                        </a:spcBef>
                      </a:pPr>
                      <a:r>
                        <a:rPr lang="en-GB" sz="1200" b="0" baseline="0">
                          <a:solidFill>
                            <a:schemeClr val="tx2"/>
                          </a:solidFill>
                        </a:rPr>
                        <a:t>Partner, </a:t>
                      </a:r>
                      <a:br>
                        <a:rPr lang="en-GB" sz="1200" b="0" baseline="0">
                          <a:solidFill>
                            <a:schemeClr val="tx2"/>
                          </a:solidFill>
                        </a:rPr>
                      </a:br>
                      <a:r>
                        <a:rPr lang="en-GB" sz="1200" b="0" baseline="0">
                          <a:solidFill>
                            <a:schemeClr val="tx2"/>
                          </a:solidFill>
                        </a:rPr>
                        <a:t>Greater China</a:t>
                      </a:r>
                      <a:endParaRPr lang="en-GB" sz="1200" b="0">
                        <a:solidFill>
                          <a:schemeClr val="tx2"/>
                        </a:solidFill>
                      </a:endParaRPr>
                    </a:p>
                  </a:txBody>
                  <a:tcPr marL="36000" marR="0">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23" name="Table 22">
            <a:extLst>
              <a:ext uri="{FF2B5EF4-FFF2-40B4-BE49-F238E27FC236}">
                <a16:creationId xmlns:a16="http://schemas.microsoft.com/office/drawing/2014/main" id="{30B4ED9D-1BF5-487E-1294-DC18870CBB4A}"/>
              </a:ext>
            </a:extLst>
          </p:cNvPr>
          <p:cNvGraphicFramePr>
            <a:graphicFrameLocks noGrp="1"/>
          </p:cNvGraphicFramePr>
          <p:nvPr>
            <p:extLst>
              <p:ext uri="{D42A27DB-BD31-4B8C-83A1-F6EECF244321}">
                <p14:modId xmlns:p14="http://schemas.microsoft.com/office/powerpoint/2010/main" val="269996064"/>
              </p:ext>
            </p:extLst>
          </p:nvPr>
        </p:nvGraphicFramePr>
        <p:xfrm>
          <a:off x="823140" y="5242475"/>
          <a:ext cx="1763629" cy="742384"/>
        </p:xfrm>
        <a:graphic>
          <a:graphicData uri="http://schemas.openxmlformats.org/drawingml/2006/table">
            <a:tbl>
              <a:tblPr firstRow="1" bandRow="1">
                <a:tableStyleId>{839DD9DD-9E6C-4910-8AC0-68ADFF6A6AFC}</a:tableStyleId>
              </a:tblPr>
              <a:tblGrid>
                <a:gridCol w="1763629">
                  <a:extLst>
                    <a:ext uri="{9D8B030D-6E8A-4147-A177-3AD203B41FA5}">
                      <a16:colId xmlns:a16="http://schemas.microsoft.com/office/drawing/2014/main" val="1384665759"/>
                    </a:ext>
                  </a:extLst>
                </a:gridCol>
              </a:tblGrid>
              <a:tr h="742384">
                <a:tc>
                  <a:txBody>
                    <a:bodyPr/>
                    <a:lstStyle/>
                    <a:p>
                      <a:pPr algn="ctr">
                        <a:spcBef>
                          <a:spcPts val="300"/>
                        </a:spcBef>
                      </a:pPr>
                      <a:r>
                        <a:rPr lang="en-GB" sz="1400" b="1" kern="0">
                          <a:solidFill>
                            <a:schemeClr val="accent1"/>
                          </a:solidFill>
                          <a:latin typeface="+mn-lt"/>
                          <a:ea typeface="+mn-ea"/>
                          <a:cs typeface="+mn-cs"/>
                        </a:rPr>
                        <a:t>Sakshyat Khadka</a:t>
                      </a:r>
                    </a:p>
                    <a:p>
                      <a:pPr algn="ctr">
                        <a:spcBef>
                          <a:spcPts val="300"/>
                        </a:spcBef>
                      </a:pPr>
                      <a:r>
                        <a:rPr lang="en-GB" sz="1200" b="0">
                          <a:solidFill>
                            <a:schemeClr val="tx2"/>
                          </a:solidFill>
                        </a:rPr>
                        <a:t>Consultant, Singapore</a:t>
                      </a:r>
                    </a:p>
                  </a:txBody>
                  <a:tcPr marL="36000" marR="0">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12" name="Table 11">
            <a:extLst>
              <a:ext uri="{FF2B5EF4-FFF2-40B4-BE49-F238E27FC236}">
                <a16:creationId xmlns:a16="http://schemas.microsoft.com/office/drawing/2014/main" id="{EDF18FF1-C695-2323-0407-ED4F09AABE53}"/>
              </a:ext>
            </a:extLst>
          </p:cNvPr>
          <p:cNvGraphicFramePr>
            <a:graphicFrameLocks noGrp="1"/>
          </p:cNvGraphicFramePr>
          <p:nvPr>
            <p:extLst>
              <p:ext uri="{D42A27DB-BD31-4B8C-83A1-F6EECF244321}">
                <p14:modId xmlns:p14="http://schemas.microsoft.com/office/powerpoint/2010/main" val="2674944036"/>
              </p:ext>
            </p:extLst>
          </p:nvPr>
        </p:nvGraphicFramePr>
        <p:xfrm>
          <a:off x="2970605" y="5242475"/>
          <a:ext cx="1763629" cy="742384"/>
        </p:xfrm>
        <a:graphic>
          <a:graphicData uri="http://schemas.openxmlformats.org/drawingml/2006/table">
            <a:tbl>
              <a:tblPr firstRow="1" bandRow="1">
                <a:tableStyleId>{839DD9DD-9E6C-4910-8AC0-68ADFF6A6AFC}</a:tableStyleId>
              </a:tblPr>
              <a:tblGrid>
                <a:gridCol w="1763629">
                  <a:extLst>
                    <a:ext uri="{9D8B030D-6E8A-4147-A177-3AD203B41FA5}">
                      <a16:colId xmlns:a16="http://schemas.microsoft.com/office/drawing/2014/main" val="1384665759"/>
                    </a:ext>
                  </a:extLst>
                </a:gridCol>
              </a:tblGrid>
              <a:tr h="742384">
                <a:tc>
                  <a:txBody>
                    <a:bodyPr/>
                    <a:lstStyle/>
                    <a:p>
                      <a:pPr algn="ctr">
                        <a:spcBef>
                          <a:spcPts val="300"/>
                        </a:spcBef>
                      </a:pPr>
                      <a:r>
                        <a:rPr lang="en-GB" sz="1400" b="1" kern="0">
                          <a:solidFill>
                            <a:schemeClr val="accent1"/>
                          </a:solidFill>
                          <a:latin typeface="+mn-lt"/>
                          <a:ea typeface="+mn-ea"/>
                          <a:cs typeface="+mn-cs"/>
                        </a:rPr>
                        <a:t>Eric Tan</a:t>
                      </a:r>
                    </a:p>
                    <a:p>
                      <a:pPr algn="ctr">
                        <a:spcBef>
                          <a:spcPts val="300"/>
                        </a:spcBef>
                      </a:pPr>
                      <a:r>
                        <a:rPr lang="en-GB" sz="1200" b="0">
                          <a:solidFill>
                            <a:schemeClr val="tx2"/>
                          </a:solidFill>
                        </a:rPr>
                        <a:t>Consultant, Singapore</a:t>
                      </a:r>
                    </a:p>
                  </a:txBody>
                  <a:tcPr marL="36000" marR="0">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pic>
        <p:nvPicPr>
          <p:cNvPr id="27" name="Picture Placeholder 2">
            <a:extLst>
              <a:ext uri="{FF2B5EF4-FFF2-40B4-BE49-F238E27FC236}">
                <a16:creationId xmlns:a16="http://schemas.microsoft.com/office/drawing/2014/main" id="{1ED818B9-13CD-FEA3-399B-694EB38E0F2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348721" y="4114347"/>
            <a:ext cx="1007398" cy="1007398"/>
          </a:xfrm>
          <a:prstGeom prst="ellipse">
            <a:avLst/>
          </a:prstGeom>
        </p:spPr>
      </p:pic>
    </p:spTree>
    <p:extLst>
      <p:ext uri="{BB962C8B-B14F-4D97-AF65-F5344CB8AC3E}">
        <p14:creationId xmlns:p14="http://schemas.microsoft.com/office/powerpoint/2010/main" val="42470012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520AA5-F65B-4313-B5D8-53E6E321D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E8520AA5-F65B-4313-B5D8-53E6E321D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able 3">
            <a:extLst>
              <a:ext uri="{FF2B5EF4-FFF2-40B4-BE49-F238E27FC236}">
                <a16:creationId xmlns:a16="http://schemas.microsoft.com/office/drawing/2014/main" id="{130063FC-A229-4E1D-B5B0-F06B50EC909E}"/>
              </a:ext>
            </a:extLst>
          </p:cNvPr>
          <p:cNvGraphicFramePr>
            <a:graphicFrameLocks noGrp="1"/>
          </p:cNvGraphicFramePr>
          <p:nvPr>
            <p:extLst>
              <p:ext uri="{D42A27DB-BD31-4B8C-83A1-F6EECF244321}">
                <p14:modId xmlns:p14="http://schemas.microsoft.com/office/powerpoint/2010/main" val="1893935488"/>
              </p:ext>
            </p:extLst>
          </p:nvPr>
        </p:nvGraphicFramePr>
        <p:xfrm>
          <a:off x="457200" y="1932460"/>
          <a:ext cx="10936054" cy="4632960"/>
        </p:xfrm>
        <a:graphic>
          <a:graphicData uri="http://schemas.openxmlformats.org/drawingml/2006/table">
            <a:tbl>
              <a:tblPr firstRow="1" bandRow="1">
                <a:tableStyleId>{839DD9DD-9E6C-4910-8AC0-68ADFF6A6AFC}</a:tableStyleId>
              </a:tblPr>
              <a:tblGrid>
                <a:gridCol w="849796">
                  <a:extLst>
                    <a:ext uri="{9D8B030D-6E8A-4147-A177-3AD203B41FA5}">
                      <a16:colId xmlns:a16="http://schemas.microsoft.com/office/drawing/2014/main" val="3591989264"/>
                    </a:ext>
                  </a:extLst>
                </a:gridCol>
                <a:gridCol w="2345634">
                  <a:extLst>
                    <a:ext uri="{9D8B030D-6E8A-4147-A177-3AD203B41FA5}">
                      <a16:colId xmlns:a16="http://schemas.microsoft.com/office/drawing/2014/main" val="2210610867"/>
                    </a:ext>
                  </a:extLst>
                </a:gridCol>
                <a:gridCol w="7740624">
                  <a:extLst>
                    <a:ext uri="{9D8B030D-6E8A-4147-A177-3AD203B41FA5}">
                      <a16:colId xmlns:a16="http://schemas.microsoft.com/office/drawing/2014/main" val="2590698136"/>
                    </a:ext>
                  </a:extLst>
                </a:gridCol>
              </a:tblGrid>
              <a:tr h="370840">
                <a:tc>
                  <a:txBody>
                    <a:bodyPr/>
                    <a:lstStyle/>
                    <a:p>
                      <a:endParaRPr lang="en-GB" b="0">
                        <a:latin typeface="+mn-lt"/>
                      </a:endParaRP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b="1">
                          <a:latin typeface="+mj-lt"/>
                        </a:rPr>
                        <a:t>geoPolitical risks</a:t>
                      </a:r>
                    </a:p>
                    <a:p>
                      <a:endParaRPr lang="en-GB" sz="1200" b="1">
                        <a:latin typeface="+mn-lt"/>
                      </a:endParaRPr>
                    </a:p>
                    <a:p>
                      <a:r>
                        <a:rPr lang="en-GB" sz="1200" b="1">
                          <a:latin typeface="+mn-lt"/>
                        </a:rPr>
                        <a:t>Tensions improve over past 6 months.</a:t>
                      </a:r>
                      <a:endParaRPr lang="en-GB" sz="1200" b="0">
                        <a:latin typeface="+mn-lt"/>
                      </a:endParaRPr>
                    </a:p>
                  </a:txBody>
                  <a:tcPr marL="137160" marR="137160" marT="137160" marB="137160">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spcAft>
                          <a:spcPts val="600"/>
                        </a:spcAft>
                        <a:buFont typeface="Arial" panose="020B0604020202020204" pitchFamily="34" charset="0"/>
                        <a:buChar char="•"/>
                      </a:pPr>
                      <a:r>
                        <a:rPr lang="en-GB" sz="1400" b="0" kern="0"/>
                        <a:t>Israel-Palestine conflict stirs further fractures </a:t>
                      </a:r>
                      <a:r>
                        <a:rPr lang="en-GB" sz="1400" b="1" kern="0">
                          <a:solidFill>
                            <a:srgbClr val="009DE0"/>
                          </a:solidFill>
                        </a:rPr>
                        <a:t>geopolitical alliances </a:t>
                      </a:r>
                      <a:r>
                        <a:rPr lang="en-GB" sz="1400" b="0" kern="0"/>
                        <a:t>between China and the so-called Global South versus US and Europe.</a:t>
                      </a:r>
                    </a:p>
                    <a:p>
                      <a:pPr marL="285750" indent="-285750" algn="l">
                        <a:spcAft>
                          <a:spcPts val="600"/>
                        </a:spcAft>
                        <a:buFont typeface="Arial" panose="020B0604020202020204" pitchFamily="34" charset="0"/>
                        <a:buChar char="•"/>
                      </a:pPr>
                      <a:r>
                        <a:rPr lang="en-GB" sz="1400" b="0" kern="0"/>
                        <a:t>US-China </a:t>
                      </a:r>
                      <a:r>
                        <a:rPr lang="en-GB" sz="1400" b="1" kern="0">
                          <a:solidFill>
                            <a:srgbClr val="009DE0"/>
                          </a:solidFill>
                        </a:rPr>
                        <a:t>tensions ease </a:t>
                      </a:r>
                      <a:r>
                        <a:rPr lang="en-GB" sz="1400" b="0" kern="0"/>
                        <a:t>after Presidents Joe Biden and Xi Jinping meet in California, following recent visits from US Commerce Secretary Gina Raimondo in Beijing and earlier visits by US Foreign Secretary Blinken and US Fed Reserve Governor Yellen</a:t>
                      </a:r>
                    </a:p>
                    <a:p>
                      <a:pPr marL="285750" indent="-285750" algn="l">
                        <a:spcAft>
                          <a:spcPts val="600"/>
                        </a:spcAft>
                        <a:buFont typeface="Arial" panose="020B0604020202020204" pitchFamily="34" charset="0"/>
                        <a:buChar char="•"/>
                      </a:pPr>
                      <a:r>
                        <a:rPr lang="en-GB" sz="1400" b="0" kern="0"/>
                        <a:t>India hosts G20. Language on Ukraine is softened. African Union is admitted as a full-member, to bring it in line with the EU. Chinese President does not join.</a:t>
                      </a:r>
                    </a:p>
                  </a:txBody>
                  <a:tcPr marL="137160" marR="137160" marT="137160" marB="137160">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7102044"/>
                  </a:ext>
                </a:extLst>
              </a:tr>
              <a:tr h="370840">
                <a:tc>
                  <a:txBody>
                    <a:bodyPr/>
                    <a:lstStyle/>
                    <a:p>
                      <a:endParaRPr lang="en-GB" b="1">
                        <a:latin typeface="+mj-lt"/>
                      </a:endParaRPr>
                    </a:p>
                  </a:txBody>
                  <a:tcPr>
                    <a:lnL>
                      <a:noFill/>
                    </a:lnL>
                    <a:lnR>
                      <a:noFill/>
                    </a:lnR>
                    <a:lnT w="12700" cap="flat" cmpd="sng" algn="ctr">
                      <a:solidFill>
                        <a:schemeClr val="tx1"/>
                      </a:solidFill>
                      <a:prstDash val="solid"/>
                      <a:round/>
                      <a:headEnd type="none" w="med" len="med"/>
                      <a:tailEnd type="none" w="med" len="med"/>
                    </a:lnT>
                    <a:lnB w="9525" cmpd="sng">
                      <a:noFill/>
                    </a:lnB>
                    <a:lnTlToBr w="12700" cmpd="sng">
                      <a:noFill/>
                      <a:prstDash val="solid"/>
                    </a:lnTlToBr>
                    <a:lnBlToTr w="12700" cmpd="sng">
                      <a:noFill/>
                      <a:prstDash val="solid"/>
                    </a:lnBlToTr>
                  </a:tcPr>
                </a:tc>
                <a:tc>
                  <a:txBody>
                    <a:bodyPr/>
                    <a:lstStyle/>
                    <a:p>
                      <a:r>
                        <a:rPr lang="en-GB" b="1">
                          <a:latin typeface="+mj-lt"/>
                        </a:rPr>
                        <a:t>geoPolicy risks</a:t>
                      </a:r>
                    </a:p>
                    <a:p>
                      <a:endParaRPr lang="en-GB" b="1">
                        <a:latin typeface="+mj-lt"/>
                      </a:endParaRPr>
                    </a:p>
                    <a:p>
                      <a:r>
                        <a:rPr lang="en-GB" b="1">
                          <a:latin typeface="+mn-lt"/>
                        </a:rPr>
                        <a:t>Derisking of supply chains continue</a:t>
                      </a:r>
                    </a:p>
                    <a:p>
                      <a:pPr marL="0" marR="0" lvl="0" indent="0" algn="l" defTabSz="914370" rtl="0" eaLnBrk="1" fontAlgn="auto" latinLnBrk="0" hangingPunct="1">
                        <a:lnSpc>
                          <a:spcPct val="100000"/>
                        </a:lnSpc>
                        <a:spcBef>
                          <a:spcPts val="0"/>
                        </a:spcBef>
                        <a:spcAft>
                          <a:spcPts val="0"/>
                        </a:spcAft>
                        <a:buClrTx/>
                        <a:buSzTx/>
                        <a:buFontTx/>
                        <a:buNone/>
                        <a:tabLst/>
                        <a:defRPr/>
                      </a:pPr>
                      <a:endParaRPr lang="en-GB" b="0">
                        <a:latin typeface="+mn-lt"/>
                      </a:endParaRPr>
                    </a:p>
                    <a:p>
                      <a:endParaRPr lang="en-GB" b="1">
                        <a:latin typeface="+mj-lt"/>
                      </a:endParaRPr>
                    </a:p>
                  </a:txBody>
                  <a:tcPr marL="137160" marR="137160" marT="137160" marB="137160">
                    <a:lnL>
                      <a:noFill/>
                    </a:lnL>
                    <a:lnR>
                      <a:noFill/>
                    </a:lnR>
                    <a:lnT w="12700" cap="flat" cmpd="sng" algn="ctr">
                      <a:solidFill>
                        <a:schemeClr val="tx1"/>
                      </a:solidFill>
                      <a:prstDash val="solid"/>
                      <a:round/>
                      <a:headEnd type="none" w="med" len="med"/>
                      <a:tailEnd type="none" w="med" len="med"/>
                    </a:lnT>
                    <a:lnB w="9525" cmpd="sng">
                      <a:noFill/>
                    </a:lnB>
                    <a:lnTlToBr w="12700" cmpd="sng">
                      <a:noFill/>
                      <a:prstDash val="solid"/>
                    </a:lnTlToBr>
                    <a:lnBlToTr w="12700" cmpd="sng">
                      <a:noFill/>
                      <a:prstDash val="solid"/>
                    </a:lnBlToTr>
                  </a:tcPr>
                </a:tc>
                <a:tc>
                  <a:txBody>
                    <a:bodyPr/>
                    <a:lstStyle/>
                    <a:p>
                      <a:pPr marL="285750" marR="0" lvl="0" indent="-285750" algn="l" defTabSz="9143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kern="0"/>
                        <a:t>EU will assess the risks of </a:t>
                      </a:r>
                      <a:r>
                        <a:rPr lang="en-GB" sz="1400" b="1" kern="0">
                          <a:solidFill>
                            <a:srgbClr val="009DE0"/>
                          </a:solidFill>
                        </a:rPr>
                        <a:t>four critical technologies </a:t>
                      </a:r>
                      <a:r>
                        <a:rPr lang="en-GB" sz="1400" b="0" kern="0"/>
                        <a:t>being weaponized by countries not aligned with its values and will take measures next year.</a:t>
                      </a:r>
                    </a:p>
                    <a:p>
                      <a:pPr marL="285750" marR="0" lvl="0" indent="-285750" algn="l" defTabSz="9143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kern="0"/>
                        <a:t>EU opens up investigations into </a:t>
                      </a:r>
                      <a:r>
                        <a:rPr lang="en-GB" sz="1400" b="1" kern="0">
                          <a:solidFill>
                            <a:srgbClr val="009DE0"/>
                          </a:solidFill>
                        </a:rPr>
                        <a:t>China’s EV sector </a:t>
                      </a:r>
                      <a:r>
                        <a:rPr lang="en-GB" sz="1400" kern="0"/>
                        <a:t>on basis that vehicle prices are kept “artificially low by huge state subsidies.” Investigation expected to take 9 months.</a:t>
                      </a:r>
                    </a:p>
                    <a:p>
                      <a:pPr marL="285750" marR="0" lvl="0" indent="-285750" algn="l" defTabSz="9143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kern="0"/>
                        <a:t>G7 leaders agree on need to </a:t>
                      </a:r>
                      <a:r>
                        <a:rPr lang="en-GB" sz="1400" b="0" kern="0">
                          <a:solidFill>
                            <a:schemeClr val="tx1"/>
                          </a:solidFill>
                        </a:rPr>
                        <a:t>de-risk supply chains </a:t>
                      </a:r>
                      <a:r>
                        <a:rPr lang="en-GB" sz="1400" kern="0"/>
                        <a:t>from China and tackle ‘non-market policies and practices’ and ‘economic weapons’.</a:t>
                      </a:r>
                    </a:p>
                    <a:p>
                      <a:pPr marL="285750" marR="0" lvl="0" indent="-285750" algn="l" defTabSz="9143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kern="0"/>
                        <a:t>President Biden signs an executive order to </a:t>
                      </a:r>
                      <a:r>
                        <a:rPr lang="en-GB" sz="1400" b="1" kern="0">
                          <a:solidFill>
                            <a:srgbClr val="009DE0"/>
                          </a:solidFill>
                        </a:rPr>
                        <a:t>prohibit or restrict U.S. investments </a:t>
                      </a:r>
                      <a:r>
                        <a:rPr lang="en-GB" sz="1400" kern="0"/>
                        <a:t>in Chinese entities in three advanced technology sectors.</a:t>
                      </a:r>
                    </a:p>
                    <a:p>
                      <a:pPr marL="285750" marR="0" lvl="0" indent="-285750" algn="l" defTabSz="9143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kern="0"/>
                        <a:t>China bans operators of China’s key infrastructure from buying chips from US rival Micron on the basis of ‘national network security risks’.</a:t>
                      </a:r>
                    </a:p>
                  </a:txBody>
                  <a:tcPr marL="137160" marR="137160" marT="137160" marB="137160">
                    <a:lnL>
                      <a:noFill/>
                    </a:lnL>
                    <a:lnR>
                      <a:noFill/>
                    </a:lnR>
                    <a:lnT w="12700" cap="flat" cmpd="sng" algn="ctr">
                      <a:solidFill>
                        <a:schemeClr val="tx1"/>
                      </a:solidFill>
                      <a:prstDash val="solid"/>
                      <a:round/>
                      <a:headEnd type="none" w="med" len="med"/>
                      <a:tailEnd type="none" w="med" len="med"/>
                    </a:lnT>
                    <a:lnB w="9525" cmpd="sng">
                      <a:noFill/>
                    </a:lnB>
                    <a:lnTlToBr w="12700" cmpd="sng">
                      <a:noFill/>
                      <a:prstDash val="solid"/>
                    </a:lnTlToBr>
                    <a:lnBlToTr w="12700" cmpd="sng">
                      <a:noFill/>
                      <a:prstDash val="solid"/>
                    </a:lnBlToTr>
                  </a:tcPr>
                </a:tc>
                <a:extLst>
                  <a:ext uri="{0D108BD9-81ED-4DB2-BD59-A6C34878D82A}">
                    <a16:rowId xmlns:a16="http://schemas.microsoft.com/office/drawing/2014/main" val="2240859178"/>
                  </a:ext>
                </a:extLst>
              </a:tr>
            </a:tbl>
          </a:graphicData>
        </a:graphic>
      </p:graphicFrame>
      <p:sp>
        <p:nvSpPr>
          <p:cNvPr id="9" name="Title 8">
            <a:extLst>
              <a:ext uri="{FF2B5EF4-FFF2-40B4-BE49-F238E27FC236}">
                <a16:creationId xmlns:a16="http://schemas.microsoft.com/office/drawing/2014/main" id="{8FEEDF1B-E4F4-48AC-AA03-781DA2DF60FD}"/>
              </a:ext>
            </a:extLst>
          </p:cNvPr>
          <p:cNvSpPr>
            <a:spLocks noGrp="1"/>
          </p:cNvSpPr>
          <p:nvPr>
            <p:ph type="title"/>
          </p:nvPr>
        </p:nvSpPr>
        <p:spPr/>
        <p:txBody>
          <a:bodyPr vert="horz"/>
          <a:lstStyle/>
          <a:p>
            <a:r>
              <a:rPr lang="en-GB" err="1">
                <a:solidFill>
                  <a:srgbClr val="009DE0"/>
                </a:solidFill>
              </a:rPr>
              <a:t>asia</a:t>
            </a:r>
            <a:r>
              <a:rPr lang="en-GB">
                <a:solidFill>
                  <a:srgbClr val="009DE0"/>
                </a:solidFill>
              </a:rPr>
              <a:t> pacific macro risks: </a:t>
            </a:r>
            <a:r>
              <a:rPr lang="en-GB"/>
              <a:t>geopolitical and policy risks</a:t>
            </a:r>
          </a:p>
        </p:txBody>
      </p:sp>
      <p:sp>
        <p:nvSpPr>
          <p:cNvPr id="7" name="Text Placeholder 6">
            <a:extLst>
              <a:ext uri="{FF2B5EF4-FFF2-40B4-BE49-F238E27FC236}">
                <a16:creationId xmlns:a16="http://schemas.microsoft.com/office/drawing/2014/main" id="{F00AD001-F2C5-4DAB-98D1-0DA2718CD419}"/>
              </a:ext>
            </a:extLst>
          </p:cNvPr>
          <p:cNvSpPr>
            <a:spLocks noGrp="1"/>
          </p:cNvSpPr>
          <p:nvPr>
            <p:ph type="body" idx="10"/>
          </p:nvPr>
        </p:nvSpPr>
        <p:spPr>
          <a:xfrm>
            <a:off x="457200" y="1397000"/>
            <a:ext cx="9967784" cy="429768"/>
          </a:xfrm>
        </p:spPr>
        <p:txBody>
          <a:bodyPr/>
          <a:lstStyle/>
          <a:p>
            <a:r>
              <a:rPr lang="en-GB"/>
              <a:t>Asia enjoys a temporary improvement in geopolitical risks. But supply chain de-risking continues</a:t>
            </a:r>
          </a:p>
        </p:txBody>
      </p:sp>
      <p:pic>
        <p:nvPicPr>
          <p:cNvPr id="12" name="ico-world-2">
            <a:extLst>
              <a:ext uri="{FF2B5EF4-FFF2-40B4-BE49-F238E27FC236}">
                <a16:creationId xmlns:a16="http://schemas.microsoft.com/office/drawing/2014/main" id="{155AECC3-9926-458E-B6B8-4B32A8962B1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09600" y="2037522"/>
            <a:ext cx="533400" cy="533400"/>
          </a:xfrm>
          <a:prstGeom prst="rect">
            <a:avLst/>
          </a:prstGeom>
        </p:spPr>
      </p:pic>
      <p:pic>
        <p:nvPicPr>
          <p:cNvPr id="13" name="ico-document-2">
            <a:extLst>
              <a:ext uri="{FF2B5EF4-FFF2-40B4-BE49-F238E27FC236}">
                <a16:creationId xmlns:a16="http://schemas.microsoft.com/office/drawing/2014/main" id="{880111DB-B8CB-428E-8499-A76E8CC09629}"/>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09600" y="3982240"/>
            <a:ext cx="533400" cy="533400"/>
          </a:xfrm>
          <a:prstGeom prst="rect">
            <a:avLst/>
          </a:prstGeom>
        </p:spPr>
      </p:pic>
      <p:sp>
        <p:nvSpPr>
          <p:cNvPr id="5" name="Ghost">
            <a:extLst>
              <a:ext uri="{FF2B5EF4-FFF2-40B4-BE49-F238E27FC236}">
                <a16:creationId xmlns:a16="http://schemas.microsoft.com/office/drawing/2014/main" id="{05B1AC00-18F6-9955-D4BA-5888812A6B4B}"/>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13759126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9EA25E-AA3E-43CD-B6E5-796A0F3F39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F69EA25E-AA3E-43CD-B6E5-796A0F3F39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7EBBED0-85DC-416D-9797-05551D14E81B}"/>
              </a:ext>
            </a:extLst>
          </p:cNvPr>
          <p:cNvSpPr>
            <a:spLocks noGrp="1"/>
          </p:cNvSpPr>
          <p:nvPr>
            <p:ph type="title"/>
          </p:nvPr>
        </p:nvSpPr>
        <p:spPr>
          <a:xfrm>
            <a:off x="457200" y="384048"/>
            <a:ext cx="11277600" cy="1171732"/>
          </a:xfrm>
        </p:spPr>
        <p:txBody>
          <a:bodyPr vert="horz"/>
          <a:lstStyle/>
          <a:p>
            <a:r>
              <a:rPr lang="en-GB">
                <a:solidFill>
                  <a:srgbClr val="009DE0"/>
                </a:solidFill>
              </a:rPr>
              <a:t>Supply chain: </a:t>
            </a:r>
            <a:r>
              <a:rPr lang="en-GB" err="1"/>
              <a:t>mncs</a:t>
            </a:r>
            <a:r>
              <a:rPr lang="en-GB"/>
              <a:t> need to prepare for a more regionalized supply chain with </a:t>
            </a:r>
            <a:r>
              <a:rPr lang="en-GB" err="1"/>
              <a:t>china</a:t>
            </a:r>
            <a:r>
              <a:rPr lang="en-GB"/>
              <a:t> as the hub</a:t>
            </a:r>
          </a:p>
        </p:txBody>
      </p:sp>
      <p:pic>
        <p:nvPicPr>
          <p:cNvPr id="17" name="ico-currency-exchange-2">
            <a:extLst>
              <a:ext uri="{FF2B5EF4-FFF2-40B4-BE49-F238E27FC236}">
                <a16:creationId xmlns:a16="http://schemas.microsoft.com/office/drawing/2014/main" id="{88AC90BD-8FC7-4275-8C8E-FD904D1C388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93329" y="1646849"/>
            <a:ext cx="504000" cy="504000"/>
          </a:xfrm>
          <a:prstGeom prst="rect">
            <a:avLst/>
          </a:prstGeom>
        </p:spPr>
      </p:pic>
      <p:graphicFrame>
        <p:nvGraphicFramePr>
          <p:cNvPr id="2" name="Table 2">
            <a:extLst>
              <a:ext uri="{FF2B5EF4-FFF2-40B4-BE49-F238E27FC236}">
                <a16:creationId xmlns:a16="http://schemas.microsoft.com/office/drawing/2014/main" id="{40779144-67FC-47B7-8EF2-AAA196665E39}"/>
              </a:ext>
            </a:extLst>
          </p:cNvPr>
          <p:cNvGraphicFramePr>
            <a:graphicFrameLocks noGrp="1"/>
          </p:cNvGraphicFramePr>
          <p:nvPr>
            <p:extLst>
              <p:ext uri="{D42A27DB-BD31-4B8C-83A1-F6EECF244321}">
                <p14:modId xmlns:p14="http://schemas.microsoft.com/office/powerpoint/2010/main" val="3090165911"/>
              </p:ext>
            </p:extLst>
          </p:nvPr>
        </p:nvGraphicFramePr>
        <p:xfrm>
          <a:off x="700606" y="2205918"/>
          <a:ext cx="10790788" cy="3960000"/>
        </p:xfrm>
        <a:graphic>
          <a:graphicData uri="http://schemas.openxmlformats.org/drawingml/2006/table">
            <a:tbl>
              <a:tblPr firstRow="1" bandRow="1">
                <a:tableStyleId>{839DD9DD-9E6C-4910-8AC0-68ADFF6A6AFC}</a:tableStyleId>
              </a:tblPr>
              <a:tblGrid>
                <a:gridCol w="2697697">
                  <a:extLst>
                    <a:ext uri="{9D8B030D-6E8A-4147-A177-3AD203B41FA5}">
                      <a16:colId xmlns:a16="http://schemas.microsoft.com/office/drawing/2014/main" val="301450046"/>
                    </a:ext>
                  </a:extLst>
                </a:gridCol>
                <a:gridCol w="2697697">
                  <a:extLst>
                    <a:ext uri="{9D8B030D-6E8A-4147-A177-3AD203B41FA5}">
                      <a16:colId xmlns:a16="http://schemas.microsoft.com/office/drawing/2014/main" val="1503522261"/>
                    </a:ext>
                  </a:extLst>
                </a:gridCol>
                <a:gridCol w="2697697">
                  <a:extLst>
                    <a:ext uri="{9D8B030D-6E8A-4147-A177-3AD203B41FA5}">
                      <a16:colId xmlns:a16="http://schemas.microsoft.com/office/drawing/2014/main" val="834382194"/>
                    </a:ext>
                  </a:extLst>
                </a:gridCol>
                <a:gridCol w="2697697">
                  <a:extLst>
                    <a:ext uri="{9D8B030D-6E8A-4147-A177-3AD203B41FA5}">
                      <a16:colId xmlns:a16="http://schemas.microsoft.com/office/drawing/2014/main" val="3492309799"/>
                    </a:ext>
                  </a:extLst>
                </a:gridCol>
              </a:tblGrid>
              <a:tr h="1080000">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latin typeface="Calibri" panose="020F0502020204030204" pitchFamily="34" charset="0"/>
                          <a:ea typeface="Meiryo" panose="020B0604030504040204" pitchFamily="34" charset="-128"/>
                          <a:cs typeface="Dubai" panose="020B0503030403030204" pitchFamily="34" charset="-78"/>
                        </a:rPr>
                        <a:t>There is no simple alternative to China’s supply chain scale and efficiency</a:t>
                      </a:r>
                    </a:p>
                    <a:p>
                      <a:endParaRPr lang="en-GB" sz="1400"/>
                    </a:p>
                  </a:txBody>
                  <a:tcPr/>
                </a:tc>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latin typeface="Calibri" panose="020F0502020204030204" pitchFamily="34" charset="0"/>
                          <a:ea typeface="Meiryo" panose="020B0604030504040204" pitchFamily="34" charset="-128"/>
                          <a:cs typeface="Dubai" panose="020B0503030403030204" pitchFamily="34" charset="-78"/>
                        </a:rPr>
                        <a:t>But MNCs will de-risk from China and so fragment regional supply chains</a:t>
                      </a:r>
                      <a:endParaRPr lang="en-GB" sz="1400" b="1">
                        <a:effectLst/>
                        <a:latin typeface="Calibri" panose="020F0502020204030204" pitchFamily="34" charset="0"/>
                        <a:ea typeface="Meiryo" panose="020B0604030504040204" pitchFamily="34" charset="-128"/>
                        <a:cs typeface="Dubai" panose="020B0503030403030204" pitchFamily="34" charset="-78"/>
                      </a:endParaRPr>
                    </a:p>
                    <a:p>
                      <a:endParaRPr lang="en-GB" sz="1400"/>
                    </a:p>
                  </a:txBody>
                  <a:tcPr/>
                </a:tc>
                <a:tc>
                  <a:txBody>
                    <a:bodyPr/>
                    <a:lstStyle/>
                    <a:p>
                      <a:r>
                        <a:rPr lang="en-GB" sz="1400"/>
                        <a:t>MNCs will still retain significant market share in China to service local demand</a:t>
                      </a:r>
                    </a:p>
                  </a:txBody>
                  <a:tcPr/>
                </a:tc>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effectLst/>
                          <a:latin typeface="Calibri" panose="020F0502020204030204" pitchFamily="34" charset="0"/>
                          <a:ea typeface="Meiryo" panose="020B0604030504040204" pitchFamily="34" charset="-128"/>
                          <a:cs typeface="Dubai" panose="020B0503030403030204" pitchFamily="34" charset="-78"/>
                        </a:rPr>
                        <a:t>China outbound investment into Southeast Asia will meanwhile grow and evolve</a:t>
                      </a:r>
                    </a:p>
                    <a:p>
                      <a:endParaRPr lang="en-GB" sz="1400"/>
                    </a:p>
                  </a:txBody>
                  <a:tcPr/>
                </a:tc>
                <a:extLst>
                  <a:ext uri="{0D108BD9-81ED-4DB2-BD59-A6C34878D82A}">
                    <a16:rowId xmlns:a16="http://schemas.microsoft.com/office/drawing/2014/main" val="1256018183"/>
                  </a:ext>
                </a:extLst>
              </a:tr>
              <a:tr h="1440000">
                <a:tc>
                  <a:txBody>
                    <a:bodyPr/>
                    <a:lstStyle/>
                    <a:p>
                      <a:pPr lvl="0" algn="ctr">
                        <a:spcAft>
                          <a:spcPts val="800"/>
                        </a:spcAft>
                      </a:pPr>
                      <a:r>
                        <a:rPr lang="en-GB" sz="2400" b="1">
                          <a:solidFill>
                            <a:srgbClr val="009DE0"/>
                          </a:solidFill>
                          <a:effectLst/>
                          <a:latin typeface="+mj-lt"/>
                          <a:ea typeface="Meiryo" panose="020B0604030504040204" pitchFamily="34" charset="-128"/>
                          <a:cs typeface="Dubai" panose="020B0503030403030204" pitchFamily="34" charset="-78"/>
                        </a:rPr>
                        <a:t>3.5 x</a:t>
                      </a:r>
                    </a:p>
                    <a:p>
                      <a:pPr lvl="0" algn="ctr">
                        <a:spcAft>
                          <a:spcPts val="800"/>
                        </a:spcAft>
                      </a:pPr>
                      <a:r>
                        <a:rPr lang="en-GB" sz="1200">
                          <a:latin typeface="Calibri" panose="020F0502020204030204" pitchFamily="34" charset="0"/>
                          <a:ea typeface="Meiryo" panose="020B0604030504040204" pitchFamily="34" charset="-128"/>
                          <a:cs typeface="Dubai" panose="020B0503030403030204" pitchFamily="34" charset="-78"/>
                        </a:rPr>
                        <a:t>China’s export manufacturing sector versus Vietnam, India, and Indonesia combined</a:t>
                      </a:r>
                      <a:endParaRPr lang="en-GB" sz="1200">
                        <a:effectLst/>
                        <a:latin typeface="Calibri" panose="020F0502020204030204" pitchFamily="34" charset="0"/>
                        <a:ea typeface="Meiryo" panose="020B0604030504040204" pitchFamily="34" charset="-128"/>
                        <a:cs typeface="Dubai" panose="020B0503030403030204" pitchFamily="34" charset="-78"/>
                      </a:endParaRPr>
                    </a:p>
                  </a:txBody>
                  <a:tcPr marL="137160" marR="137160" marT="137160" marB="137160" anchor="ctr"/>
                </a:tc>
                <a:tc>
                  <a:txBody>
                    <a:bodyPr/>
                    <a:lstStyle/>
                    <a:p>
                      <a:pPr marL="0" lvl="0" indent="0" algn="ctr">
                        <a:spcAft>
                          <a:spcPts val="800"/>
                        </a:spcAft>
                        <a:buFont typeface="Arial" panose="020B0604020202020204" pitchFamily="34" charset="0"/>
                        <a:buNone/>
                      </a:pPr>
                      <a:r>
                        <a:rPr lang="en-GB" sz="2400" b="1">
                          <a:solidFill>
                            <a:srgbClr val="009DE0"/>
                          </a:solidFill>
                          <a:latin typeface="+mj-lt"/>
                          <a:ea typeface="Meiryo" panose="020B0604030504040204" pitchFamily="34" charset="-128"/>
                          <a:cs typeface="Dubai" panose="020B0503030403030204" pitchFamily="34" charset="-78"/>
                        </a:rPr>
                        <a:t>4%</a:t>
                      </a:r>
                    </a:p>
                    <a:p>
                      <a:pPr marL="0" lvl="0" indent="0" algn="ctr">
                        <a:spcAft>
                          <a:spcPts val="800"/>
                        </a:spcAft>
                        <a:buFont typeface="Arial" panose="020B0604020202020204" pitchFamily="34" charset="0"/>
                        <a:buNone/>
                      </a:pPr>
                      <a:r>
                        <a:rPr lang="en-GB" sz="1200">
                          <a:effectLst/>
                          <a:latin typeface="Calibri" panose="020F0502020204030204" pitchFamily="34" charset="0"/>
                          <a:ea typeface="Meiryo" panose="020B0604030504040204" pitchFamily="34" charset="-128"/>
                          <a:cs typeface="Dubai" panose="020B0503030403030204" pitchFamily="34" charset="-78"/>
                        </a:rPr>
                        <a:t>Vietnam’s median increase in export market share across clothing, electronics, and computers*</a:t>
                      </a:r>
                    </a:p>
                  </a:txBody>
                  <a:tcPr marL="137160" marR="137160" marT="137160" marB="137160" anchor="ctr"/>
                </a:tc>
                <a:tc>
                  <a:txBody>
                    <a:bodyPr/>
                    <a:lstStyle/>
                    <a:p>
                      <a:pPr lvl="0" algn="ctr">
                        <a:spcAft>
                          <a:spcPts val="800"/>
                        </a:spcAft>
                      </a:pPr>
                      <a:r>
                        <a:rPr lang="en-GB" sz="2400" b="1" kern="0">
                          <a:solidFill>
                            <a:srgbClr val="009DE0"/>
                          </a:solidFill>
                          <a:effectLst/>
                          <a:latin typeface="+mj-lt"/>
                          <a:ea typeface="Meiryo" panose="020B0604030504040204" pitchFamily="34" charset="-128"/>
                          <a:cs typeface="Dubai" panose="020B0503030403030204" pitchFamily="34" charset="-78"/>
                        </a:rPr>
                        <a:t>26mn</a:t>
                      </a:r>
                    </a:p>
                    <a:p>
                      <a:pPr lvl="0" algn="ctr">
                        <a:spcAft>
                          <a:spcPts val="800"/>
                        </a:spcAft>
                      </a:pPr>
                      <a:r>
                        <a:rPr lang="en-GB" sz="1200">
                          <a:latin typeface="Calibri" panose="020F0502020204030204" pitchFamily="34" charset="0"/>
                          <a:ea typeface="Meiryo" panose="020B0604030504040204" pitchFamily="34" charset="-128"/>
                          <a:cs typeface="Dubai" panose="020B0503030403030204" pitchFamily="34" charset="-78"/>
                        </a:rPr>
                        <a:t>China’s annual automobile sales, which are twice that of sales in the United States</a:t>
                      </a:r>
                      <a:endParaRPr lang="en-GB" sz="1200">
                        <a:effectLst/>
                        <a:latin typeface="Calibri" panose="020F0502020204030204" pitchFamily="34" charset="0"/>
                        <a:ea typeface="Meiryo" panose="020B0604030504040204" pitchFamily="34" charset="-128"/>
                        <a:cs typeface="Dubai" panose="020B0503030403030204" pitchFamily="34" charset="-78"/>
                      </a:endParaRPr>
                    </a:p>
                  </a:txBody>
                  <a:tcPr marL="137160" marR="137160" marT="137160" marB="137160" anchor="ctr"/>
                </a:tc>
                <a:tc>
                  <a:txBody>
                    <a:bodyPr/>
                    <a:lstStyle/>
                    <a:p>
                      <a:pPr lvl="0" algn="ctr">
                        <a:spcAft>
                          <a:spcPts val="800"/>
                        </a:spcAft>
                      </a:pPr>
                      <a:r>
                        <a:rPr lang="en-GB" sz="2400" b="1">
                          <a:solidFill>
                            <a:srgbClr val="009DE0"/>
                          </a:solidFill>
                          <a:effectLst/>
                          <a:latin typeface="+mj-lt"/>
                          <a:ea typeface="Meiryo" panose="020B0604030504040204" pitchFamily="34" charset="-128"/>
                          <a:cs typeface="Dubai" panose="020B0503030403030204" pitchFamily="34" charset="-78"/>
                        </a:rPr>
                        <a:t>$30bn</a:t>
                      </a:r>
                    </a:p>
                    <a:p>
                      <a:pPr lvl="0" algn="ctr">
                        <a:spcAft>
                          <a:spcPts val="800"/>
                        </a:spcAft>
                      </a:pPr>
                      <a:r>
                        <a:rPr lang="en-GB" sz="1200">
                          <a:latin typeface="Calibri" panose="020F0502020204030204" pitchFamily="34" charset="0"/>
                          <a:ea typeface="Meiryo" panose="020B0604030504040204" pitchFamily="34" charset="-128"/>
                          <a:cs typeface="Dubai" panose="020B0503030403030204" pitchFamily="34" charset="-78"/>
                        </a:rPr>
                        <a:t>Increase in China’s shipments of component parts to China+1 countries, most for further processing.</a:t>
                      </a:r>
                      <a:endParaRPr lang="en-GB" sz="1200">
                        <a:effectLst/>
                        <a:latin typeface="Calibri" panose="020F0502020204030204" pitchFamily="34" charset="0"/>
                        <a:ea typeface="Meiryo" panose="020B0604030504040204" pitchFamily="34" charset="-128"/>
                        <a:cs typeface="Dubai" panose="020B0503030403030204" pitchFamily="34" charset="-78"/>
                      </a:endParaRPr>
                    </a:p>
                  </a:txBody>
                  <a:tcPr marL="137160" marR="137160" marT="137160" marB="137160" anchor="ctr"/>
                </a:tc>
                <a:extLst>
                  <a:ext uri="{0D108BD9-81ED-4DB2-BD59-A6C34878D82A}">
                    <a16:rowId xmlns:a16="http://schemas.microsoft.com/office/drawing/2014/main" val="80207659"/>
                  </a:ext>
                </a:extLst>
              </a:tr>
              <a:tr h="1440000">
                <a:tc>
                  <a:txBody>
                    <a:bodyPr/>
                    <a:lstStyle/>
                    <a:p>
                      <a:pPr marL="171450" indent="-171450">
                        <a:buFont typeface="Arial" panose="020B0604020202020204" pitchFamily="34" charset="0"/>
                        <a:buChar char="•"/>
                      </a:pPr>
                      <a:r>
                        <a:rPr lang="en-GB"/>
                        <a:t>China has &gt;20% shares of global manufacturing in clothing, electronics and textiles. Companies relocating will likely pay higher costs for greater resilience.</a:t>
                      </a:r>
                    </a:p>
                  </a:txBody>
                  <a:tcPr marL="137160" marR="137160" marT="137160" marB="137160"/>
                </a:tc>
                <a:tc>
                  <a:txBody>
                    <a:bodyPr/>
                    <a:lstStyle/>
                    <a:p>
                      <a:pPr marL="171450" indent="-171450">
                        <a:buFont typeface="Arial" panose="020B0604020202020204" pitchFamily="34" charset="0"/>
                        <a:buChar char="•"/>
                      </a:pPr>
                      <a:r>
                        <a:rPr lang="en-GB"/>
                        <a:t>Only select companies are succeeding in India and Indonesia so far. Neither have captured &gt;1% global export share in a major manufactured product. </a:t>
                      </a:r>
                    </a:p>
                  </a:txBody>
                  <a:tcPr marL="137160" marR="137160" marT="137160" marB="137160"/>
                </a:tc>
                <a:tc>
                  <a:txBody>
                    <a:bodyPr/>
                    <a:lstStyle/>
                    <a:p>
                      <a:pPr marL="171450" indent="-171450">
                        <a:buFont typeface="Arial" panose="020B0604020202020204" pitchFamily="34" charset="0"/>
                        <a:buChar char="•"/>
                      </a:pPr>
                      <a:r>
                        <a:rPr lang="en-GB"/>
                        <a:t>China’s vast manufacturing capacity will also be used to export to ‘friendly’ Asia, Middle East, Africa, and </a:t>
                      </a:r>
                      <a:r>
                        <a:rPr lang="en-GB" err="1"/>
                        <a:t>LatAm</a:t>
                      </a:r>
                      <a:r>
                        <a:rPr lang="en-GB"/>
                        <a:t> which together are 29% of ex-China global GDP.</a:t>
                      </a:r>
                    </a:p>
                  </a:txBody>
                  <a:tcPr marL="137160" marR="137160" marT="137160" marB="137160"/>
                </a:tc>
                <a:tc>
                  <a:txBody>
                    <a:bodyPr/>
                    <a:lstStyle/>
                    <a:p>
                      <a:pPr marL="171450" lvl="0" indent="-171450">
                        <a:spcAft>
                          <a:spcPts val="800"/>
                        </a:spcAft>
                        <a:buFont typeface="Arial" panose="020B0604020202020204" pitchFamily="34" charset="0"/>
                        <a:buChar char="•"/>
                      </a:pPr>
                      <a:r>
                        <a:rPr lang="en-GB" sz="1200">
                          <a:effectLst/>
                          <a:latin typeface="Calibri" panose="020F0502020204030204" pitchFamily="34" charset="0"/>
                          <a:ea typeface="Meiryo" panose="020B0604030504040204" pitchFamily="34" charset="-128"/>
                          <a:cs typeface="Dubai" panose="020B0503030403030204" pitchFamily="34" charset="-78"/>
                        </a:rPr>
                        <a:t>China’s manufacturers typically move as part of ecosystems, and thus move slowly, unless relocating alongside their foreign buyers who guarantee orders.</a:t>
                      </a:r>
                    </a:p>
                  </a:txBody>
                  <a:tcPr marL="137160" marR="137160" marT="137160" marB="137160"/>
                </a:tc>
                <a:extLst>
                  <a:ext uri="{0D108BD9-81ED-4DB2-BD59-A6C34878D82A}">
                    <a16:rowId xmlns:a16="http://schemas.microsoft.com/office/drawing/2014/main" val="4172639585"/>
                  </a:ext>
                </a:extLst>
              </a:tr>
            </a:tbl>
          </a:graphicData>
        </a:graphic>
      </p:graphicFrame>
      <p:pic>
        <p:nvPicPr>
          <p:cNvPr id="19" name="ico-scale-2">
            <a:extLst>
              <a:ext uri="{FF2B5EF4-FFF2-40B4-BE49-F238E27FC236}">
                <a16:creationId xmlns:a16="http://schemas.microsoft.com/office/drawing/2014/main" id="{94F5FD43-F07C-4ACB-BCE8-CF785A11010A}"/>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46322" y="1646849"/>
            <a:ext cx="468000" cy="468000"/>
          </a:xfrm>
          <a:prstGeom prst="rect">
            <a:avLst/>
          </a:prstGeom>
        </p:spPr>
      </p:pic>
      <p:pic>
        <p:nvPicPr>
          <p:cNvPr id="20" name="ico-risk-management">
            <a:extLst>
              <a:ext uri="{FF2B5EF4-FFF2-40B4-BE49-F238E27FC236}">
                <a16:creationId xmlns:a16="http://schemas.microsoft.com/office/drawing/2014/main" id="{8A33A10C-1E68-4328-994F-2BE880B959F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6359" y="1651158"/>
            <a:ext cx="504000" cy="504000"/>
          </a:xfrm>
          <a:prstGeom prst="rect">
            <a:avLst/>
          </a:prstGeom>
        </p:spPr>
      </p:pic>
      <p:pic>
        <p:nvPicPr>
          <p:cNvPr id="21" name="ico-factory">
            <a:extLst>
              <a:ext uri="{FF2B5EF4-FFF2-40B4-BE49-F238E27FC236}">
                <a16:creationId xmlns:a16="http://schemas.microsoft.com/office/drawing/2014/main" id="{FEEF89D0-7417-43C5-861A-028CCF8AB1D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038560" y="1600398"/>
            <a:ext cx="504000" cy="504000"/>
          </a:xfrm>
          <a:prstGeom prst="rect">
            <a:avLst/>
          </a:prstGeom>
        </p:spPr>
      </p:pic>
      <p:sp>
        <p:nvSpPr>
          <p:cNvPr id="3" name="TextBox 2">
            <a:extLst>
              <a:ext uri="{FF2B5EF4-FFF2-40B4-BE49-F238E27FC236}">
                <a16:creationId xmlns:a16="http://schemas.microsoft.com/office/drawing/2014/main" id="{78F6CEEE-07B7-48B3-90E8-B625AA0CDAB9}"/>
              </a:ext>
            </a:extLst>
          </p:cNvPr>
          <p:cNvSpPr txBox="1"/>
          <p:nvPr/>
        </p:nvSpPr>
        <p:spPr>
          <a:xfrm>
            <a:off x="743943" y="6294504"/>
            <a:ext cx="3309731" cy="123111"/>
          </a:xfrm>
          <a:prstGeom prst="rect">
            <a:avLst/>
          </a:prstGeom>
          <a:noFill/>
        </p:spPr>
        <p:txBody>
          <a:bodyPr wrap="square" lIns="0" tIns="0" rIns="0" bIns="0" rtlCol="0">
            <a:spAutoFit/>
          </a:bodyPr>
          <a:lstStyle/>
          <a:p>
            <a:pPr algn="l"/>
            <a:r>
              <a:rPr lang="en-GB" sz="800" kern="0"/>
              <a:t>*US, UK, Germany, Japan, Australia</a:t>
            </a:r>
          </a:p>
        </p:txBody>
      </p:sp>
      <p:sp>
        <p:nvSpPr>
          <p:cNvPr id="5" name="Ghost">
            <a:extLst>
              <a:ext uri="{FF2B5EF4-FFF2-40B4-BE49-F238E27FC236}">
                <a16:creationId xmlns:a16="http://schemas.microsoft.com/office/drawing/2014/main" id="{EA6865D5-6934-A412-722B-DBCC24BFA5AF}"/>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2926213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ED76285-2AA9-8D0C-D3EF-8406305F05A0}"/>
              </a:ext>
            </a:extLst>
          </p:cNvPr>
          <p:cNvSpPr/>
          <p:nvPr/>
        </p:nvSpPr>
        <p:spPr>
          <a:xfrm>
            <a:off x="8455574" y="2053283"/>
            <a:ext cx="553428" cy="3830842"/>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GB"/>
          </a:p>
        </p:txBody>
      </p:sp>
      <p:sp>
        <p:nvSpPr>
          <p:cNvPr id="3" name="Rectangle 2">
            <a:extLst>
              <a:ext uri="{FF2B5EF4-FFF2-40B4-BE49-F238E27FC236}">
                <a16:creationId xmlns:a16="http://schemas.microsoft.com/office/drawing/2014/main" id="{65673437-065A-6C6D-84A8-47509535559B}"/>
              </a:ext>
            </a:extLst>
          </p:cNvPr>
          <p:cNvSpPr/>
          <p:nvPr/>
        </p:nvSpPr>
        <p:spPr>
          <a:xfrm>
            <a:off x="9038701" y="2051506"/>
            <a:ext cx="364747" cy="3830842"/>
          </a:xfrm>
          <a:prstGeom prst="rect">
            <a:avLst/>
          </a:prstGeom>
          <a:solidFill>
            <a:schemeClr val="bg1">
              <a:lumMod val="8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GB"/>
          </a:p>
        </p:txBody>
      </p:sp>
      <p:graphicFrame>
        <p:nvGraphicFramePr>
          <p:cNvPr id="4" name="Chart 3">
            <a:extLst>
              <a:ext uri="{FF2B5EF4-FFF2-40B4-BE49-F238E27FC236}">
                <a16:creationId xmlns:a16="http://schemas.microsoft.com/office/drawing/2014/main" id="{F2253296-4AB9-090D-8613-0FCB218B442E}"/>
              </a:ext>
            </a:extLst>
          </p:cNvPr>
          <p:cNvGraphicFramePr>
            <a:graphicFrameLocks/>
          </p:cNvGraphicFramePr>
          <p:nvPr/>
        </p:nvGraphicFramePr>
        <p:xfrm>
          <a:off x="4368799" y="2166330"/>
          <a:ext cx="5004950" cy="40613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Object 1" hidden="1">
            <a:extLst>
              <a:ext uri="{FF2B5EF4-FFF2-40B4-BE49-F238E27FC236}">
                <a16:creationId xmlns:a16="http://schemas.microsoft.com/office/drawing/2014/main" id="{E8520AA5-F65B-4313-B5D8-53E6E321D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E8520AA5-F65B-4313-B5D8-53E6E321DF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8" name="Title 3">
            <a:extLst>
              <a:ext uri="{FF2B5EF4-FFF2-40B4-BE49-F238E27FC236}">
                <a16:creationId xmlns:a16="http://schemas.microsoft.com/office/drawing/2014/main" id="{C90196E9-765D-443C-A484-6D47989B4B66}"/>
              </a:ext>
            </a:extLst>
          </p:cNvPr>
          <p:cNvSpPr>
            <a:spLocks noGrp="1"/>
          </p:cNvSpPr>
          <p:nvPr>
            <p:ph type="title"/>
          </p:nvPr>
        </p:nvSpPr>
        <p:spPr/>
        <p:txBody>
          <a:bodyPr vert="horz"/>
          <a:lstStyle/>
          <a:p>
            <a:r>
              <a:rPr lang="en-GB">
                <a:solidFill>
                  <a:srgbClr val="009DE0"/>
                </a:solidFill>
              </a:rPr>
              <a:t>Supply chain: </a:t>
            </a:r>
            <a:r>
              <a:rPr lang="en-GB"/>
              <a:t>Mexico has overtaken china as a larger exporter to the us</a:t>
            </a:r>
          </a:p>
        </p:txBody>
      </p:sp>
      <p:sp>
        <p:nvSpPr>
          <p:cNvPr id="5" name="Text Placeholder 4">
            <a:extLst>
              <a:ext uri="{FF2B5EF4-FFF2-40B4-BE49-F238E27FC236}">
                <a16:creationId xmlns:a16="http://schemas.microsoft.com/office/drawing/2014/main" id="{68BDA6F0-19E5-443B-B77A-374A19640413}"/>
              </a:ext>
            </a:extLst>
          </p:cNvPr>
          <p:cNvSpPr>
            <a:spLocks noGrp="1"/>
          </p:cNvSpPr>
          <p:nvPr>
            <p:ph type="body" idx="10"/>
          </p:nvPr>
        </p:nvSpPr>
        <p:spPr/>
        <p:txBody>
          <a:bodyPr/>
          <a:lstStyle/>
          <a:p>
            <a:r>
              <a:rPr lang="en-GB"/>
              <a:t>Global supply chains are rebalancing, but remain dependent on China</a:t>
            </a:r>
          </a:p>
        </p:txBody>
      </p:sp>
      <p:sp>
        <p:nvSpPr>
          <p:cNvPr id="6" name="Text Placeholder 5">
            <a:extLst>
              <a:ext uri="{FF2B5EF4-FFF2-40B4-BE49-F238E27FC236}">
                <a16:creationId xmlns:a16="http://schemas.microsoft.com/office/drawing/2014/main" id="{F5FE24D2-B9B3-4C62-9C59-251EC4E2E972}"/>
              </a:ext>
            </a:extLst>
          </p:cNvPr>
          <p:cNvSpPr>
            <a:spLocks noGrp="1"/>
          </p:cNvSpPr>
          <p:nvPr>
            <p:ph type="body" sz="quarter" idx="13"/>
          </p:nvPr>
        </p:nvSpPr>
        <p:spPr/>
        <p:txBody>
          <a:bodyPr/>
          <a:lstStyle/>
          <a:p>
            <a:r>
              <a:rPr lang="en-GB"/>
              <a:t>US imports from China and the US</a:t>
            </a:r>
            <a:endParaRPr lang="en-GB" sz="1400" b="1" kern="0"/>
          </a:p>
          <a:p>
            <a:r>
              <a:rPr lang="en-GB" sz="1200" b="0"/>
              <a:t>% share of total imports, 12 month moving average</a:t>
            </a:r>
          </a:p>
          <a:p>
            <a:endParaRPr lang="en-GB"/>
          </a:p>
        </p:txBody>
      </p:sp>
      <p:sp>
        <p:nvSpPr>
          <p:cNvPr id="10" name="TextBox 9">
            <a:extLst>
              <a:ext uri="{FF2B5EF4-FFF2-40B4-BE49-F238E27FC236}">
                <a16:creationId xmlns:a16="http://schemas.microsoft.com/office/drawing/2014/main" id="{DF4C6ACE-A4AC-F3BE-BD2F-16E9D95D8A83}"/>
              </a:ext>
            </a:extLst>
          </p:cNvPr>
          <p:cNvSpPr txBox="1"/>
          <p:nvPr/>
        </p:nvSpPr>
        <p:spPr>
          <a:xfrm>
            <a:off x="7136518" y="4834229"/>
            <a:ext cx="1546502" cy="184666"/>
          </a:xfrm>
          <a:prstGeom prst="rect">
            <a:avLst/>
          </a:prstGeom>
          <a:noFill/>
        </p:spPr>
        <p:txBody>
          <a:bodyPr wrap="square" lIns="0" tIns="0" rIns="0" bIns="0" rtlCol="0">
            <a:spAutoFit/>
          </a:bodyPr>
          <a:lstStyle/>
          <a:p>
            <a:pPr algn="l"/>
            <a:r>
              <a:rPr lang="en-GB" sz="1200" kern="0"/>
              <a:t>Trump Presidency</a:t>
            </a:r>
          </a:p>
        </p:txBody>
      </p:sp>
      <p:sp>
        <p:nvSpPr>
          <p:cNvPr id="8" name="TextBox 7">
            <a:extLst>
              <a:ext uri="{FF2B5EF4-FFF2-40B4-BE49-F238E27FC236}">
                <a16:creationId xmlns:a16="http://schemas.microsoft.com/office/drawing/2014/main" id="{D97BCEDB-C25B-CBB5-B8F5-7594C8687E8D}"/>
              </a:ext>
            </a:extLst>
          </p:cNvPr>
          <p:cNvSpPr txBox="1"/>
          <p:nvPr/>
        </p:nvSpPr>
        <p:spPr>
          <a:xfrm>
            <a:off x="7121758" y="5219250"/>
            <a:ext cx="1546502" cy="184666"/>
          </a:xfrm>
          <a:prstGeom prst="rect">
            <a:avLst/>
          </a:prstGeom>
          <a:noFill/>
        </p:spPr>
        <p:txBody>
          <a:bodyPr wrap="square" lIns="0" tIns="0" rIns="0" bIns="0" rtlCol="0">
            <a:spAutoFit/>
          </a:bodyPr>
          <a:lstStyle/>
          <a:p>
            <a:pPr algn="l"/>
            <a:r>
              <a:rPr lang="en-GB" sz="1200" kern="0"/>
              <a:t>Biden Presidency</a:t>
            </a:r>
          </a:p>
        </p:txBody>
      </p:sp>
      <p:cxnSp>
        <p:nvCxnSpPr>
          <p:cNvPr id="11" name="Straight Connector 10">
            <a:extLst>
              <a:ext uri="{FF2B5EF4-FFF2-40B4-BE49-F238E27FC236}">
                <a16:creationId xmlns:a16="http://schemas.microsoft.com/office/drawing/2014/main" id="{B535F25F-0F19-14A1-0C51-A2F7218AD884}"/>
              </a:ext>
            </a:extLst>
          </p:cNvPr>
          <p:cNvCxnSpPr>
            <a:cxnSpLocks/>
          </p:cNvCxnSpPr>
          <p:nvPr/>
        </p:nvCxnSpPr>
        <p:spPr>
          <a:xfrm>
            <a:off x="7112682" y="5083930"/>
            <a:ext cx="1663722" cy="0"/>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B658659-E57E-64FC-F5D5-477BD5C9F5B2}"/>
              </a:ext>
            </a:extLst>
          </p:cNvPr>
          <p:cNvCxnSpPr>
            <a:cxnSpLocks/>
          </p:cNvCxnSpPr>
          <p:nvPr/>
        </p:nvCxnSpPr>
        <p:spPr>
          <a:xfrm>
            <a:off x="7112682" y="5480348"/>
            <a:ext cx="2030233" cy="17896"/>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DE1A214-A3EA-6D50-EF10-3F112010070A}"/>
              </a:ext>
            </a:extLst>
          </p:cNvPr>
          <p:cNvSpPr txBox="1"/>
          <p:nvPr/>
        </p:nvSpPr>
        <p:spPr>
          <a:xfrm>
            <a:off x="4368798" y="6292049"/>
            <a:ext cx="7031335" cy="153888"/>
          </a:xfrm>
          <a:prstGeom prst="rect">
            <a:avLst/>
          </a:prstGeom>
          <a:noFill/>
        </p:spPr>
        <p:txBody>
          <a:bodyPr wrap="square" lIns="0" tIns="0" rIns="0" bIns="0" rtlCol="0">
            <a:spAutoFit/>
          </a:bodyPr>
          <a:lstStyle/>
          <a:p>
            <a:pPr algn="l"/>
            <a:r>
              <a:rPr lang="en-GB" sz="1000" kern="0"/>
              <a:t>* Exports to India, Indonesia, Mexico, and Vietnam of printed circuit boards, other electronic components, zippers, fabrics, yarn, etc</a:t>
            </a:r>
          </a:p>
        </p:txBody>
      </p:sp>
      <p:sp>
        <p:nvSpPr>
          <p:cNvPr id="26" name="Content Placeholder 12">
            <a:extLst>
              <a:ext uri="{FF2B5EF4-FFF2-40B4-BE49-F238E27FC236}">
                <a16:creationId xmlns:a16="http://schemas.microsoft.com/office/drawing/2014/main" id="{E13A3108-85CA-406E-DC41-E38843DBF79F}"/>
              </a:ext>
            </a:extLst>
          </p:cNvPr>
          <p:cNvSpPr txBox="1">
            <a:spLocks/>
          </p:cNvSpPr>
          <p:nvPr/>
        </p:nvSpPr>
        <p:spPr>
          <a:xfrm>
            <a:off x="455992" y="2013466"/>
            <a:ext cx="3454400" cy="4387334"/>
          </a:xfrm>
          <a:prstGeom prst="rect">
            <a:avLst/>
          </a:prstGeom>
        </p:spPr>
        <p:txBody>
          <a:bodyPr vert="horz" lIns="0" tIns="0" rIns="0" bIns="0" rtlCol="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fontAlgn="ctr">
              <a:spcBef>
                <a:spcPts val="0"/>
              </a:spcBef>
              <a:spcAft>
                <a:spcPts val="800"/>
              </a:spcAft>
            </a:pPr>
            <a:r>
              <a:rPr lang="en-GB" i="0" u="none" strike="noStrike">
                <a:effectLst/>
                <a:ea typeface="Meiryo" panose="020B0604030504040204" pitchFamily="34" charset="-128"/>
                <a:cs typeface="Dubai" panose="020B0503030403030204" pitchFamily="34" charset="-78"/>
              </a:rPr>
              <a:t>Mexico has overtaken China as a larger exporter to the US.</a:t>
            </a:r>
          </a:p>
          <a:p>
            <a:pPr fontAlgn="ctr">
              <a:spcBef>
                <a:spcPts val="0"/>
              </a:spcBef>
              <a:spcAft>
                <a:spcPts val="800"/>
              </a:spcAft>
            </a:pPr>
            <a:r>
              <a:rPr lang="en-GB" i="0" u="none" strike="noStrike">
                <a:effectLst/>
                <a:ea typeface="Meiryo" panose="020B0604030504040204" pitchFamily="34" charset="-128"/>
                <a:cs typeface="Dubai" panose="020B0503030403030204" pitchFamily="34" charset="-78"/>
              </a:rPr>
              <a:t>But the country still imports component parts from China for reassembly.</a:t>
            </a:r>
          </a:p>
          <a:p>
            <a:pPr fontAlgn="ctr">
              <a:spcBef>
                <a:spcPts val="0"/>
              </a:spcBef>
              <a:spcAft>
                <a:spcPts val="800"/>
              </a:spcAft>
            </a:pPr>
            <a:r>
              <a:rPr lang="en-GB" i="0" u="none" strike="noStrike">
                <a:effectLst/>
                <a:ea typeface="Meiryo" panose="020B0604030504040204" pitchFamily="34" charset="-128"/>
                <a:cs typeface="Dubai" panose="020B0503030403030204" pitchFamily="34" charset="-78"/>
              </a:rPr>
              <a:t>China’</a:t>
            </a:r>
            <a:r>
              <a:rPr lang="en-GB">
                <a:ea typeface="Meiryo" panose="020B0604030504040204" pitchFamily="34" charset="-128"/>
                <a:cs typeface="Dubai" panose="020B0503030403030204" pitchFamily="34" charset="-78"/>
              </a:rPr>
              <a:t>s scale as a components part suppliers makes it difficult to fully decouple.</a:t>
            </a:r>
            <a:endParaRPr lang="en-GB" i="0" u="none" strike="noStrike">
              <a:effectLst/>
            </a:endParaRPr>
          </a:p>
          <a:p>
            <a:pPr fontAlgn="t">
              <a:spcBef>
                <a:spcPts val="0"/>
              </a:spcBef>
              <a:spcAft>
                <a:spcPts val="800"/>
              </a:spcAft>
            </a:pPr>
            <a:r>
              <a:rPr lang="en-GB" i="0" u="none" strike="noStrike">
                <a:effectLst/>
                <a:ea typeface="Meiryo" panose="020B0604030504040204" pitchFamily="34" charset="-128"/>
                <a:cs typeface="Dubai" panose="020B0503030403030204" pitchFamily="34" charset="-78"/>
              </a:rPr>
              <a:t>Geopolitical crisis would still be hugely inflationary for the rest of the world, especially the US.</a:t>
            </a:r>
            <a:endParaRPr lang="en-GB" sz="1600" b="0" i="0" u="none" strike="noStrike">
              <a:effectLst/>
              <a:latin typeface="Arial" panose="020B0604020202020204" pitchFamily="34" charset="0"/>
            </a:endParaRPr>
          </a:p>
        </p:txBody>
      </p:sp>
      <p:sp>
        <p:nvSpPr>
          <p:cNvPr id="33" name="Rectangle 32">
            <a:extLst>
              <a:ext uri="{FF2B5EF4-FFF2-40B4-BE49-F238E27FC236}">
                <a16:creationId xmlns:a16="http://schemas.microsoft.com/office/drawing/2014/main" id="{3262CD27-59C1-CCDA-4CBA-115D26343FA1}"/>
              </a:ext>
            </a:extLst>
          </p:cNvPr>
          <p:cNvSpPr/>
          <p:nvPr/>
        </p:nvSpPr>
        <p:spPr>
          <a:xfrm>
            <a:off x="9713777" y="2051506"/>
            <a:ext cx="2021022" cy="3797896"/>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marL="0" lvl="0" indent="0" algn="ctr">
              <a:spcAft>
                <a:spcPts val="800"/>
              </a:spcAft>
              <a:buFont typeface="Arial" panose="020B0604020202020204" pitchFamily="34" charset="0"/>
              <a:buNone/>
            </a:pPr>
            <a:endParaRPr lang="en-GB" sz="2800" b="1">
              <a:solidFill>
                <a:srgbClr val="009DE0"/>
              </a:solidFill>
              <a:latin typeface="+mj-lt"/>
              <a:ea typeface="Meiryo" panose="020B0604030504040204" pitchFamily="34" charset="-128"/>
              <a:cs typeface="Dubai" panose="020B0503030403030204" pitchFamily="34" charset="-78"/>
            </a:endParaRPr>
          </a:p>
          <a:p>
            <a:pPr marL="0" lvl="0" indent="0" algn="ctr">
              <a:spcAft>
                <a:spcPts val="800"/>
              </a:spcAft>
              <a:buFont typeface="Arial" panose="020B0604020202020204" pitchFamily="34" charset="0"/>
              <a:buNone/>
            </a:pPr>
            <a:r>
              <a:rPr lang="en-GB" sz="2800" b="1">
                <a:solidFill>
                  <a:srgbClr val="009DE0"/>
                </a:solidFill>
                <a:latin typeface="+mj-lt"/>
                <a:ea typeface="Meiryo" panose="020B0604030504040204" pitchFamily="34" charset="-128"/>
                <a:cs typeface="Dubai" panose="020B0503030403030204" pitchFamily="34" charset="-78"/>
              </a:rPr>
              <a:t>+$30 </a:t>
            </a:r>
            <a:r>
              <a:rPr lang="en-GB" b="1">
                <a:solidFill>
                  <a:srgbClr val="009DE0"/>
                </a:solidFill>
                <a:latin typeface="+mj-lt"/>
                <a:ea typeface="Meiryo" panose="020B0604030504040204" pitchFamily="34" charset="-128"/>
                <a:cs typeface="Dubai" panose="020B0503030403030204" pitchFamily="34" charset="-78"/>
              </a:rPr>
              <a:t>bn*</a:t>
            </a:r>
            <a:endParaRPr lang="en-GB" sz="1600" b="1">
              <a:solidFill>
                <a:srgbClr val="009DE0"/>
              </a:solidFill>
              <a:latin typeface="+mj-lt"/>
              <a:ea typeface="Meiryo" panose="020B0604030504040204" pitchFamily="34" charset="-128"/>
              <a:cs typeface="Dubai" panose="020B0503030403030204" pitchFamily="34" charset="-78"/>
            </a:endParaRPr>
          </a:p>
          <a:p>
            <a:pPr marL="0" lvl="0" indent="0" algn="ctr">
              <a:spcAft>
                <a:spcPts val="800"/>
              </a:spcAft>
              <a:buFont typeface="Arial" panose="020B0604020202020204" pitchFamily="34" charset="0"/>
              <a:buNone/>
            </a:pPr>
            <a:r>
              <a:rPr lang="en-GB" sz="1400" b="1">
                <a:solidFill>
                  <a:schemeClr val="tx1"/>
                </a:solidFill>
                <a:latin typeface="+mj-lt"/>
                <a:ea typeface="Meiryo" panose="020B0604030504040204" pitchFamily="34" charset="-128"/>
                <a:cs typeface="Dubai" panose="020B0503030403030204" pitchFamily="34" charset="-78"/>
              </a:rPr>
              <a:t>Past 5 years</a:t>
            </a:r>
          </a:p>
          <a:p>
            <a:pPr marL="0" lvl="0" indent="0" algn="ctr">
              <a:spcAft>
                <a:spcPts val="800"/>
              </a:spcAft>
              <a:buFont typeface="Arial" panose="020B0604020202020204" pitchFamily="34" charset="0"/>
              <a:buNone/>
            </a:pPr>
            <a:r>
              <a:rPr lang="en-GB" sz="1400">
                <a:solidFill>
                  <a:schemeClr val="tx1"/>
                </a:solidFill>
                <a:latin typeface="Calibri" panose="020F0502020204030204" pitchFamily="34" charset="0"/>
                <a:ea typeface="Meiryo" panose="020B0604030504040204" pitchFamily="34" charset="-128"/>
                <a:cs typeface="Dubai" panose="020B0503030403030204" pitchFamily="34" charset="-78"/>
              </a:rPr>
              <a:t>Increase in China’s exports of component parts to countries, such as Mexico, for export production</a:t>
            </a:r>
            <a:endParaRPr lang="en-GB" sz="1400">
              <a:solidFill>
                <a:schemeClr val="tx1"/>
              </a:solidFill>
              <a:effectLst/>
              <a:latin typeface="Calibri" panose="020F0502020204030204" pitchFamily="34" charset="0"/>
              <a:ea typeface="Meiryo" panose="020B0604030504040204" pitchFamily="34" charset="-128"/>
              <a:cs typeface="Dubai" panose="020B0503030403030204" pitchFamily="34" charset="-78"/>
            </a:endParaRPr>
          </a:p>
        </p:txBody>
      </p:sp>
      <p:pic>
        <p:nvPicPr>
          <p:cNvPr id="34" name="ico-cpu">
            <a:extLst>
              <a:ext uri="{FF2B5EF4-FFF2-40B4-BE49-F238E27FC236}">
                <a16:creationId xmlns:a16="http://schemas.microsoft.com/office/drawing/2014/main" id="{DAA8E34F-AB1C-AD31-F23F-5E2AEE4AA4F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911005" y="5146185"/>
            <a:ext cx="313323" cy="313323"/>
          </a:xfrm>
          <a:prstGeom prst="rect">
            <a:avLst/>
          </a:prstGeom>
        </p:spPr>
      </p:pic>
      <p:pic>
        <p:nvPicPr>
          <p:cNvPr id="36" name="ico-button">
            <a:extLst>
              <a:ext uri="{FF2B5EF4-FFF2-40B4-BE49-F238E27FC236}">
                <a16:creationId xmlns:a16="http://schemas.microsoft.com/office/drawing/2014/main" id="{3D774E07-7DDC-3899-2D1A-51BB8088ADF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764444" y="5136340"/>
            <a:ext cx="313322" cy="313322"/>
          </a:xfrm>
          <a:prstGeom prst="rect">
            <a:avLst/>
          </a:prstGeom>
        </p:spPr>
      </p:pic>
      <p:pic>
        <p:nvPicPr>
          <p:cNvPr id="37" name="ico-battery-level">
            <a:extLst>
              <a:ext uri="{FF2B5EF4-FFF2-40B4-BE49-F238E27FC236}">
                <a16:creationId xmlns:a16="http://schemas.microsoft.com/office/drawing/2014/main" id="{29A4688F-C689-B594-7528-D7A482AB8B13}"/>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319408" y="5115500"/>
            <a:ext cx="344008" cy="344008"/>
          </a:xfrm>
          <a:prstGeom prst="rect">
            <a:avLst/>
          </a:prstGeom>
        </p:spPr>
      </p:pic>
      <p:pic>
        <p:nvPicPr>
          <p:cNvPr id="38" name="ico-textile">
            <a:extLst>
              <a:ext uri="{FF2B5EF4-FFF2-40B4-BE49-F238E27FC236}">
                <a16:creationId xmlns:a16="http://schemas.microsoft.com/office/drawing/2014/main" id="{31BC07F7-BDD2-1C53-B8B5-E67C24E1FFA9}"/>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234278" y="5136340"/>
            <a:ext cx="344008" cy="344008"/>
          </a:xfrm>
          <a:prstGeom prst="rect">
            <a:avLst/>
          </a:prstGeom>
        </p:spPr>
      </p:pic>
      <p:sp>
        <p:nvSpPr>
          <p:cNvPr id="9" name="Ghost">
            <a:extLst>
              <a:ext uri="{FF2B5EF4-FFF2-40B4-BE49-F238E27FC236}">
                <a16:creationId xmlns:a16="http://schemas.microsoft.com/office/drawing/2014/main" id="{02C30FF6-579E-02C4-4972-E3D6E74958B1}"/>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943048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9EA25E-AA3E-43CD-B6E5-796A0F3F39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F69EA25E-AA3E-43CD-B6E5-796A0F3F39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7EBBED0-85DC-416D-9797-05551D14E81B}"/>
              </a:ext>
            </a:extLst>
          </p:cNvPr>
          <p:cNvSpPr>
            <a:spLocks noGrp="1"/>
          </p:cNvSpPr>
          <p:nvPr>
            <p:ph type="title"/>
          </p:nvPr>
        </p:nvSpPr>
        <p:spPr/>
        <p:txBody>
          <a:bodyPr vert="horz"/>
          <a:lstStyle/>
          <a:p>
            <a:r>
              <a:rPr lang="en-GB">
                <a:solidFill>
                  <a:srgbClr val="009DE0"/>
                </a:solidFill>
              </a:rPr>
              <a:t>Supply chain: </a:t>
            </a:r>
            <a:r>
              <a:rPr lang="en-GB"/>
              <a:t>Vietnam has captured the large share of production leaving </a:t>
            </a:r>
            <a:r>
              <a:rPr lang="en-GB" err="1"/>
              <a:t>china</a:t>
            </a:r>
            <a:r>
              <a:rPr lang="en-GB"/>
              <a:t>. And then, only in select sectors</a:t>
            </a:r>
          </a:p>
        </p:txBody>
      </p:sp>
      <p:sp>
        <p:nvSpPr>
          <p:cNvPr id="2" name="Text Placeholder 1">
            <a:extLst>
              <a:ext uri="{FF2B5EF4-FFF2-40B4-BE49-F238E27FC236}">
                <a16:creationId xmlns:a16="http://schemas.microsoft.com/office/drawing/2014/main" id="{1A67413B-9BFC-4D0E-9FD0-17D7E263C1DA}"/>
              </a:ext>
            </a:extLst>
          </p:cNvPr>
          <p:cNvSpPr>
            <a:spLocks noGrp="1"/>
          </p:cNvSpPr>
          <p:nvPr>
            <p:ph type="body" idx="10"/>
          </p:nvPr>
        </p:nvSpPr>
        <p:spPr/>
        <p:txBody>
          <a:bodyPr/>
          <a:lstStyle/>
          <a:p>
            <a:r>
              <a:rPr lang="en-GB"/>
              <a:t>Global export market share for China +1 countries</a:t>
            </a:r>
          </a:p>
          <a:p>
            <a:r>
              <a:rPr lang="en-GB" sz="1200" b="0"/>
              <a:t>Percentage share</a:t>
            </a:r>
          </a:p>
        </p:txBody>
      </p:sp>
      <p:sp>
        <p:nvSpPr>
          <p:cNvPr id="3" name="Text Placeholder 2">
            <a:extLst>
              <a:ext uri="{FF2B5EF4-FFF2-40B4-BE49-F238E27FC236}">
                <a16:creationId xmlns:a16="http://schemas.microsoft.com/office/drawing/2014/main" id="{AE827ECE-197C-4DC7-A981-8A00CF1EBE99}"/>
              </a:ext>
            </a:extLst>
          </p:cNvPr>
          <p:cNvSpPr>
            <a:spLocks noGrp="1"/>
          </p:cNvSpPr>
          <p:nvPr>
            <p:ph type="body" sz="quarter" idx="13"/>
          </p:nvPr>
        </p:nvSpPr>
        <p:spPr/>
        <p:txBody>
          <a:bodyPr/>
          <a:lstStyle/>
          <a:p>
            <a:pPr>
              <a:buNone/>
            </a:pPr>
            <a:r>
              <a:rPr lang="en-GB"/>
              <a:t>Change in import share by UK, Japan, Germany, and Australia between </a:t>
            </a:r>
            <a:r>
              <a:rPr lang="en-GB" sz="1200" b="0"/>
              <a:t>Percentage change in share 2019-2021</a:t>
            </a:r>
            <a:endParaRPr lang="en-GB" b="0"/>
          </a:p>
          <a:p>
            <a:endParaRPr lang="en-GB"/>
          </a:p>
        </p:txBody>
      </p:sp>
      <p:graphicFrame>
        <p:nvGraphicFramePr>
          <p:cNvPr id="20" name="Chart 19">
            <a:extLst>
              <a:ext uri="{FF2B5EF4-FFF2-40B4-BE49-F238E27FC236}">
                <a16:creationId xmlns:a16="http://schemas.microsoft.com/office/drawing/2014/main" id="{EF654B01-1AD8-4A1C-AD2F-D9D73205427A}"/>
              </a:ext>
            </a:extLst>
          </p:cNvPr>
          <p:cNvGraphicFramePr>
            <a:graphicFrameLocks/>
          </p:cNvGraphicFramePr>
          <p:nvPr/>
        </p:nvGraphicFramePr>
        <p:xfrm>
          <a:off x="457199" y="2325757"/>
          <a:ext cx="4944717" cy="400956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Table 4">
            <a:extLst>
              <a:ext uri="{FF2B5EF4-FFF2-40B4-BE49-F238E27FC236}">
                <a16:creationId xmlns:a16="http://schemas.microsoft.com/office/drawing/2014/main" id="{278C9419-D553-D5BC-8643-6EA892774C7F}"/>
              </a:ext>
            </a:extLst>
          </p:cNvPr>
          <p:cNvGraphicFramePr>
            <a:graphicFrameLocks noGrp="1"/>
          </p:cNvGraphicFramePr>
          <p:nvPr>
            <p:extLst>
              <p:ext uri="{D42A27DB-BD31-4B8C-83A1-F6EECF244321}">
                <p14:modId xmlns:p14="http://schemas.microsoft.com/office/powerpoint/2010/main" val="1075787583"/>
              </p:ext>
            </p:extLst>
          </p:nvPr>
        </p:nvGraphicFramePr>
        <p:xfrm>
          <a:off x="6433728" y="2084832"/>
          <a:ext cx="5184000" cy="3719507"/>
        </p:xfrm>
        <a:graphic>
          <a:graphicData uri="http://schemas.openxmlformats.org/drawingml/2006/table">
            <a:tbl>
              <a:tblPr/>
              <a:tblGrid>
                <a:gridCol w="1908000">
                  <a:extLst>
                    <a:ext uri="{9D8B030D-6E8A-4147-A177-3AD203B41FA5}">
                      <a16:colId xmlns:a16="http://schemas.microsoft.com/office/drawing/2014/main" val="2633178118"/>
                    </a:ext>
                  </a:extLst>
                </a:gridCol>
                <a:gridCol w="468000">
                  <a:extLst>
                    <a:ext uri="{9D8B030D-6E8A-4147-A177-3AD203B41FA5}">
                      <a16:colId xmlns:a16="http://schemas.microsoft.com/office/drawing/2014/main" val="3353617297"/>
                    </a:ext>
                  </a:extLst>
                </a:gridCol>
                <a:gridCol w="468000">
                  <a:extLst>
                    <a:ext uri="{9D8B030D-6E8A-4147-A177-3AD203B41FA5}">
                      <a16:colId xmlns:a16="http://schemas.microsoft.com/office/drawing/2014/main" val="3970270661"/>
                    </a:ext>
                  </a:extLst>
                </a:gridCol>
                <a:gridCol w="468000">
                  <a:extLst>
                    <a:ext uri="{9D8B030D-6E8A-4147-A177-3AD203B41FA5}">
                      <a16:colId xmlns:a16="http://schemas.microsoft.com/office/drawing/2014/main" val="2966470843"/>
                    </a:ext>
                  </a:extLst>
                </a:gridCol>
                <a:gridCol w="468000">
                  <a:extLst>
                    <a:ext uri="{9D8B030D-6E8A-4147-A177-3AD203B41FA5}">
                      <a16:colId xmlns:a16="http://schemas.microsoft.com/office/drawing/2014/main" val="432017766"/>
                    </a:ext>
                  </a:extLst>
                </a:gridCol>
                <a:gridCol w="468000">
                  <a:extLst>
                    <a:ext uri="{9D8B030D-6E8A-4147-A177-3AD203B41FA5}">
                      <a16:colId xmlns:a16="http://schemas.microsoft.com/office/drawing/2014/main" val="1959761887"/>
                    </a:ext>
                  </a:extLst>
                </a:gridCol>
                <a:gridCol w="468000">
                  <a:extLst>
                    <a:ext uri="{9D8B030D-6E8A-4147-A177-3AD203B41FA5}">
                      <a16:colId xmlns:a16="http://schemas.microsoft.com/office/drawing/2014/main" val="1939007975"/>
                    </a:ext>
                  </a:extLst>
                </a:gridCol>
                <a:gridCol w="468000">
                  <a:extLst>
                    <a:ext uri="{9D8B030D-6E8A-4147-A177-3AD203B41FA5}">
                      <a16:colId xmlns:a16="http://schemas.microsoft.com/office/drawing/2014/main" val="3936851178"/>
                    </a:ext>
                  </a:extLst>
                </a:gridCol>
              </a:tblGrid>
              <a:tr h="1152000">
                <a:tc>
                  <a:txBody>
                    <a:bodyPr/>
                    <a:lstStyle/>
                    <a:p>
                      <a:pPr lvl="1" algn="l" fontAlgn="b"/>
                      <a:endParaRPr lang="en-GB" sz="1200" b="0" i="0" u="none" strike="noStrike">
                        <a:solidFill>
                          <a:srgbClr val="000000"/>
                        </a:solidFill>
                        <a:effectLst/>
                        <a:latin typeface="Calibri" panose="020F0502020204030204" pitchFamily="34" charset="0"/>
                      </a:endParaRPr>
                    </a:p>
                  </a:txBody>
                  <a:tcPr marL="4763" marR="4763" marT="4763" marB="0" anchor="ctr">
                    <a:lnL>
                      <a:noFill/>
                    </a:lnL>
                    <a:lnR>
                      <a:noFill/>
                    </a:lnR>
                    <a:lnT>
                      <a:noFill/>
                    </a:lnT>
                    <a:lnB>
                      <a:noFill/>
                    </a:lnB>
                    <a:noFill/>
                  </a:tcPr>
                </a:tc>
                <a:tc>
                  <a:txBody>
                    <a:bodyPr/>
                    <a:lstStyle/>
                    <a:p>
                      <a:pPr lvl="2" algn="l" fontAlgn="b"/>
                      <a:r>
                        <a:rPr lang="en-GB" sz="1200" b="0" i="0" u="none" strike="noStrike">
                          <a:solidFill>
                            <a:srgbClr val="000000"/>
                          </a:solidFill>
                          <a:effectLst/>
                          <a:latin typeface="Calibri" panose="020F0502020204030204" pitchFamily="34" charset="0"/>
                        </a:rPr>
                        <a:t>China</a:t>
                      </a:r>
                    </a:p>
                  </a:txBody>
                  <a:tcPr marL="4763" marR="4763" marT="72000" marB="72000" vert="vert270" anchor="ctr">
                    <a:lnL>
                      <a:noFill/>
                    </a:lnL>
                    <a:lnR>
                      <a:noFill/>
                    </a:lnR>
                    <a:lnT>
                      <a:noFill/>
                    </a:lnT>
                    <a:lnB>
                      <a:noFill/>
                    </a:lnB>
                    <a:noFill/>
                  </a:tcPr>
                </a:tc>
                <a:tc>
                  <a:txBody>
                    <a:bodyPr/>
                    <a:lstStyle/>
                    <a:p>
                      <a:pPr lvl="2" algn="l" fontAlgn="b"/>
                      <a:r>
                        <a:rPr lang="en-GB" sz="1200" b="0" i="0" u="none" strike="noStrike">
                          <a:solidFill>
                            <a:srgbClr val="000000"/>
                          </a:solidFill>
                          <a:effectLst/>
                          <a:latin typeface="Calibri" panose="020F0502020204030204" pitchFamily="34" charset="0"/>
                        </a:rPr>
                        <a:t>Vietnam</a:t>
                      </a:r>
                    </a:p>
                  </a:txBody>
                  <a:tcPr marL="4763" marR="4763" marT="72000" marB="72000" vert="vert270" anchor="ctr">
                    <a:lnL>
                      <a:noFill/>
                    </a:lnL>
                    <a:lnR>
                      <a:noFill/>
                    </a:lnR>
                    <a:lnT>
                      <a:noFill/>
                    </a:lnT>
                    <a:lnB>
                      <a:noFill/>
                    </a:lnB>
                    <a:noFill/>
                  </a:tcPr>
                </a:tc>
                <a:tc>
                  <a:txBody>
                    <a:bodyPr/>
                    <a:lstStyle/>
                    <a:p>
                      <a:pPr lvl="2" algn="l" fontAlgn="b"/>
                      <a:r>
                        <a:rPr lang="en-GB" sz="1200" b="0" i="0" u="none" strike="noStrike">
                          <a:solidFill>
                            <a:srgbClr val="000000"/>
                          </a:solidFill>
                          <a:effectLst/>
                          <a:latin typeface="Calibri" panose="020F0502020204030204" pitchFamily="34" charset="0"/>
                        </a:rPr>
                        <a:t>India</a:t>
                      </a:r>
                    </a:p>
                  </a:txBody>
                  <a:tcPr marL="4763" marR="4763" marT="72000" marB="72000" vert="vert270" anchor="ctr">
                    <a:lnL>
                      <a:noFill/>
                    </a:lnL>
                    <a:lnR>
                      <a:noFill/>
                    </a:lnR>
                    <a:lnT>
                      <a:noFill/>
                    </a:lnT>
                    <a:lnB>
                      <a:noFill/>
                    </a:lnB>
                    <a:noFill/>
                  </a:tcPr>
                </a:tc>
                <a:tc>
                  <a:txBody>
                    <a:bodyPr/>
                    <a:lstStyle/>
                    <a:p>
                      <a:pPr lvl="2" algn="l" fontAlgn="b"/>
                      <a:r>
                        <a:rPr lang="en-GB" sz="1200" b="0" i="0" u="none" strike="noStrike">
                          <a:solidFill>
                            <a:srgbClr val="000000"/>
                          </a:solidFill>
                          <a:effectLst/>
                          <a:latin typeface="Calibri" panose="020F0502020204030204" pitchFamily="34" charset="0"/>
                        </a:rPr>
                        <a:t>Indonesia</a:t>
                      </a:r>
                    </a:p>
                  </a:txBody>
                  <a:tcPr marL="4763" marR="4763" marT="72000" marB="72000" vert="vert270" anchor="ctr">
                    <a:lnL>
                      <a:noFill/>
                    </a:lnL>
                    <a:lnR>
                      <a:noFill/>
                    </a:lnR>
                    <a:lnT>
                      <a:noFill/>
                    </a:lnT>
                    <a:lnB>
                      <a:noFill/>
                    </a:lnB>
                    <a:noFill/>
                  </a:tcPr>
                </a:tc>
                <a:tc>
                  <a:txBody>
                    <a:bodyPr/>
                    <a:lstStyle/>
                    <a:p>
                      <a:pPr lvl="2" algn="l" fontAlgn="b"/>
                      <a:r>
                        <a:rPr lang="en-GB" sz="1200" b="0" i="0" u="none" strike="noStrike">
                          <a:solidFill>
                            <a:srgbClr val="000000"/>
                          </a:solidFill>
                          <a:effectLst/>
                          <a:latin typeface="Calibri" panose="020F0502020204030204" pitchFamily="34" charset="0"/>
                        </a:rPr>
                        <a:t>Malaysia</a:t>
                      </a:r>
                    </a:p>
                  </a:txBody>
                  <a:tcPr marL="4763" marR="4763" marT="72000" marB="72000" vert="vert270" anchor="ctr">
                    <a:lnL>
                      <a:noFill/>
                    </a:lnL>
                    <a:lnR>
                      <a:noFill/>
                    </a:lnR>
                    <a:lnT>
                      <a:noFill/>
                    </a:lnT>
                    <a:lnB>
                      <a:noFill/>
                    </a:lnB>
                    <a:noFill/>
                  </a:tcPr>
                </a:tc>
                <a:tc>
                  <a:txBody>
                    <a:bodyPr/>
                    <a:lstStyle/>
                    <a:p>
                      <a:pPr lvl="2" algn="l" fontAlgn="b"/>
                      <a:r>
                        <a:rPr lang="en-GB" sz="1200" b="0" i="0" u="none" strike="noStrike">
                          <a:solidFill>
                            <a:srgbClr val="000000"/>
                          </a:solidFill>
                          <a:effectLst/>
                          <a:latin typeface="Calibri" panose="020F0502020204030204" pitchFamily="34" charset="0"/>
                        </a:rPr>
                        <a:t>Mexico</a:t>
                      </a:r>
                    </a:p>
                  </a:txBody>
                  <a:tcPr marL="4763" marR="4763" marT="72000" marB="72000" vert="vert270" anchor="ctr">
                    <a:lnL>
                      <a:noFill/>
                    </a:lnL>
                    <a:lnR>
                      <a:noFill/>
                    </a:lnR>
                    <a:lnT>
                      <a:noFill/>
                    </a:lnT>
                    <a:lnB>
                      <a:noFill/>
                    </a:lnB>
                    <a:noFill/>
                  </a:tcPr>
                </a:tc>
                <a:tc>
                  <a:txBody>
                    <a:bodyPr/>
                    <a:lstStyle/>
                    <a:p>
                      <a:pPr lvl="2" algn="l" fontAlgn="b"/>
                      <a:r>
                        <a:rPr lang="en-GB" sz="1200" b="0" i="0" u="none" strike="noStrike">
                          <a:solidFill>
                            <a:srgbClr val="000000"/>
                          </a:solidFill>
                          <a:effectLst/>
                          <a:latin typeface="Calibri" panose="020F0502020204030204" pitchFamily="34" charset="0"/>
                        </a:rPr>
                        <a:t>Thailand</a:t>
                      </a:r>
                    </a:p>
                  </a:txBody>
                  <a:tcPr marL="4763" marR="4763" marT="72000" marB="72000" vert="vert270" anchor="ctr">
                    <a:lnL>
                      <a:noFill/>
                    </a:lnL>
                    <a:lnR>
                      <a:noFill/>
                    </a:lnR>
                    <a:lnT>
                      <a:noFill/>
                    </a:lnT>
                    <a:lnB>
                      <a:noFill/>
                    </a:lnB>
                    <a:noFill/>
                  </a:tcPr>
                </a:tc>
                <a:extLst>
                  <a:ext uri="{0D108BD9-81ED-4DB2-BD59-A6C34878D82A}">
                    <a16:rowId xmlns:a16="http://schemas.microsoft.com/office/drawing/2014/main" val="3774534493"/>
                  </a:ext>
                </a:extLst>
              </a:tr>
              <a:tr h="247307">
                <a:tc>
                  <a:txBody>
                    <a:bodyPr/>
                    <a:lstStyle/>
                    <a:p>
                      <a:pPr algn="l" fontAlgn="b"/>
                      <a:r>
                        <a:rPr lang="en-GB" sz="1200" b="0" i="0" u="none" strike="noStrike">
                          <a:solidFill>
                            <a:srgbClr val="000000"/>
                          </a:solidFill>
                          <a:effectLst/>
                          <a:latin typeface="Calibri" panose="020F0502020204030204" pitchFamily="34" charset="0"/>
                        </a:rPr>
                        <a:t>Clothing</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5%</a:t>
                      </a:r>
                    </a:p>
                  </a:txBody>
                  <a:tcPr marL="45720" marR="45720" marT="36000" marB="36000" anchor="ctr">
                    <a:lnL>
                      <a:noFill/>
                    </a:lnL>
                    <a:lnR>
                      <a:noFill/>
                    </a:lnR>
                    <a:lnT>
                      <a:noFill/>
                    </a:lnT>
                    <a:lnB>
                      <a:noFill/>
                    </a:lnB>
                    <a:solidFill>
                      <a:srgbClr val="F8696B"/>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EAE583"/>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6E984"/>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DEB84"/>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2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2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482"/>
                    </a:solidFill>
                  </a:tcPr>
                </a:tc>
                <a:extLst>
                  <a:ext uri="{0D108BD9-81ED-4DB2-BD59-A6C34878D82A}">
                    <a16:rowId xmlns:a16="http://schemas.microsoft.com/office/drawing/2014/main" val="393338015"/>
                  </a:ext>
                </a:extLst>
              </a:tr>
              <a:tr h="216000">
                <a:tc>
                  <a:txBody>
                    <a:bodyPr/>
                    <a:lstStyle/>
                    <a:p>
                      <a:pPr algn="l" fontAlgn="b"/>
                      <a:r>
                        <a:rPr lang="en-GB" sz="1200" b="0" i="0" u="none" strike="noStrike">
                          <a:solidFill>
                            <a:srgbClr val="000000"/>
                          </a:solidFill>
                          <a:effectLst/>
                          <a:latin typeface="Calibri" panose="020F0502020204030204" pitchFamily="34" charset="0"/>
                        </a:rPr>
                        <a:t>Communication equipment</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4%</a:t>
                      </a:r>
                    </a:p>
                  </a:txBody>
                  <a:tcPr marL="45720" marR="45720" marT="36000" marB="36000" anchor="ctr">
                    <a:lnL>
                      <a:noFill/>
                    </a:lnL>
                    <a:lnR>
                      <a:noFill/>
                    </a:lnR>
                    <a:lnT>
                      <a:noFill/>
                    </a:lnT>
                    <a:lnB>
                      <a:noFill/>
                    </a:lnB>
                    <a:solidFill>
                      <a:srgbClr val="F8796E"/>
                    </a:solidFill>
                  </a:tcPr>
                </a:tc>
                <a:tc>
                  <a:txBody>
                    <a:bodyPr/>
                    <a:lstStyle/>
                    <a:p>
                      <a:pPr algn="ctr" fontAlgn="b"/>
                      <a:r>
                        <a:rPr lang="en-GB" sz="1050" b="0" i="0" u="none" strike="noStrike">
                          <a:solidFill>
                            <a:srgbClr val="000000"/>
                          </a:solidFill>
                          <a:effectLst/>
                          <a:latin typeface="Calibri" panose="020F0502020204030204" pitchFamily="34" charset="0"/>
                        </a:rPr>
                        <a:t>4%</a:t>
                      </a:r>
                    </a:p>
                  </a:txBody>
                  <a:tcPr marL="45720" marR="45720" marT="36000" marB="36000" anchor="ctr">
                    <a:lnL>
                      <a:noFill/>
                    </a:lnL>
                    <a:lnR>
                      <a:noFill/>
                    </a:lnR>
                    <a:lnT>
                      <a:noFill/>
                    </a:lnT>
                    <a:lnB>
                      <a:noFill/>
                    </a:lnB>
                    <a:solidFill>
                      <a:srgbClr val="B6D680"/>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E8E5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B8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8E984"/>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783"/>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4E884"/>
                    </a:solidFill>
                  </a:tcPr>
                </a:tc>
                <a:extLst>
                  <a:ext uri="{0D108BD9-81ED-4DB2-BD59-A6C34878D82A}">
                    <a16:rowId xmlns:a16="http://schemas.microsoft.com/office/drawing/2014/main" val="4270830037"/>
                  </a:ext>
                </a:extLst>
              </a:tr>
              <a:tr h="216000">
                <a:tc>
                  <a:txBody>
                    <a:bodyPr/>
                    <a:lstStyle/>
                    <a:p>
                      <a:pPr algn="l" fontAlgn="b"/>
                      <a:r>
                        <a:rPr lang="en-GB" sz="1200" b="0" i="0" u="none" strike="noStrike">
                          <a:solidFill>
                            <a:srgbClr val="000000"/>
                          </a:solidFill>
                          <a:effectLst/>
                          <a:latin typeface="Calibri" panose="020F0502020204030204" pitchFamily="34" charset="0"/>
                        </a:rPr>
                        <a:t>Leather &amp; related products</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4%</a:t>
                      </a:r>
                    </a:p>
                  </a:txBody>
                  <a:tcPr marL="45720" marR="45720" marT="36000" marB="36000" anchor="ctr">
                    <a:lnL>
                      <a:noFill/>
                    </a:lnL>
                    <a:lnR>
                      <a:noFill/>
                    </a:lnR>
                    <a:lnT>
                      <a:noFill/>
                    </a:lnT>
                    <a:lnB>
                      <a:noFill/>
                    </a:lnB>
                    <a:solidFill>
                      <a:srgbClr val="F98370"/>
                    </a:solidFill>
                  </a:tcPr>
                </a:tc>
                <a:tc>
                  <a:txBody>
                    <a:bodyPr/>
                    <a:lstStyle/>
                    <a:p>
                      <a:pPr algn="ctr" fontAlgn="b"/>
                      <a:r>
                        <a:rPr lang="en-GB" sz="1050" b="0" i="0" u="none" strike="noStrike">
                          <a:solidFill>
                            <a:srgbClr val="000000"/>
                          </a:solidFill>
                          <a:effectLst/>
                          <a:latin typeface="Calibri" panose="020F0502020204030204" pitchFamily="34" charset="0"/>
                        </a:rPr>
                        <a:t>4%</a:t>
                      </a:r>
                    </a:p>
                  </a:txBody>
                  <a:tcPr marL="45720" marR="45720" marT="36000" marB="36000" anchor="ctr">
                    <a:lnL>
                      <a:noFill/>
                    </a:lnL>
                    <a:lnR>
                      <a:noFill/>
                    </a:lnR>
                    <a:lnT>
                      <a:noFill/>
                    </a:lnT>
                    <a:lnB>
                      <a:noFill/>
                    </a:lnB>
                    <a:solidFill>
                      <a:srgbClr val="B5D680"/>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FEB84"/>
                    </a:solidFill>
                  </a:tcPr>
                </a:tc>
                <a:tc>
                  <a:txBody>
                    <a:bodyPr/>
                    <a:lstStyle/>
                    <a:p>
                      <a:pPr algn="ctr" fontAlgn="b"/>
                      <a:r>
                        <a:rPr lang="en-GB" sz="1050" b="0" i="0" u="none" strike="noStrike">
                          <a:solidFill>
                            <a:srgbClr val="000000"/>
                          </a:solidFill>
                          <a:effectLst/>
                          <a:latin typeface="Calibri" panose="020F0502020204030204" pitchFamily="34" charset="0"/>
                        </a:rPr>
                        <a:t>2%</a:t>
                      </a:r>
                    </a:p>
                  </a:txBody>
                  <a:tcPr marL="45720" marR="45720" marT="36000" marB="36000" anchor="ctr">
                    <a:lnL>
                      <a:noFill/>
                    </a:lnL>
                    <a:lnR>
                      <a:noFill/>
                    </a:lnR>
                    <a:lnT>
                      <a:noFill/>
                    </a:lnT>
                    <a:lnB>
                      <a:noFill/>
                    </a:lnB>
                    <a:solidFill>
                      <a:srgbClr val="DAE1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4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DEB84"/>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883"/>
                    </a:solidFill>
                  </a:tcPr>
                </a:tc>
                <a:extLst>
                  <a:ext uri="{0D108BD9-81ED-4DB2-BD59-A6C34878D82A}">
                    <a16:rowId xmlns:a16="http://schemas.microsoft.com/office/drawing/2014/main" val="2412782661"/>
                  </a:ext>
                </a:extLst>
              </a:tr>
              <a:tr h="216000">
                <a:tc>
                  <a:txBody>
                    <a:bodyPr/>
                    <a:lstStyle/>
                    <a:p>
                      <a:pPr algn="l" fontAlgn="b"/>
                      <a:r>
                        <a:rPr lang="en-GB" sz="1200" b="0" i="0" u="none" strike="noStrike">
                          <a:solidFill>
                            <a:srgbClr val="000000"/>
                          </a:solidFill>
                          <a:effectLst/>
                          <a:latin typeface="Calibri" panose="020F0502020204030204" pitchFamily="34" charset="0"/>
                        </a:rPr>
                        <a:t>Computers &amp; related</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3%</a:t>
                      </a:r>
                    </a:p>
                  </a:txBody>
                  <a:tcPr marL="45720" marR="45720" marT="36000" marB="36000" anchor="ctr">
                    <a:lnL>
                      <a:noFill/>
                    </a:lnL>
                    <a:lnR>
                      <a:noFill/>
                    </a:lnR>
                    <a:lnT>
                      <a:noFill/>
                    </a:lnT>
                    <a:lnB>
                      <a:noFill/>
                    </a:lnB>
                    <a:solidFill>
                      <a:srgbClr val="FA9072"/>
                    </a:solidFill>
                  </a:tcPr>
                </a:tc>
                <a:tc>
                  <a:txBody>
                    <a:bodyPr/>
                    <a:lstStyle/>
                    <a:p>
                      <a:pPr algn="ctr" fontAlgn="b"/>
                      <a:r>
                        <a:rPr lang="en-GB" sz="1050" b="0" i="0" u="none" strike="noStrike">
                          <a:solidFill>
                            <a:srgbClr val="000000"/>
                          </a:solidFill>
                          <a:effectLst/>
                          <a:latin typeface="Calibri" panose="020F0502020204030204" pitchFamily="34" charset="0"/>
                        </a:rPr>
                        <a:t>2%</a:t>
                      </a:r>
                    </a:p>
                  </a:txBody>
                  <a:tcPr marL="45720" marR="45720" marT="36000" marB="36000" anchor="ctr">
                    <a:lnL>
                      <a:noFill/>
                    </a:lnL>
                    <a:lnR>
                      <a:noFill/>
                    </a:lnR>
                    <a:lnT>
                      <a:noFill/>
                    </a:lnT>
                    <a:lnB>
                      <a:noFill/>
                    </a:lnB>
                    <a:solidFill>
                      <a:srgbClr val="D9E0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4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783"/>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9EA8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3E88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EDE683"/>
                    </a:solidFill>
                  </a:tcPr>
                </a:tc>
                <a:extLst>
                  <a:ext uri="{0D108BD9-81ED-4DB2-BD59-A6C34878D82A}">
                    <a16:rowId xmlns:a16="http://schemas.microsoft.com/office/drawing/2014/main" val="725361957"/>
                  </a:ext>
                </a:extLst>
              </a:tr>
              <a:tr h="216000">
                <a:tc>
                  <a:txBody>
                    <a:bodyPr/>
                    <a:lstStyle/>
                    <a:p>
                      <a:pPr algn="l" fontAlgn="b"/>
                      <a:r>
                        <a:rPr lang="en-GB" sz="1200" b="0" i="0" u="none" strike="noStrike">
                          <a:solidFill>
                            <a:srgbClr val="000000"/>
                          </a:solidFill>
                          <a:effectLst/>
                          <a:latin typeface="Calibri" panose="020F0502020204030204" pitchFamily="34" charset="0"/>
                        </a:rPr>
                        <a:t>Other manufactured goods</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3%</a:t>
                      </a:r>
                    </a:p>
                  </a:txBody>
                  <a:tcPr marL="45720" marR="45720" marT="36000" marB="36000" anchor="ctr">
                    <a:lnL>
                      <a:noFill/>
                    </a:lnL>
                    <a:lnR>
                      <a:noFill/>
                    </a:lnR>
                    <a:lnT>
                      <a:noFill/>
                    </a:lnT>
                    <a:lnB>
                      <a:noFill/>
                    </a:lnB>
                    <a:solidFill>
                      <a:srgbClr val="FA9B7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5E884"/>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DD880"/>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1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5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5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082"/>
                    </a:solidFill>
                  </a:tcPr>
                </a:tc>
                <a:extLst>
                  <a:ext uri="{0D108BD9-81ED-4DB2-BD59-A6C34878D82A}">
                    <a16:rowId xmlns:a16="http://schemas.microsoft.com/office/drawing/2014/main" val="3740202696"/>
                  </a:ext>
                </a:extLst>
              </a:tr>
              <a:tr h="216000">
                <a:tc>
                  <a:txBody>
                    <a:bodyPr/>
                    <a:lstStyle/>
                    <a:p>
                      <a:pPr algn="l" fontAlgn="b"/>
                      <a:r>
                        <a:rPr lang="en-GB" sz="1200" b="0" i="0" u="none" strike="noStrike">
                          <a:solidFill>
                            <a:srgbClr val="000000"/>
                          </a:solidFill>
                          <a:effectLst/>
                          <a:latin typeface="Calibri" panose="020F0502020204030204" pitchFamily="34" charset="0"/>
                        </a:rPr>
                        <a:t>Textiles</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DD17F"/>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5E884"/>
                    </a:solidFill>
                  </a:tcPr>
                </a:tc>
                <a:tc>
                  <a:txBody>
                    <a:bodyPr/>
                    <a:lstStyle/>
                    <a:p>
                      <a:pPr algn="ctr" fontAlgn="b"/>
                      <a:r>
                        <a:rPr lang="en-GB" sz="1050" b="0" i="0" u="none" strike="noStrike">
                          <a:solidFill>
                            <a:srgbClr val="000000"/>
                          </a:solidFill>
                          <a:effectLst/>
                          <a:latin typeface="Calibri" panose="020F0502020204030204" pitchFamily="34" charset="0"/>
                        </a:rPr>
                        <a:t>2%</a:t>
                      </a:r>
                    </a:p>
                  </a:txBody>
                  <a:tcPr marL="45720" marR="45720" marT="36000" marB="36000" anchor="ctr">
                    <a:lnL>
                      <a:noFill/>
                    </a:lnL>
                    <a:lnR>
                      <a:noFill/>
                    </a:lnR>
                    <a:lnT>
                      <a:noFill/>
                    </a:lnT>
                    <a:lnB>
                      <a:noFill/>
                    </a:lnB>
                    <a:solidFill>
                      <a:srgbClr val="E0E2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2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3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FEB84"/>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282"/>
                    </a:solidFill>
                  </a:tcPr>
                </a:tc>
                <a:extLst>
                  <a:ext uri="{0D108BD9-81ED-4DB2-BD59-A6C34878D82A}">
                    <a16:rowId xmlns:a16="http://schemas.microsoft.com/office/drawing/2014/main" val="3588974574"/>
                  </a:ext>
                </a:extLst>
              </a:tr>
              <a:tr h="216000">
                <a:tc>
                  <a:txBody>
                    <a:bodyPr/>
                    <a:lstStyle/>
                    <a:p>
                      <a:pPr algn="l" fontAlgn="b"/>
                      <a:r>
                        <a:rPr lang="en-GB" sz="1200" b="0" i="0" u="none" strike="noStrike">
                          <a:solidFill>
                            <a:srgbClr val="000000"/>
                          </a:solidFill>
                          <a:effectLst/>
                          <a:latin typeface="Calibri" panose="020F0502020204030204" pitchFamily="34" charset="0"/>
                        </a:rPr>
                        <a:t>Electrical equipment</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DD780"/>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EEE6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BEA8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BEA8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9EA84"/>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D980"/>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BEA84"/>
                    </a:solidFill>
                  </a:tcPr>
                </a:tc>
                <a:extLst>
                  <a:ext uri="{0D108BD9-81ED-4DB2-BD59-A6C34878D82A}">
                    <a16:rowId xmlns:a16="http://schemas.microsoft.com/office/drawing/2014/main" val="232179340"/>
                  </a:ext>
                </a:extLst>
              </a:tr>
              <a:tr h="216000">
                <a:tc>
                  <a:txBody>
                    <a:bodyPr/>
                    <a:lstStyle/>
                    <a:p>
                      <a:pPr algn="l" fontAlgn="b"/>
                      <a:r>
                        <a:rPr lang="en-GB" sz="1200" b="0" i="0" u="none" strike="noStrike">
                          <a:solidFill>
                            <a:srgbClr val="000000"/>
                          </a:solidFill>
                          <a:effectLst/>
                          <a:latin typeface="Calibri" panose="020F0502020204030204" pitchFamily="34" charset="0"/>
                        </a:rPr>
                        <a:t>Iron &amp; steel</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983"/>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5E98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EAE5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7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783"/>
                    </a:solidFill>
                  </a:tcPr>
                </a:tc>
                <a:tc>
                  <a:txBody>
                    <a:bodyPr/>
                    <a:lstStyle/>
                    <a:p>
                      <a:pPr algn="ctr" fontAlgn="b"/>
                      <a:r>
                        <a:rPr lang="en-GB" sz="1050" b="0" i="0" u="none" strike="noStrike">
                          <a:solidFill>
                            <a:srgbClr val="000000"/>
                          </a:solidFill>
                          <a:effectLst/>
                          <a:latin typeface="Calibri" panose="020F0502020204030204" pitchFamily="34" charset="0"/>
                        </a:rPr>
                        <a:t>2%</a:t>
                      </a:r>
                    </a:p>
                  </a:txBody>
                  <a:tcPr marL="45720" marR="45720" marT="36000" marB="36000" anchor="ctr">
                    <a:lnL>
                      <a:noFill/>
                    </a:lnL>
                    <a:lnR>
                      <a:noFill/>
                    </a:lnR>
                    <a:lnT>
                      <a:noFill/>
                    </a:lnT>
                    <a:lnB>
                      <a:noFill/>
                    </a:lnB>
                    <a:solidFill>
                      <a:srgbClr val="DFE2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382"/>
                    </a:solidFill>
                  </a:tcPr>
                </a:tc>
                <a:extLst>
                  <a:ext uri="{0D108BD9-81ED-4DB2-BD59-A6C34878D82A}">
                    <a16:rowId xmlns:a16="http://schemas.microsoft.com/office/drawing/2014/main" val="4189816047"/>
                  </a:ext>
                </a:extLst>
              </a:tr>
              <a:tr h="216000">
                <a:tc>
                  <a:txBody>
                    <a:bodyPr/>
                    <a:lstStyle/>
                    <a:p>
                      <a:pPr algn="l" fontAlgn="b"/>
                      <a:r>
                        <a:rPr lang="en-GB" sz="1200" b="0" i="0" u="none" strike="noStrike">
                          <a:solidFill>
                            <a:srgbClr val="000000"/>
                          </a:solidFill>
                          <a:effectLst/>
                          <a:latin typeface="Calibri" panose="020F0502020204030204" pitchFamily="34" charset="0"/>
                        </a:rPr>
                        <a:t>Machinery &amp; equipment</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E9E583"/>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5E88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BEA84"/>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5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CEB8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7E984"/>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CEA84"/>
                    </a:solidFill>
                  </a:tcPr>
                </a:tc>
                <a:extLst>
                  <a:ext uri="{0D108BD9-81ED-4DB2-BD59-A6C34878D82A}">
                    <a16:rowId xmlns:a16="http://schemas.microsoft.com/office/drawing/2014/main" val="858294807"/>
                  </a:ext>
                </a:extLst>
              </a:tr>
              <a:tr h="216000">
                <a:tc>
                  <a:txBody>
                    <a:bodyPr/>
                    <a:lstStyle/>
                    <a:p>
                      <a:pPr algn="l" fontAlgn="b"/>
                      <a:r>
                        <a:rPr lang="en-GB" sz="1200" b="0" i="0" u="none" strike="noStrike">
                          <a:solidFill>
                            <a:srgbClr val="000000"/>
                          </a:solidFill>
                          <a:effectLst/>
                          <a:latin typeface="Calibri" panose="020F0502020204030204" pitchFamily="34" charset="0"/>
                        </a:rPr>
                        <a:t>Consumer electronic</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2%</a:t>
                      </a:r>
                    </a:p>
                  </a:txBody>
                  <a:tcPr marL="45720" marR="45720" marT="36000" marB="36000" anchor="ctr">
                    <a:lnL>
                      <a:noFill/>
                    </a:lnL>
                    <a:lnR>
                      <a:noFill/>
                    </a:lnR>
                    <a:lnT>
                      <a:noFill/>
                    </a:lnT>
                    <a:lnB>
                      <a:noFill/>
                    </a:lnB>
                    <a:solidFill>
                      <a:srgbClr val="DBE182"/>
                    </a:solidFill>
                  </a:tcPr>
                </a:tc>
                <a:tc>
                  <a:txBody>
                    <a:bodyPr/>
                    <a:lstStyle/>
                    <a:p>
                      <a:pPr algn="ctr" fontAlgn="b"/>
                      <a:r>
                        <a:rPr lang="en-GB" sz="1050" b="0" i="0" u="none" strike="noStrike">
                          <a:solidFill>
                            <a:srgbClr val="000000"/>
                          </a:solidFill>
                          <a:effectLst/>
                          <a:latin typeface="Calibri" panose="020F0502020204030204" pitchFamily="34" charset="0"/>
                        </a:rPr>
                        <a:t>8%</a:t>
                      </a:r>
                    </a:p>
                  </a:txBody>
                  <a:tcPr marL="45720" marR="45720" marT="36000" marB="36000" anchor="ctr">
                    <a:lnL>
                      <a:noFill/>
                    </a:lnL>
                    <a:lnR>
                      <a:noFill/>
                    </a:lnR>
                    <a:lnT>
                      <a:noFill/>
                    </a:lnT>
                    <a:lnB>
                      <a:noFill/>
                    </a:lnB>
                    <a:solidFill>
                      <a:srgbClr val="63BE7B"/>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3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3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FEB84"/>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E7E483"/>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45720" marR="45720" marT="36000" marB="36000" anchor="ctr">
                    <a:lnL>
                      <a:noFill/>
                    </a:lnL>
                    <a:lnR>
                      <a:noFill/>
                    </a:lnR>
                    <a:lnT>
                      <a:noFill/>
                    </a:lnT>
                    <a:lnB>
                      <a:noFill/>
                    </a:lnB>
                    <a:solidFill>
                      <a:srgbClr val="FDC67D"/>
                    </a:solidFill>
                  </a:tcPr>
                </a:tc>
                <a:extLst>
                  <a:ext uri="{0D108BD9-81ED-4DB2-BD59-A6C34878D82A}">
                    <a16:rowId xmlns:a16="http://schemas.microsoft.com/office/drawing/2014/main" val="2958013121"/>
                  </a:ext>
                </a:extLst>
              </a:tr>
              <a:tr h="216000">
                <a:tc>
                  <a:txBody>
                    <a:bodyPr/>
                    <a:lstStyle/>
                    <a:p>
                      <a:pPr algn="l" fontAlgn="b"/>
                      <a:r>
                        <a:rPr lang="en-GB" sz="1200" b="0" i="0" u="none" strike="noStrike">
                          <a:solidFill>
                            <a:srgbClr val="000000"/>
                          </a:solidFill>
                          <a:effectLst/>
                          <a:latin typeface="Calibri" panose="020F0502020204030204" pitchFamily="34" charset="0"/>
                        </a:rPr>
                        <a:t>Motor vehicles</a:t>
                      </a:r>
                    </a:p>
                  </a:txBody>
                  <a:tcPr marL="45720" marR="45720" marT="0" marB="0" anchor="ctr">
                    <a:lnL>
                      <a:noFill/>
                    </a:lnL>
                    <a:lnR>
                      <a:noFill/>
                    </a:lnR>
                    <a:lnT>
                      <a:noFill/>
                    </a:lnT>
                    <a:lnB>
                      <a:noFill/>
                    </a:lnB>
                    <a:noFill/>
                  </a:tcPr>
                </a:tc>
                <a:tc>
                  <a:txBody>
                    <a:bodyPr/>
                    <a:lstStyle/>
                    <a:p>
                      <a:pPr algn="ctr" fontAlgn="b"/>
                      <a:r>
                        <a:rPr lang="en-GB" sz="1050" b="0" i="0" u="none" strike="noStrike">
                          <a:solidFill>
                            <a:srgbClr val="000000"/>
                          </a:solidFill>
                          <a:effectLst/>
                          <a:latin typeface="Calibri" panose="020F0502020204030204" pitchFamily="34" charset="0"/>
                        </a:rPr>
                        <a:t>2%</a:t>
                      </a:r>
                    </a:p>
                  </a:txBody>
                  <a:tcPr marL="45720" marR="45720" marT="36000" marB="36000" anchor="ctr">
                    <a:lnL>
                      <a:noFill/>
                    </a:lnL>
                    <a:lnR>
                      <a:noFill/>
                    </a:lnR>
                    <a:lnT>
                      <a:noFill/>
                    </a:lnT>
                    <a:lnB>
                      <a:noFill/>
                    </a:lnB>
                    <a:solidFill>
                      <a:srgbClr val="DAE182"/>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8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8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5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EE482"/>
                    </a:solidFill>
                  </a:tcPr>
                </a:tc>
                <a:tc>
                  <a:txBody>
                    <a:bodyPr/>
                    <a:lstStyle/>
                    <a:p>
                      <a:pPr algn="ctr" fontAlgn="b"/>
                      <a:r>
                        <a:rPr lang="en-GB" sz="1050" b="0" i="0" u="none" strike="noStrike">
                          <a:solidFill>
                            <a:srgbClr val="000000"/>
                          </a:solidFill>
                          <a:effectLst/>
                          <a:latin typeface="Calibri" panose="020F0502020204030204" pitchFamily="34" charset="0"/>
                        </a:rPr>
                        <a:t>2%</a:t>
                      </a:r>
                    </a:p>
                  </a:txBody>
                  <a:tcPr marL="45720" marR="45720" marT="36000" marB="36000" anchor="ctr">
                    <a:lnL>
                      <a:noFill/>
                    </a:lnL>
                    <a:lnR>
                      <a:noFill/>
                    </a:lnR>
                    <a:lnT>
                      <a:noFill/>
                    </a:lnT>
                    <a:lnB>
                      <a:noFill/>
                    </a:lnB>
                    <a:solidFill>
                      <a:srgbClr val="E1E383"/>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45720" marR="45720" marT="36000" marB="36000" anchor="ctr">
                    <a:lnL>
                      <a:noFill/>
                    </a:lnL>
                    <a:lnR>
                      <a:noFill/>
                    </a:lnR>
                    <a:lnT>
                      <a:noFill/>
                    </a:lnT>
                    <a:lnB>
                      <a:noFill/>
                    </a:lnB>
                    <a:solidFill>
                      <a:srgbClr val="FCEB84"/>
                    </a:solidFill>
                  </a:tcPr>
                </a:tc>
                <a:extLst>
                  <a:ext uri="{0D108BD9-81ED-4DB2-BD59-A6C34878D82A}">
                    <a16:rowId xmlns:a16="http://schemas.microsoft.com/office/drawing/2014/main" val="1337307492"/>
                  </a:ext>
                </a:extLst>
              </a:tr>
            </a:tbl>
          </a:graphicData>
        </a:graphic>
      </p:graphicFrame>
      <p:pic>
        <p:nvPicPr>
          <p:cNvPr id="7" name="China">
            <a:extLst>
              <a:ext uri="{FF2B5EF4-FFF2-40B4-BE49-F238E27FC236}">
                <a16:creationId xmlns:a16="http://schemas.microsoft.com/office/drawing/2014/main" id="{6501F472-469C-1B1A-4FAE-CC42CCE0479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44215" y="2908133"/>
            <a:ext cx="248627" cy="248478"/>
          </a:xfrm>
          <a:prstGeom prst="rect">
            <a:avLst/>
          </a:prstGeom>
        </p:spPr>
      </p:pic>
      <p:pic>
        <p:nvPicPr>
          <p:cNvPr id="8" name="Vietnam">
            <a:extLst>
              <a:ext uri="{FF2B5EF4-FFF2-40B4-BE49-F238E27FC236}">
                <a16:creationId xmlns:a16="http://schemas.microsoft.com/office/drawing/2014/main" id="{29684259-B269-1EC0-6840-2A769CA8186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15232" y="2908133"/>
            <a:ext cx="248627" cy="248478"/>
          </a:xfrm>
          <a:prstGeom prst="rect">
            <a:avLst/>
          </a:prstGeom>
        </p:spPr>
      </p:pic>
      <p:pic>
        <p:nvPicPr>
          <p:cNvPr id="10" name="India">
            <a:extLst>
              <a:ext uri="{FF2B5EF4-FFF2-40B4-BE49-F238E27FC236}">
                <a16:creationId xmlns:a16="http://schemas.microsoft.com/office/drawing/2014/main" id="{2306AFCC-F8AC-2CC1-06AA-60D6A828D16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386249" y="2908133"/>
            <a:ext cx="248627" cy="248478"/>
          </a:xfrm>
          <a:prstGeom prst="rect">
            <a:avLst/>
          </a:prstGeom>
        </p:spPr>
      </p:pic>
      <p:pic>
        <p:nvPicPr>
          <p:cNvPr id="11" name="Indonesia">
            <a:extLst>
              <a:ext uri="{FF2B5EF4-FFF2-40B4-BE49-F238E27FC236}">
                <a16:creationId xmlns:a16="http://schemas.microsoft.com/office/drawing/2014/main" id="{C5BF8969-3D0D-3DD8-35CF-B63E46413AB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857266" y="2908133"/>
            <a:ext cx="248627" cy="248478"/>
          </a:xfrm>
          <a:prstGeom prst="rect">
            <a:avLst/>
          </a:prstGeom>
        </p:spPr>
      </p:pic>
      <p:pic>
        <p:nvPicPr>
          <p:cNvPr id="12" name="Malaysia">
            <a:extLst>
              <a:ext uri="{FF2B5EF4-FFF2-40B4-BE49-F238E27FC236}">
                <a16:creationId xmlns:a16="http://schemas.microsoft.com/office/drawing/2014/main" id="{00B0466B-4B1E-BF19-DCAC-AF95D542CBC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28283" y="2908133"/>
            <a:ext cx="248627" cy="248478"/>
          </a:xfrm>
          <a:prstGeom prst="rect">
            <a:avLst/>
          </a:prstGeom>
        </p:spPr>
      </p:pic>
      <p:pic>
        <p:nvPicPr>
          <p:cNvPr id="13" name="Mexico">
            <a:extLst>
              <a:ext uri="{FF2B5EF4-FFF2-40B4-BE49-F238E27FC236}">
                <a16:creationId xmlns:a16="http://schemas.microsoft.com/office/drawing/2014/main" id="{05AA3AA7-6C93-83EB-40F9-A18E8C14A4F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799300" y="2908133"/>
            <a:ext cx="248627" cy="248478"/>
          </a:xfrm>
          <a:prstGeom prst="rect">
            <a:avLst/>
          </a:prstGeom>
        </p:spPr>
      </p:pic>
      <p:pic>
        <p:nvPicPr>
          <p:cNvPr id="14" name="Thailand">
            <a:extLst>
              <a:ext uri="{FF2B5EF4-FFF2-40B4-BE49-F238E27FC236}">
                <a16:creationId xmlns:a16="http://schemas.microsoft.com/office/drawing/2014/main" id="{0519CBE3-5D49-F6C4-F4E3-7AC56A28B26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270315" y="2908133"/>
            <a:ext cx="248627" cy="248478"/>
          </a:xfrm>
          <a:prstGeom prst="rect">
            <a:avLst/>
          </a:prstGeom>
        </p:spPr>
      </p:pic>
      <p:sp>
        <p:nvSpPr>
          <p:cNvPr id="9" name="Ghost">
            <a:extLst>
              <a:ext uri="{FF2B5EF4-FFF2-40B4-BE49-F238E27FC236}">
                <a16:creationId xmlns:a16="http://schemas.microsoft.com/office/drawing/2014/main" id="{65A95853-EB72-14A2-27FD-5FDFC5597D49}"/>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26898359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520AA5-F65B-4313-B5D8-53E6E321D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E8520AA5-F65B-4313-B5D8-53E6E321D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3">
            <a:extLst>
              <a:ext uri="{FF2B5EF4-FFF2-40B4-BE49-F238E27FC236}">
                <a16:creationId xmlns:a16="http://schemas.microsoft.com/office/drawing/2014/main" id="{C90196E9-765D-443C-A484-6D47989B4B66}"/>
              </a:ext>
            </a:extLst>
          </p:cNvPr>
          <p:cNvSpPr>
            <a:spLocks noGrp="1"/>
          </p:cNvSpPr>
          <p:nvPr>
            <p:ph type="title"/>
          </p:nvPr>
        </p:nvSpPr>
        <p:spPr/>
        <p:txBody>
          <a:bodyPr vert="horz"/>
          <a:lstStyle/>
          <a:p>
            <a:r>
              <a:rPr lang="en-GB">
                <a:solidFill>
                  <a:srgbClr val="009DE0"/>
                </a:solidFill>
              </a:rPr>
              <a:t>Supply chain: </a:t>
            </a:r>
            <a:r>
              <a:rPr lang="en-GB"/>
              <a:t>the pandemic showed as what real disruption looks like</a:t>
            </a:r>
          </a:p>
        </p:txBody>
      </p:sp>
      <p:sp>
        <p:nvSpPr>
          <p:cNvPr id="5" name="Text Placeholder 4">
            <a:extLst>
              <a:ext uri="{FF2B5EF4-FFF2-40B4-BE49-F238E27FC236}">
                <a16:creationId xmlns:a16="http://schemas.microsoft.com/office/drawing/2014/main" id="{68BDA6F0-19E5-443B-B77A-374A19640413}"/>
              </a:ext>
            </a:extLst>
          </p:cNvPr>
          <p:cNvSpPr>
            <a:spLocks noGrp="1"/>
          </p:cNvSpPr>
          <p:nvPr>
            <p:ph type="body" idx="10"/>
          </p:nvPr>
        </p:nvSpPr>
        <p:spPr/>
        <p:txBody>
          <a:bodyPr/>
          <a:lstStyle/>
          <a:p>
            <a:r>
              <a:rPr lang="en-GB"/>
              <a:t>Supply chains have not de-risked from China and remain a threat</a:t>
            </a:r>
          </a:p>
        </p:txBody>
      </p:sp>
      <p:sp>
        <p:nvSpPr>
          <p:cNvPr id="26" name="Content Placeholder 12">
            <a:extLst>
              <a:ext uri="{FF2B5EF4-FFF2-40B4-BE49-F238E27FC236}">
                <a16:creationId xmlns:a16="http://schemas.microsoft.com/office/drawing/2014/main" id="{E13A3108-85CA-406E-DC41-E38843DBF79F}"/>
              </a:ext>
            </a:extLst>
          </p:cNvPr>
          <p:cNvSpPr txBox="1">
            <a:spLocks/>
          </p:cNvSpPr>
          <p:nvPr/>
        </p:nvSpPr>
        <p:spPr>
          <a:xfrm>
            <a:off x="457200" y="2074218"/>
            <a:ext cx="3454400" cy="3720295"/>
          </a:xfrm>
          <a:prstGeom prst="rect">
            <a:avLst/>
          </a:prstGeom>
        </p:spPr>
        <p:txBody>
          <a:bodyPr vert="horz" lIns="0" tIns="0" rIns="0" bIns="0" rtlCol="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a:spcAft>
                <a:spcPts val="600"/>
              </a:spcAft>
            </a:pPr>
            <a:r>
              <a:rPr lang="en-GB" sz="1600" kern="0"/>
              <a:t>The pandemic caused significant supply chain disruption.</a:t>
            </a:r>
          </a:p>
          <a:p>
            <a:pPr>
              <a:spcAft>
                <a:spcPts val="600"/>
              </a:spcAft>
            </a:pPr>
            <a:r>
              <a:rPr lang="en-GB" sz="1600"/>
              <a:t>Disruption risks have since eased and contributed to lower inflation.</a:t>
            </a:r>
          </a:p>
          <a:p>
            <a:pPr>
              <a:spcAft>
                <a:spcPts val="600"/>
              </a:spcAft>
            </a:pPr>
            <a:r>
              <a:rPr lang="en-GB" sz="1600"/>
              <a:t>W</a:t>
            </a:r>
            <a:r>
              <a:rPr lang="en-GB" sz="1600" kern="0"/>
              <a:t>e have not de-risked supply chains and a geopolitical event would drive prices even higher.</a:t>
            </a:r>
          </a:p>
        </p:txBody>
      </p:sp>
      <p:graphicFrame>
        <p:nvGraphicFramePr>
          <p:cNvPr id="7" name="Chart 6">
            <a:extLst>
              <a:ext uri="{FF2B5EF4-FFF2-40B4-BE49-F238E27FC236}">
                <a16:creationId xmlns:a16="http://schemas.microsoft.com/office/drawing/2014/main" id="{339E061C-C05E-51B7-F9DE-CB14B4006D82}"/>
              </a:ext>
            </a:extLst>
          </p:cNvPr>
          <p:cNvGraphicFramePr>
            <a:graphicFrameLocks noGrp="1"/>
          </p:cNvGraphicFramePr>
          <p:nvPr/>
        </p:nvGraphicFramePr>
        <p:xfrm>
          <a:off x="4368800" y="2084157"/>
          <a:ext cx="7284383" cy="3987286"/>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56959588-D8B6-E1D7-C122-385F55350BC4}"/>
              </a:ext>
            </a:extLst>
          </p:cNvPr>
          <p:cNvSpPr txBox="1"/>
          <p:nvPr/>
        </p:nvSpPr>
        <p:spPr>
          <a:xfrm>
            <a:off x="4403965" y="1461370"/>
            <a:ext cx="2615396" cy="369332"/>
          </a:xfrm>
          <a:prstGeom prst="rect">
            <a:avLst/>
          </a:prstGeom>
          <a:noFill/>
        </p:spPr>
        <p:txBody>
          <a:bodyPr wrap="square" lIns="0" tIns="0" rIns="0" bIns="0" rtlCol="0">
            <a:spAutoFit/>
          </a:bodyPr>
          <a:lstStyle/>
          <a:p>
            <a:pPr algn="l"/>
            <a:r>
              <a:rPr lang="en-GB" sz="1400" b="1" kern="0"/>
              <a:t>Global Supply Chain Pressure Index</a:t>
            </a:r>
          </a:p>
          <a:p>
            <a:pPr algn="l"/>
            <a:r>
              <a:rPr lang="en-GB" sz="1000" i="1" kern="0"/>
              <a:t>Standard deviations from average value</a:t>
            </a:r>
          </a:p>
        </p:txBody>
      </p:sp>
      <p:sp>
        <p:nvSpPr>
          <p:cNvPr id="10" name="TextBox 9">
            <a:extLst>
              <a:ext uri="{FF2B5EF4-FFF2-40B4-BE49-F238E27FC236}">
                <a16:creationId xmlns:a16="http://schemas.microsoft.com/office/drawing/2014/main" id="{9F2CE063-BF4B-996E-0681-A5573BE4CE88}"/>
              </a:ext>
            </a:extLst>
          </p:cNvPr>
          <p:cNvSpPr txBox="1"/>
          <p:nvPr/>
        </p:nvSpPr>
        <p:spPr>
          <a:xfrm>
            <a:off x="4466760" y="6277689"/>
            <a:ext cx="2489806" cy="123111"/>
          </a:xfrm>
          <a:prstGeom prst="rect">
            <a:avLst/>
          </a:prstGeom>
          <a:noFill/>
        </p:spPr>
        <p:txBody>
          <a:bodyPr wrap="square" lIns="0" tIns="0" rIns="0" bIns="0" rtlCol="0">
            <a:spAutoFit/>
          </a:bodyPr>
          <a:lstStyle/>
          <a:p>
            <a:pPr algn="l"/>
            <a:r>
              <a:rPr lang="en-GB" sz="800" kern="0"/>
              <a:t>Source: Federal Reserve Bank of New York</a:t>
            </a:r>
          </a:p>
        </p:txBody>
      </p:sp>
      <p:sp>
        <p:nvSpPr>
          <p:cNvPr id="3" name="Ghost">
            <a:extLst>
              <a:ext uri="{FF2B5EF4-FFF2-40B4-BE49-F238E27FC236}">
                <a16:creationId xmlns:a16="http://schemas.microsoft.com/office/drawing/2014/main" id="{3AA0BD6F-9066-381E-4FEC-1C3347BF4952}"/>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16537829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9EA25E-AA3E-43CD-B6E5-796A0F3F39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F69EA25E-AA3E-43CD-B6E5-796A0F3F39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7EBBED0-85DC-416D-9797-05551D14E81B}"/>
              </a:ext>
            </a:extLst>
          </p:cNvPr>
          <p:cNvSpPr>
            <a:spLocks noGrp="1"/>
          </p:cNvSpPr>
          <p:nvPr>
            <p:ph type="title"/>
          </p:nvPr>
        </p:nvSpPr>
        <p:spPr>
          <a:xfrm>
            <a:off x="457200" y="384048"/>
            <a:ext cx="11277600" cy="1171732"/>
          </a:xfrm>
        </p:spPr>
        <p:txBody>
          <a:bodyPr vert="horz"/>
          <a:lstStyle/>
          <a:p>
            <a:r>
              <a:rPr lang="en-GB">
                <a:solidFill>
                  <a:srgbClr val="009DE0"/>
                </a:solidFill>
              </a:rPr>
              <a:t>China’s economic outlook: </a:t>
            </a:r>
            <a:r>
              <a:rPr lang="en-GB"/>
              <a:t>multiple drivers of slower growth</a:t>
            </a:r>
          </a:p>
        </p:txBody>
      </p:sp>
      <p:pic>
        <p:nvPicPr>
          <p:cNvPr id="17" name="ico-currency-exchange-2">
            <a:extLst>
              <a:ext uri="{FF2B5EF4-FFF2-40B4-BE49-F238E27FC236}">
                <a16:creationId xmlns:a16="http://schemas.microsoft.com/office/drawing/2014/main" id="{88AC90BD-8FC7-4275-8C8E-FD904D1C388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93329" y="1646849"/>
            <a:ext cx="504000" cy="504000"/>
          </a:xfrm>
          <a:prstGeom prst="rect">
            <a:avLst/>
          </a:prstGeom>
        </p:spPr>
      </p:pic>
      <p:graphicFrame>
        <p:nvGraphicFramePr>
          <p:cNvPr id="2" name="Table 2">
            <a:extLst>
              <a:ext uri="{FF2B5EF4-FFF2-40B4-BE49-F238E27FC236}">
                <a16:creationId xmlns:a16="http://schemas.microsoft.com/office/drawing/2014/main" id="{40779144-67FC-47B7-8EF2-AAA196665E39}"/>
              </a:ext>
            </a:extLst>
          </p:cNvPr>
          <p:cNvGraphicFramePr>
            <a:graphicFrameLocks noGrp="1"/>
          </p:cNvGraphicFramePr>
          <p:nvPr>
            <p:extLst>
              <p:ext uri="{D42A27DB-BD31-4B8C-83A1-F6EECF244321}">
                <p14:modId xmlns:p14="http://schemas.microsoft.com/office/powerpoint/2010/main" val="2031841154"/>
              </p:ext>
            </p:extLst>
          </p:nvPr>
        </p:nvGraphicFramePr>
        <p:xfrm>
          <a:off x="700606" y="2205918"/>
          <a:ext cx="10790788" cy="3960000"/>
        </p:xfrm>
        <a:graphic>
          <a:graphicData uri="http://schemas.openxmlformats.org/drawingml/2006/table">
            <a:tbl>
              <a:tblPr firstRow="1" bandRow="1">
                <a:tableStyleId>{839DD9DD-9E6C-4910-8AC0-68ADFF6A6AFC}</a:tableStyleId>
              </a:tblPr>
              <a:tblGrid>
                <a:gridCol w="2697697">
                  <a:extLst>
                    <a:ext uri="{9D8B030D-6E8A-4147-A177-3AD203B41FA5}">
                      <a16:colId xmlns:a16="http://schemas.microsoft.com/office/drawing/2014/main" val="301450046"/>
                    </a:ext>
                  </a:extLst>
                </a:gridCol>
                <a:gridCol w="2697697">
                  <a:extLst>
                    <a:ext uri="{9D8B030D-6E8A-4147-A177-3AD203B41FA5}">
                      <a16:colId xmlns:a16="http://schemas.microsoft.com/office/drawing/2014/main" val="1503522261"/>
                    </a:ext>
                  </a:extLst>
                </a:gridCol>
                <a:gridCol w="2697697">
                  <a:extLst>
                    <a:ext uri="{9D8B030D-6E8A-4147-A177-3AD203B41FA5}">
                      <a16:colId xmlns:a16="http://schemas.microsoft.com/office/drawing/2014/main" val="834382194"/>
                    </a:ext>
                  </a:extLst>
                </a:gridCol>
                <a:gridCol w="2697697">
                  <a:extLst>
                    <a:ext uri="{9D8B030D-6E8A-4147-A177-3AD203B41FA5}">
                      <a16:colId xmlns:a16="http://schemas.microsoft.com/office/drawing/2014/main" val="3492309799"/>
                    </a:ext>
                  </a:extLst>
                </a:gridCol>
              </a:tblGrid>
              <a:tr h="1080000">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latin typeface="Calibri" panose="020F0502020204030204" pitchFamily="34" charset="0"/>
                          <a:ea typeface="Meiryo" panose="020B0604030504040204" pitchFamily="34" charset="-128"/>
                          <a:cs typeface="Dubai" panose="020B0503030403030204" pitchFamily="34" charset="-78"/>
                        </a:rPr>
                        <a:t>GDP growth is slowing on a structural basis as the easiest gains are made</a:t>
                      </a:r>
                    </a:p>
                    <a:p>
                      <a:endParaRPr lang="en-GB" sz="1400"/>
                    </a:p>
                  </a:txBody>
                  <a:tcPr/>
                </a:tc>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latin typeface="Calibri" panose="020F0502020204030204" pitchFamily="34" charset="0"/>
                          <a:ea typeface="Meiryo" panose="020B0604030504040204" pitchFamily="34" charset="-128"/>
                          <a:cs typeface="Dubai" panose="020B0503030403030204" pitchFamily="34" charset="-78"/>
                        </a:rPr>
                        <a:t>Productivity will now drive growth, as the population ages and capital dries up</a:t>
                      </a:r>
                      <a:endParaRPr lang="en-GB" sz="1400" b="1">
                        <a:effectLst/>
                        <a:latin typeface="Calibri" panose="020F0502020204030204" pitchFamily="34" charset="0"/>
                        <a:ea typeface="Meiryo" panose="020B0604030504040204" pitchFamily="34" charset="-128"/>
                        <a:cs typeface="Dubai" panose="020B0503030403030204" pitchFamily="34" charset="-78"/>
                      </a:endParaRPr>
                    </a:p>
                    <a:p>
                      <a:endParaRPr lang="en-GB" sz="1400"/>
                    </a:p>
                  </a:txBody>
                  <a:tcPr/>
                </a:tc>
                <a:tc>
                  <a:txBody>
                    <a:bodyPr/>
                    <a:lstStyle/>
                    <a:p>
                      <a:r>
                        <a:rPr lang="en-GB" sz="1400"/>
                        <a:t>Technological bottleneck may slow innovation, but in the short-term only</a:t>
                      </a:r>
                    </a:p>
                  </a:txBody>
                  <a:tcPr/>
                </a:tc>
                <a:tc>
                  <a:txBody>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lang="en-GB" sz="1400" b="1">
                          <a:effectLst/>
                          <a:latin typeface="Calibri" panose="020F0502020204030204" pitchFamily="34" charset="0"/>
                          <a:ea typeface="Meiryo" panose="020B0604030504040204" pitchFamily="34" charset="-128"/>
                          <a:cs typeface="Dubai" panose="020B0503030403030204" pitchFamily="34" charset="-78"/>
                        </a:rPr>
                        <a:t>But there is more than one China with different regions growing at different rates</a:t>
                      </a:r>
                    </a:p>
                    <a:p>
                      <a:endParaRPr lang="en-GB" sz="1400"/>
                    </a:p>
                  </a:txBody>
                  <a:tcPr/>
                </a:tc>
                <a:extLst>
                  <a:ext uri="{0D108BD9-81ED-4DB2-BD59-A6C34878D82A}">
                    <a16:rowId xmlns:a16="http://schemas.microsoft.com/office/drawing/2014/main" val="1256018183"/>
                  </a:ext>
                </a:extLst>
              </a:tr>
              <a:tr h="1440000">
                <a:tc>
                  <a:txBody>
                    <a:bodyPr/>
                    <a:lstStyle/>
                    <a:p>
                      <a:pPr lvl="0" algn="ctr">
                        <a:spcAft>
                          <a:spcPts val="800"/>
                        </a:spcAft>
                      </a:pPr>
                      <a:r>
                        <a:rPr lang="en-GB" sz="2400" b="1">
                          <a:solidFill>
                            <a:srgbClr val="009DE0"/>
                          </a:solidFill>
                          <a:effectLst/>
                          <a:latin typeface="+mj-lt"/>
                          <a:ea typeface="Meiryo" panose="020B0604030504040204" pitchFamily="34" charset="-128"/>
                          <a:cs typeface="Dubai" panose="020B0503030403030204" pitchFamily="34" charset="-78"/>
                        </a:rPr>
                        <a:t>5%</a:t>
                      </a:r>
                    </a:p>
                    <a:p>
                      <a:pPr lvl="0" algn="ctr">
                        <a:spcAft>
                          <a:spcPts val="800"/>
                        </a:spcAft>
                      </a:pPr>
                      <a:r>
                        <a:rPr lang="en-GB" sz="1200">
                          <a:latin typeface="Calibri" panose="020F0502020204030204" pitchFamily="34" charset="0"/>
                          <a:ea typeface="Meiryo" panose="020B0604030504040204" pitchFamily="34" charset="-128"/>
                          <a:cs typeface="Dubai" panose="020B0503030403030204" pitchFamily="34" charset="-78"/>
                        </a:rPr>
                        <a:t>Expected long-term growth rate compared to 7% in the 2010s and 10% in the 2000s</a:t>
                      </a:r>
                      <a:endParaRPr lang="en-GB" sz="1200">
                        <a:effectLst/>
                        <a:latin typeface="Calibri" panose="020F0502020204030204" pitchFamily="34" charset="0"/>
                        <a:ea typeface="Meiryo" panose="020B0604030504040204" pitchFamily="34" charset="-128"/>
                        <a:cs typeface="Dubai" panose="020B0503030403030204" pitchFamily="34" charset="-78"/>
                      </a:endParaRPr>
                    </a:p>
                  </a:txBody>
                  <a:tcPr marL="137160" marR="137160" marT="137160" marB="137160" anchor="ctr"/>
                </a:tc>
                <a:tc>
                  <a:txBody>
                    <a:bodyPr/>
                    <a:lstStyle/>
                    <a:p>
                      <a:pPr marL="0" lvl="0" indent="0" algn="ctr">
                        <a:spcAft>
                          <a:spcPts val="800"/>
                        </a:spcAft>
                        <a:buFont typeface="Arial" panose="020B0604020202020204" pitchFamily="34" charset="0"/>
                        <a:buNone/>
                      </a:pPr>
                      <a:r>
                        <a:rPr lang="en-GB" sz="2400" b="1">
                          <a:solidFill>
                            <a:srgbClr val="009DE0"/>
                          </a:solidFill>
                          <a:latin typeface="+mj-lt"/>
                          <a:ea typeface="Meiryo" panose="020B0604030504040204" pitchFamily="34" charset="-128"/>
                          <a:cs typeface="Dubai" panose="020B0503030403030204" pitchFamily="34" charset="-78"/>
                        </a:rPr>
                        <a:t>-3%</a:t>
                      </a:r>
                    </a:p>
                    <a:p>
                      <a:pPr marL="0" lvl="0" indent="0" algn="ctr">
                        <a:spcAft>
                          <a:spcPts val="800"/>
                        </a:spcAft>
                        <a:buFont typeface="Arial" panose="020B0604020202020204" pitchFamily="34" charset="0"/>
                        <a:buNone/>
                      </a:pPr>
                      <a:r>
                        <a:rPr lang="en-GB" sz="1200">
                          <a:effectLst/>
                          <a:latin typeface="Calibri" panose="020F0502020204030204" pitchFamily="34" charset="0"/>
                          <a:ea typeface="Meiryo" panose="020B0604030504040204" pitchFamily="34" charset="-128"/>
                          <a:cs typeface="Dubai" panose="020B0503030403030204" pitchFamily="34" charset="-78"/>
                        </a:rPr>
                        <a:t>Forecast decline in population until 2040 with greatest fall in working age population</a:t>
                      </a:r>
                    </a:p>
                  </a:txBody>
                  <a:tcPr marL="137160" marR="137160" marT="137160" marB="137160" anchor="ctr"/>
                </a:tc>
                <a:tc>
                  <a:txBody>
                    <a:bodyPr/>
                    <a:lstStyle/>
                    <a:p>
                      <a:pPr lvl="0" algn="ctr">
                        <a:spcAft>
                          <a:spcPts val="800"/>
                        </a:spcAft>
                      </a:pPr>
                      <a:r>
                        <a:rPr lang="en-GB" sz="2400" b="1" kern="0">
                          <a:solidFill>
                            <a:srgbClr val="009DE0"/>
                          </a:solidFill>
                          <a:effectLst/>
                          <a:latin typeface="+mj-lt"/>
                          <a:ea typeface="Meiryo" panose="020B0604030504040204" pitchFamily="34" charset="-128"/>
                          <a:cs typeface="Dubai" panose="020B0503030403030204" pitchFamily="34" charset="-78"/>
                        </a:rPr>
                        <a:t>-26%</a:t>
                      </a:r>
                    </a:p>
                    <a:p>
                      <a:pPr lvl="0" algn="ctr">
                        <a:spcAft>
                          <a:spcPts val="800"/>
                        </a:spcAft>
                      </a:pPr>
                      <a:r>
                        <a:rPr lang="en-GB" sz="1200">
                          <a:latin typeface="Calibri" panose="020F0502020204030204" pitchFamily="34" charset="0"/>
                          <a:ea typeface="Meiryo" panose="020B0604030504040204" pitchFamily="34" charset="-128"/>
                          <a:cs typeface="Dubai" panose="020B0503030403030204" pitchFamily="34" charset="-78"/>
                        </a:rPr>
                        <a:t>Decline in China’s electronic circuit imports following imposition of US trade measures</a:t>
                      </a:r>
                      <a:endParaRPr lang="en-GB" sz="1200">
                        <a:effectLst/>
                        <a:latin typeface="Calibri" panose="020F0502020204030204" pitchFamily="34" charset="0"/>
                        <a:ea typeface="Meiryo" panose="020B0604030504040204" pitchFamily="34" charset="-128"/>
                        <a:cs typeface="Dubai" panose="020B0503030403030204" pitchFamily="34" charset="-78"/>
                      </a:endParaRPr>
                    </a:p>
                  </a:txBody>
                  <a:tcPr marL="137160" marR="137160" marT="137160" marB="137160" anchor="ctr"/>
                </a:tc>
                <a:tc>
                  <a:txBody>
                    <a:bodyPr/>
                    <a:lstStyle/>
                    <a:p>
                      <a:pPr lvl="0" algn="ctr">
                        <a:spcAft>
                          <a:spcPts val="800"/>
                        </a:spcAft>
                      </a:pPr>
                      <a:r>
                        <a:rPr lang="en-GB" sz="2400" b="1">
                          <a:solidFill>
                            <a:srgbClr val="009DE0"/>
                          </a:solidFill>
                          <a:effectLst/>
                          <a:latin typeface="+mj-lt"/>
                          <a:ea typeface="Meiryo" panose="020B0604030504040204" pitchFamily="34" charset="-128"/>
                          <a:cs typeface="Dubai" panose="020B0503030403030204" pitchFamily="34" charset="-78"/>
                        </a:rPr>
                        <a:t>5</a:t>
                      </a:r>
                    </a:p>
                    <a:p>
                      <a:pPr lvl="0" algn="ctr">
                        <a:spcAft>
                          <a:spcPts val="800"/>
                        </a:spcAft>
                      </a:pPr>
                      <a:r>
                        <a:rPr lang="en-GB" sz="1200">
                          <a:latin typeface="Calibri" panose="020F0502020204030204" pitchFamily="34" charset="0"/>
                          <a:ea typeface="Meiryo" panose="020B0604030504040204" pitchFamily="34" charset="-128"/>
                          <a:cs typeface="Dubai" panose="020B0503030403030204" pitchFamily="34" charset="-78"/>
                        </a:rPr>
                        <a:t>Number of Chinese provinces that would rank in the world’s top 20 economies by GDP</a:t>
                      </a:r>
                      <a:endParaRPr lang="en-GB" sz="1200">
                        <a:effectLst/>
                        <a:latin typeface="Calibri" panose="020F0502020204030204" pitchFamily="34" charset="0"/>
                        <a:ea typeface="Meiryo" panose="020B0604030504040204" pitchFamily="34" charset="-128"/>
                        <a:cs typeface="Dubai" panose="020B0503030403030204" pitchFamily="34" charset="-78"/>
                      </a:endParaRPr>
                    </a:p>
                  </a:txBody>
                  <a:tcPr marL="137160" marR="137160" marT="137160" marB="137160" anchor="ctr"/>
                </a:tc>
                <a:extLst>
                  <a:ext uri="{0D108BD9-81ED-4DB2-BD59-A6C34878D82A}">
                    <a16:rowId xmlns:a16="http://schemas.microsoft.com/office/drawing/2014/main" val="80207659"/>
                  </a:ext>
                </a:extLst>
              </a:tr>
              <a:tr h="1440000">
                <a:tc>
                  <a:txBody>
                    <a:bodyPr/>
                    <a:lstStyle/>
                    <a:p>
                      <a:pPr marL="171450" indent="-171450">
                        <a:buFont typeface="Arial" panose="020B0604020202020204" pitchFamily="34" charset="0"/>
                        <a:buChar char="•"/>
                      </a:pPr>
                      <a:r>
                        <a:rPr lang="en-GB"/>
                        <a:t>A 5% rate is still above advanced markets including Korea and Japan, but only half the rates of growth seen 20 years ago, a major attraction for MNCs.</a:t>
                      </a:r>
                    </a:p>
                  </a:txBody>
                  <a:tcPr marL="137160" marR="137160" marT="137160" marB="137160"/>
                </a:tc>
                <a:tc>
                  <a:txBody>
                    <a:bodyPr/>
                    <a:lstStyle/>
                    <a:p>
                      <a:pPr marL="171450" indent="-171450">
                        <a:buFont typeface="Arial" panose="020B0604020202020204" pitchFamily="34" charset="0"/>
                        <a:buChar char="•"/>
                      </a:pPr>
                      <a:r>
                        <a:rPr lang="en-GB"/>
                        <a:t>China has enjoyed three decades of strong growth on the back of labour and capital inputs. But it must increasingly rely on productivity going forward.</a:t>
                      </a:r>
                    </a:p>
                  </a:txBody>
                  <a:tcPr marL="137160" marR="137160" marT="137160" marB="137160"/>
                </a:tc>
                <a:tc>
                  <a:txBody>
                    <a:bodyPr/>
                    <a:lstStyle/>
                    <a:p>
                      <a:pPr marL="171450" indent="-171450">
                        <a:buFont typeface="Arial" panose="020B0604020202020204" pitchFamily="34" charset="0"/>
                        <a:buChar char="•"/>
                      </a:pPr>
                      <a:r>
                        <a:rPr lang="en-GB"/>
                        <a:t>China’s success developing EV vehicles is an example of how the country will still achieve success in niche areas, especially where it has scale.</a:t>
                      </a:r>
                    </a:p>
                  </a:txBody>
                  <a:tcPr marL="137160" marR="137160" marT="137160" marB="137160"/>
                </a:tc>
                <a:tc>
                  <a:txBody>
                    <a:bodyPr/>
                    <a:lstStyle/>
                    <a:p>
                      <a:pPr marL="171450" lvl="0" indent="-171450">
                        <a:spcAft>
                          <a:spcPts val="800"/>
                        </a:spcAft>
                        <a:buFont typeface="Arial" panose="020B0604020202020204" pitchFamily="34" charset="0"/>
                        <a:buChar char="•"/>
                      </a:pPr>
                      <a:r>
                        <a:rPr lang="en-GB" sz="1200">
                          <a:effectLst/>
                          <a:latin typeface="Calibri" panose="020F0502020204030204" pitchFamily="34" charset="0"/>
                          <a:ea typeface="Meiryo" panose="020B0604030504040204" pitchFamily="34" charset="-128"/>
                          <a:cs typeface="Dubai" panose="020B0503030403030204" pitchFamily="34" charset="-78"/>
                        </a:rPr>
                        <a:t>While some provinces will grow slower than 5%, others may surpass this rate, especially where growth is concentrated in wealthier more innovative sectors.</a:t>
                      </a:r>
                    </a:p>
                  </a:txBody>
                  <a:tcPr marL="137160" marR="137160" marT="137160" marB="137160"/>
                </a:tc>
                <a:extLst>
                  <a:ext uri="{0D108BD9-81ED-4DB2-BD59-A6C34878D82A}">
                    <a16:rowId xmlns:a16="http://schemas.microsoft.com/office/drawing/2014/main" val="4172639585"/>
                  </a:ext>
                </a:extLst>
              </a:tr>
            </a:tbl>
          </a:graphicData>
        </a:graphic>
      </p:graphicFrame>
      <p:pic>
        <p:nvPicPr>
          <p:cNvPr id="19" name="ico-scale-2">
            <a:extLst>
              <a:ext uri="{FF2B5EF4-FFF2-40B4-BE49-F238E27FC236}">
                <a16:creationId xmlns:a16="http://schemas.microsoft.com/office/drawing/2014/main" id="{94F5FD43-F07C-4ACB-BCE8-CF785A11010A}"/>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46322" y="1646849"/>
            <a:ext cx="468000" cy="468000"/>
          </a:xfrm>
          <a:prstGeom prst="rect">
            <a:avLst/>
          </a:prstGeom>
        </p:spPr>
      </p:pic>
      <p:pic>
        <p:nvPicPr>
          <p:cNvPr id="20" name="ico-risk-management">
            <a:extLst>
              <a:ext uri="{FF2B5EF4-FFF2-40B4-BE49-F238E27FC236}">
                <a16:creationId xmlns:a16="http://schemas.microsoft.com/office/drawing/2014/main" id="{8A33A10C-1E68-4328-994F-2BE880B959F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6359" y="1651158"/>
            <a:ext cx="504000" cy="504000"/>
          </a:xfrm>
          <a:prstGeom prst="rect">
            <a:avLst/>
          </a:prstGeom>
        </p:spPr>
      </p:pic>
      <p:pic>
        <p:nvPicPr>
          <p:cNvPr id="21" name="ico-factory">
            <a:extLst>
              <a:ext uri="{FF2B5EF4-FFF2-40B4-BE49-F238E27FC236}">
                <a16:creationId xmlns:a16="http://schemas.microsoft.com/office/drawing/2014/main" id="{FEEF89D0-7417-43C5-861A-028CCF8AB1D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038560" y="1600398"/>
            <a:ext cx="504000" cy="504000"/>
          </a:xfrm>
          <a:prstGeom prst="rect">
            <a:avLst/>
          </a:prstGeom>
        </p:spPr>
      </p:pic>
      <p:sp>
        <p:nvSpPr>
          <p:cNvPr id="3" name="TextBox 2">
            <a:extLst>
              <a:ext uri="{FF2B5EF4-FFF2-40B4-BE49-F238E27FC236}">
                <a16:creationId xmlns:a16="http://schemas.microsoft.com/office/drawing/2014/main" id="{78F6CEEE-07B7-48B3-90E8-B625AA0CDAB9}"/>
              </a:ext>
            </a:extLst>
          </p:cNvPr>
          <p:cNvSpPr txBox="1"/>
          <p:nvPr/>
        </p:nvSpPr>
        <p:spPr>
          <a:xfrm>
            <a:off x="743943" y="6294504"/>
            <a:ext cx="3309731" cy="123111"/>
          </a:xfrm>
          <a:prstGeom prst="rect">
            <a:avLst/>
          </a:prstGeom>
          <a:noFill/>
        </p:spPr>
        <p:txBody>
          <a:bodyPr wrap="square" lIns="0" tIns="0" rIns="0" bIns="0" rtlCol="0">
            <a:spAutoFit/>
          </a:bodyPr>
          <a:lstStyle/>
          <a:p>
            <a:pPr algn="l"/>
            <a:r>
              <a:rPr lang="en-GB" sz="800" kern="0"/>
              <a:t>*US, UK, Germany, Japan, Australia</a:t>
            </a:r>
          </a:p>
        </p:txBody>
      </p:sp>
      <p:sp>
        <p:nvSpPr>
          <p:cNvPr id="5" name="Ghost">
            <a:extLst>
              <a:ext uri="{FF2B5EF4-FFF2-40B4-BE49-F238E27FC236}">
                <a16:creationId xmlns:a16="http://schemas.microsoft.com/office/drawing/2014/main" id="{AFCC17AA-CCBD-B67D-8E73-C867311E8DFB}"/>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41861431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29E63A9-0E89-9713-2F25-51196F6EF8CF}"/>
              </a:ext>
            </a:extLst>
          </p:cNvPr>
          <p:cNvSpPr/>
          <p:nvPr/>
        </p:nvSpPr>
        <p:spPr>
          <a:xfrm>
            <a:off x="4741012" y="2747534"/>
            <a:ext cx="2925214" cy="3254570"/>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25" name="Rectangle 24">
            <a:extLst>
              <a:ext uri="{FF2B5EF4-FFF2-40B4-BE49-F238E27FC236}">
                <a16:creationId xmlns:a16="http://schemas.microsoft.com/office/drawing/2014/main" id="{0F09A0EF-728E-3FCC-6E01-ABA3EF03A6CE}"/>
              </a:ext>
            </a:extLst>
          </p:cNvPr>
          <p:cNvSpPr/>
          <p:nvPr/>
        </p:nvSpPr>
        <p:spPr>
          <a:xfrm>
            <a:off x="7722659" y="2747534"/>
            <a:ext cx="2422414" cy="3254570"/>
          </a:xfrm>
          <a:prstGeom prst="rect">
            <a:avLst/>
          </a:prstGeom>
          <a:solidFill>
            <a:schemeClr val="bg1">
              <a:lumMod val="8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26" name="Rectangle 25">
            <a:extLst>
              <a:ext uri="{FF2B5EF4-FFF2-40B4-BE49-F238E27FC236}">
                <a16:creationId xmlns:a16="http://schemas.microsoft.com/office/drawing/2014/main" id="{11282E79-12D6-AB73-900D-8E3590103157}"/>
              </a:ext>
            </a:extLst>
          </p:cNvPr>
          <p:cNvSpPr/>
          <p:nvPr/>
        </p:nvSpPr>
        <p:spPr>
          <a:xfrm>
            <a:off x="10201506" y="2747534"/>
            <a:ext cx="1295666" cy="3254570"/>
          </a:xfrm>
          <a:prstGeom prst="rect">
            <a:avLst/>
          </a:prstGeom>
          <a:solidFill>
            <a:srgbClr val="C7ED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graphicFrame>
        <p:nvGraphicFramePr>
          <p:cNvPr id="2" name="Object 1" hidden="1">
            <a:extLst>
              <a:ext uri="{FF2B5EF4-FFF2-40B4-BE49-F238E27FC236}">
                <a16:creationId xmlns:a16="http://schemas.microsoft.com/office/drawing/2014/main" id="{E8520AA5-F65B-4313-B5D8-53E6E321D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E8520AA5-F65B-4313-B5D8-53E6E321D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8FEEDF1B-E4F4-48AC-AA03-781DA2DF60FD}"/>
              </a:ext>
            </a:extLst>
          </p:cNvPr>
          <p:cNvSpPr>
            <a:spLocks noGrp="1"/>
          </p:cNvSpPr>
          <p:nvPr>
            <p:ph type="title"/>
          </p:nvPr>
        </p:nvSpPr>
        <p:spPr/>
        <p:txBody>
          <a:bodyPr vert="horz"/>
          <a:lstStyle/>
          <a:p>
            <a:r>
              <a:rPr lang="en-GB">
                <a:solidFill>
                  <a:srgbClr val="009DE0"/>
                </a:solidFill>
              </a:rPr>
              <a:t>China Outlook: </a:t>
            </a:r>
            <a:r>
              <a:rPr lang="en-GB"/>
              <a:t>challenges for long-term </a:t>
            </a:r>
            <a:r>
              <a:rPr lang="en-GB" err="1"/>
              <a:t>gdp</a:t>
            </a:r>
            <a:r>
              <a:rPr lang="en-GB"/>
              <a:t> growth</a:t>
            </a:r>
            <a:br>
              <a:rPr lang="en-GB"/>
            </a:br>
            <a:r>
              <a:rPr lang="en-GB" sz="1800" b="0" cap="none">
                <a:latin typeface="+mn-lt"/>
              </a:rPr>
              <a:t>Labor and capital will no longer provide the same drive to GDP growth. Productivity growth is everything.</a:t>
            </a:r>
            <a:endParaRPr lang="en-GB" sz="1800"/>
          </a:p>
        </p:txBody>
      </p:sp>
      <p:sp>
        <p:nvSpPr>
          <p:cNvPr id="11" name="Text Placeholder 10">
            <a:extLst>
              <a:ext uri="{FF2B5EF4-FFF2-40B4-BE49-F238E27FC236}">
                <a16:creationId xmlns:a16="http://schemas.microsoft.com/office/drawing/2014/main" id="{C8FB6FF2-B333-67F6-1675-F9828BD5B250}"/>
              </a:ext>
            </a:extLst>
          </p:cNvPr>
          <p:cNvSpPr>
            <a:spLocks noGrp="1"/>
          </p:cNvSpPr>
          <p:nvPr>
            <p:ph type="body" idx="10"/>
          </p:nvPr>
        </p:nvSpPr>
        <p:spPr/>
        <p:txBody>
          <a:bodyPr/>
          <a:lstStyle/>
          <a:p>
            <a:r>
              <a:rPr lang="en-GB"/>
              <a:t>China’s three phases of growth are driving opportunities</a:t>
            </a:r>
          </a:p>
        </p:txBody>
      </p:sp>
      <p:sp>
        <p:nvSpPr>
          <p:cNvPr id="12" name="Content Placeholder 11">
            <a:extLst>
              <a:ext uri="{FF2B5EF4-FFF2-40B4-BE49-F238E27FC236}">
                <a16:creationId xmlns:a16="http://schemas.microsoft.com/office/drawing/2014/main" id="{A0008142-6EA0-2A25-966B-6D5CBCE531F1}"/>
              </a:ext>
            </a:extLst>
          </p:cNvPr>
          <p:cNvSpPr>
            <a:spLocks noGrp="1"/>
          </p:cNvSpPr>
          <p:nvPr>
            <p:ph sz="half" idx="11"/>
          </p:nvPr>
        </p:nvSpPr>
        <p:spPr>
          <a:xfrm>
            <a:off x="457200" y="1971810"/>
            <a:ext cx="3454400" cy="4428990"/>
          </a:xfrm>
        </p:spPr>
        <p:txBody>
          <a:bodyPr/>
          <a:lstStyle/>
          <a:p>
            <a:r>
              <a:rPr lang="en-GB"/>
              <a:t>China’s first phase of growth focused on applying </a:t>
            </a:r>
            <a:r>
              <a:rPr lang="en-GB" b="1"/>
              <a:t>cheap and plentiful labour </a:t>
            </a:r>
            <a:r>
              <a:rPr lang="en-GB"/>
              <a:t>to product exports. The world benefited.</a:t>
            </a:r>
          </a:p>
          <a:p>
            <a:r>
              <a:rPr lang="en-GB"/>
              <a:t>The second phase of growth focused on using </a:t>
            </a:r>
            <a:r>
              <a:rPr lang="en-GB" b="1"/>
              <a:t>cheap and plentiful capital </a:t>
            </a:r>
            <a:r>
              <a:rPr lang="en-GB"/>
              <a:t>to build roads, railways, airports, etc. The world’s commodity exporters benefited.</a:t>
            </a:r>
          </a:p>
          <a:p>
            <a:r>
              <a:rPr lang="en-GB"/>
              <a:t>The latest phase of growth is the most challenging and will benefit the smallest part of the economy, but is also </a:t>
            </a:r>
            <a:r>
              <a:rPr lang="en-GB" b="1"/>
              <a:t>a source of global competition</a:t>
            </a:r>
            <a:r>
              <a:rPr lang="en-GB"/>
              <a:t>.</a:t>
            </a:r>
          </a:p>
        </p:txBody>
      </p:sp>
      <p:sp>
        <p:nvSpPr>
          <p:cNvPr id="22" name="Text Placeholder 21">
            <a:extLst>
              <a:ext uri="{FF2B5EF4-FFF2-40B4-BE49-F238E27FC236}">
                <a16:creationId xmlns:a16="http://schemas.microsoft.com/office/drawing/2014/main" id="{850E7613-AE91-B7D9-B5D5-D8F85B6C1085}"/>
              </a:ext>
            </a:extLst>
          </p:cNvPr>
          <p:cNvSpPr>
            <a:spLocks noGrp="1"/>
          </p:cNvSpPr>
          <p:nvPr>
            <p:ph type="body" sz="quarter" idx="13"/>
          </p:nvPr>
        </p:nvSpPr>
        <p:spPr/>
        <p:txBody>
          <a:bodyPr/>
          <a:lstStyle/>
          <a:p>
            <a:r>
              <a:rPr lang="en-GB"/>
              <a:t>The latest phase is the most challenging for foreign companies and global politics, but still offers opportunities.</a:t>
            </a:r>
          </a:p>
        </p:txBody>
      </p:sp>
      <p:graphicFrame>
        <p:nvGraphicFramePr>
          <p:cNvPr id="5" name="Chart 4">
            <a:extLst>
              <a:ext uri="{FF2B5EF4-FFF2-40B4-BE49-F238E27FC236}">
                <a16:creationId xmlns:a16="http://schemas.microsoft.com/office/drawing/2014/main" id="{4A9823FD-F175-42EE-8469-AC4D8AF4EEF7}"/>
              </a:ext>
            </a:extLst>
          </p:cNvPr>
          <p:cNvGraphicFramePr>
            <a:graphicFrameLocks/>
          </p:cNvGraphicFramePr>
          <p:nvPr/>
        </p:nvGraphicFramePr>
        <p:xfrm>
          <a:off x="4368799" y="2691196"/>
          <a:ext cx="7505400" cy="3676968"/>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Box 3">
            <a:extLst>
              <a:ext uri="{FF2B5EF4-FFF2-40B4-BE49-F238E27FC236}">
                <a16:creationId xmlns:a16="http://schemas.microsoft.com/office/drawing/2014/main" id="{7232492F-ED20-4F8C-8D1E-8D4BEC715A12}"/>
              </a:ext>
            </a:extLst>
          </p:cNvPr>
          <p:cNvSpPr txBox="1"/>
          <p:nvPr/>
        </p:nvSpPr>
        <p:spPr>
          <a:xfrm>
            <a:off x="5626918" y="2877590"/>
            <a:ext cx="1006454" cy="369332"/>
          </a:xfrm>
          <a:prstGeom prst="rect">
            <a:avLst/>
          </a:prstGeom>
          <a:noFill/>
        </p:spPr>
        <p:txBody>
          <a:bodyPr wrap="square" lIns="0" tIns="0" rIns="0" bIns="0" rtlCol="0">
            <a:spAutoFit/>
          </a:bodyPr>
          <a:lstStyle/>
          <a:p>
            <a:pPr algn="ctr"/>
            <a:r>
              <a:rPr lang="en-GB" sz="2400" b="1" kern="0">
                <a:latin typeface="+mj-lt"/>
              </a:rPr>
              <a:t>11%</a:t>
            </a:r>
          </a:p>
        </p:txBody>
      </p:sp>
      <p:sp>
        <p:nvSpPr>
          <p:cNvPr id="15" name="TextBox 14">
            <a:extLst>
              <a:ext uri="{FF2B5EF4-FFF2-40B4-BE49-F238E27FC236}">
                <a16:creationId xmlns:a16="http://schemas.microsoft.com/office/drawing/2014/main" id="{813A0EDC-F2F4-48DB-BDEA-2621A75B7755}"/>
              </a:ext>
            </a:extLst>
          </p:cNvPr>
          <p:cNvSpPr txBox="1"/>
          <p:nvPr/>
        </p:nvSpPr>
        <p:spPr>
          <a:xfrm>
            <a:off x="8521516" y="2926279"/>
            <a:ext cx="1006454" cy="369332"/>
          </a:xfrm>
          <a:prstGeom prst="rect">
            <a:avLst/>
          </a:prstGeom>
          <a:noFill/>
        </p:spPr>
        <p:txBody>
          <a:bodyPr wrap="square" lIns="0" tIns="0" rIns="0" bIns="0" rtlCol="0">
            <a:spAutoFit/>
          </a:bodyPr>
          <a:lstStyle/>
          <a:p>
            <a:pPr algn="ctr"/>
            <a:r>
              <a:rPr lang="en-GB" sz="2400" b="1" kern="0">
                <a:latin typeface="+mj-lt"/>
              </a:rPr>
              <a:t>8%</a:t>
            </a:r>
          </a:p>
        </p:txBody>
      </p:sp>
      <p:sp>
        <p:nvSpPr>
          <p:cNvPr id="16" name="TextBox 15">
            <a:extLst>
              <a:ext uri="{FF2B5EF4-FFF2-40B4-BE49-F238E27FC236}">
                <a16:creationId xmlns:a16="http://schemas.microsoft.com/office/drawing/2014/main" id="{C49CD28F-0FB8-40EF-9A58-3610E0166B2D}"/>
              </a:ext>
            </a:extLst>
          </p:cNvPr>
          <p:cNvSpPr txBox="1"/>
          <p:nvPr/>
        </p:nvSpPr>
        <p:spPr>
          <a:xfrm>
            <a:off x="10407427" y="2926279"/>
            <a:ext cx="1006454" cy="369332"/>
          </a:xfrm>
          <a:prstGeom prst="rect">
            <a:avLst/>
          </a:prstGeom>
          <a:noFill/>
        </p:spPr>
        <p:txBody>
          <a:bodyPr wrap="square" lIns="0" tIns="0" rIns="0" bIns="0" rtlCol="0">
            <a:spAutoFit/>
          </a:bodyPr>
          <a:lstStyle/>
          <a:p>
            <a:pPr algn="ctr"/>
            <a:r>
              <a:rPr lang="en-GB" sz="2400" b="1" kern="0">
                <a:latin typeface="+mj-lt"/>
              </a:rPr>
              <a:t>5%</a:t>
            </a:r>
          </a:p>
        </p:txBody>
      </p:sp>
      <p:sp>
        <p:nvSpPr>
          <p:cNvPr id="27" name="TextBox 26">
            <a:extLst>
              <a:ext uri="{FF2B5EF4-FFF2-40B4-BE49-F238E27FC236}">
                <a16:creationId xmlns:a16="http://schemas.microsoft.com/office/drawing/2014/main" id="{565AC8E3-F8CB-FEB7-3BF5-388DA0DD6DB0}"/>
              </a:ext>
            </a:extLst>
          </p:cNvPr>
          <p:cNvSpPr txBox="1"/>
          <p:nvPr/>
        </p:nvSpPr>
        <p:spPr>
          <a:xfrm>
            <a:off x="5308918" y="2098307"/>
            <a:ext cx="1642453" cy="430887"/>
          </a:xfrm>
          <a:prstGeom prst="rect">
            <a:avLst/>
          </a:prstGeom>
          <a:noFill/>
        </p:spPr>
        <p:txBody>
          <a:bodyPr wrap="square" lIns="0" tIns="0" rIns="0" bIns="0" rtlCol="0">
            <a:spAutoFit/>
          </a:bodyPr>
          <a:lstStyle/>
          <a:p>
            <a:pPr algn="ctr"/>
            <a:r>
              <a:rPr lang="en-GB" sz="1400" kern="0">
                <a:latin typeface="+mj-lt"/>
              </a:rPr>
              <a:t>Labour</a:t>
            </a:r>
          </a:p>
          <a:p>
            <a:pPr algn="ctr"/>
            <a:r>
              <a:rPr lang="en-GB" sz="1400" kern="0"/>
              <a:t>Exports</a:t>
            </a:r>
          </a:p>
        </p:txBody>
      </p:sp>
      <p:sp>
        <p:nvSpPr>
          <p:cNvPr id="28" name="TextBox 27">
            <a:extLst>
              <a:ext uri="{FF2B5EF4-FFF2-40B4-BE49-F238E27FC236}">
                <a16:creationId xmlns:a16="http://schemas.microsoft.com/office/drawing/2014/main" id="{9C626DA5-9236-D796-5CFD-3A1CAD6DDCC1}"/>
              </a:ext>
            </a:extLst>
          </p:cNvPr>
          <p:cNvSpPr txBox="1"/>
          <p:nvPr/>
        </p:nvSpPr>
        <p:spPr>
          <a:xfrm>
            <a:off x="8051799" y="2084832"/>
            <a:ext cx="1642453" cy="430887"/>
          </a:xfrm>
          <a:prstGeom prst="rect">
            <a:avLst/>
          </a:prstGeom>
          <a:noFill/>
        </p:spPr>
        <p:txBody>
          <a:bodyPr wrap="square" lIns="0" tIns="0" rIns="0" bIns="0" rtlCol="0">
            <a:spAutoFit/>
          </a:bodyPr>
          <a:lstStyle/>
          <a:p>
            <a:pPr algn="ctr"/>
            <a:r>
              <a:rPr lang="en-GB" sz="1400" kern="0">
                <a:latin typeface="+mj-lt"/>
              </a:rPr>
              <a:t>Capital</a:t>
            </a:r>
          </a:p>
          <a:p>
            <a:pPr algn="ctr"/>
            <a:r>
              <a:rPr lang="en-GB" sz="1400" kern="0"/>
              <a:t>Infrastructure</a:t>
            </a:r>
          </a:p>
        </p:txBody>
      </p:sp>
      <p:sp>
        <p:nvSpPr>
          <p:cNvPr id="29" name="TextBox 28">
            <a:extLst>
              <a:ext uri="{FF2B5EF4-FFF2-40B4-BE49-F238E27FC236}">
                <a16:creationId xmlns:a16="http://schemas.microsoft.com/office/drawing/2014/main" id="{AFF8E60B-A1B2-3B40-2369-CA15A56CB7AC}"/>
              </a:ext>
            </a:extLst>
          </p:cNvPr>
          <p:cNvSpPr txBox="1"/>
          <p:nvPr/>
        </p:nvSpPr>
        <p:spPr>
          <a:xfrm>
            <a:off x="10007598" y="2107803"/>
            <a:ext cx="1642453" cy="430887"/>
          </a:xfrm>
          <a:prstGeom prst="rect">
            <a:avLst/>
          </a:prstGeom>
          <a:noFill/>
        </p:spPr>
        <p:txBody>
          <a:bodyPr wrap="square" lIns="0" tIns="0" rIns="0" bIns="0" rtlCol="0">
            <a:spAutoFit/>
          </a:bodyPr>
          <a:lstStyle/>
          <a:p>
            <a:pPr algn="ctr"/>
            <a:r>
              <a:rPr lang="en-GB" sz="1400" kern="0">
                <a:latin typeface="+mj-lt"/>
              </a:rPr>
              <a:t>Productivity</a:t>
            </a:r>
          </a:p>
          <a:p>
            <a:pPr algn="ctr"/>
            <a:r>
              <a:rPr lang="en-GB" sz="1400" kern="0"/>
              <a:t>EVs, AI, BIO, etc</a:t>
            </a:r>
          </a:p>
        </p:txBody>
      </p:sp>
      <p:sp>
        <p:nvSpPr>
          <p:cNvPr id="3" name="Ghost">
            <a:extLst>
              <a:ext uri="{FF2B5EF4-FFF2-40B4-BE49-F238E27FC236}">
                <a16:creationId xmlns:a16="http://schemas.microsoft.com/office/drawing/2014/main" id="{51B7B2D2-4C65-B33F-4319-FF30C8BFACA9}"/>
              </a:ext>
            </a:extLst>
          </p:cNvPr>
          <p:cNvSpPr/>
          <p:nvPr/>
        </p:nvSpPr>
        <p:spPr>
          <a:xfrm>
            <a:off x="457200" y="107385"/>
            <a:ext cx="177452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Confronting permacrisis in Asia</a:t>
            </a:r>
          </a:p>
        </p:txBody>
      </p:sp>
    </p:spTree>
    <p:extLst>
      <p:ext uri="{BB962C8B-B14F-4D97-AF65-F5344CB8AC3E}">
        <p14:creationId xmlns:p14="http://schemas.microsoft.com/office/powerpoint/2010/main" val="21856681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E737F9-FE3B-4444-983F-29591B60E9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DAE737F9-FE3B-4444-983F-29591B60E9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building with many windows&#10;&#10;Description automatically generated">
            <a:extLst>
              <a:ext uri="{FF2B5EF4-FFF2-40B4-BE49-F238E27FC236}">
                <a16:creationId xmlns:a16="http://schemas.microsoft.com/office/drawing/2014/main" id="{4D30B53C-A46D-3E1B-8BAE-7ED7BB26899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6DB987E9-A8AF-34B9-2918-CA8EE864BBE2}"/>
              </a:ext>
            </a:extLst>
          </p:cNvPr>
          <p:cNvSpPr/>
          <p:nvPr/>
        </p:nvSpPr>
        <p:spPr>
          <a:xfrm>
            <a:off x="-1" y="-1"/>
            <a:ext cx="12192001" cy="6857999"/>
          </a:xfrm>
          <a:prstGeom prst="rect">
            <a:avLst/>
          </a:prstGeom>
          <a:gradFill flip="none" rotWithShape="1">
            <a:gsLst>
              <a:gs pos="0">
                <a:schemeClr val="tx1">
                  <a:alpha val="92000"/>
                </a:schemeClr>
              </a:gs>
              <a:gs pos="100000">
                <a:schemeClr val="tx1">
                  <a:alpha val="1000"/>
                </a:schemeClr>
              </a:gs>
            </a:gsLst>
            <a:lin ang="540000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18" name="Rectangle 17">
            <a:extLst>
              <a:ext uri="{FF2B5EF4-FFF2-40B4-BE49-F238E27FC236}">
                <a16:creationId xmlns:a16="http://schemas.microsoft.com/office/drawing/2014/main" id="{56678D64-35E3-4F13-8D11-A6F0E86407B0}"/>
              </a:ext>
            </a:extLst>
          </p:cNvPr>
          <p:cNvSpPr/>
          <p:nvPr/>
        </p:nvSpPr>
        <p:spPr>
          <a:xfrm>
            <a:off x="3909235" y="1501298"/>
            <a:ext cx="4373528" cy="1016000"/>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defTabSz="914370">
              <a:buClr>
                <a:srgbClr val="000000"/>
              </a:buClr>
            </a:pPr>
            <a:r>
              <a:rPr lang="en-GB" sz="3800" b="1" kern="0">
                <a:solidFill>
                  <a:srgbClr val="FFFFFF"/>
                </a:solidFill>
                <a:latin typeface="+mj-lt"/>
                <a:cs typeface="Calibri" panose="020F0502020204030204" pitchFamily="34" charset="0"/>
              </a:rPr>
              <a:t>Are we Really able </a:t>
            </a:r>
            <a:br>
              <a:rPr lang="en-GB" sz="3800" b="1" kern="0">
                <a:solidFill>
                  <a:srgbClr val="FFFFFF"/>
                </a:solidFill>
                <a:latin typeface="+mj-lt"/>
                <a:cs typeface="Calibri" panose="020F0502020204030204" pitchFamily="34" charset="0"/>
              </a:rPr>
            </a:br>
            <a:r>
              <a:rPr lang="en-GB" sz="3800" b="1" kern="0">
                <a:solidFill>
                  <a:srgbClr val="FFFFFF"/>
                </a:solidFill>
                <a:latin typeface="+mj-lt"/>
                <a:cs typeface="Calibri" panose="020F0502020204030204" pitchFamily="34" charset="0"/>
              </a:rPr>
              <a:t>to forecast crises?</a:t>
            </a:r>
            <a:endParaRPr lang="en-GB" sz="3800" kern="0">
              <a:solidFill>
                <a:srgbClr val="FFFFFF"/>
              </a:solidFill>
              <a:latin typeface="+mj-lt"/>
              <a:cs typeface="Calibri" panose="020F0502020204030204" pitchFamily="34" charset="0"/>
            </a:endParaRPr>
          </a:p>
        </p:txBody>
      </p:sp>
    </p:spTree>
    <p:extLst>
      <p:ext uri="{BB962C8B-B14F-4D97-AF65-F5344CB8AC3E}">
        <p14:creationId xmlns:p14="http://schemas.microsoft.com/office/powerpoint/2010/main" val="39095010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AEB06C-B1C5-4540-8D30-664DFB1F6D5D}"/>
              </a:ext>
            </a:extLst>
          </p:cNvPr>
          <p:cNvGraphicFramePr>
            <a:graphicFrameLocks noChangeAspect="1"/>
          </p:cNvGraphicFramePr>
          <p:nvPr>
            <p:custDataLst>
              <p:tags r:id="rId1"/>
            </p:custDataLst>
            <p:extLst>
              <p:ext uri="{D42A27DB-BD31-4B8C-83A1-F6EECF244321}">
                <p14:modId xmlns:p14="http://schemas.microsoft.com/office/powerpoint/2010/main" val="1063663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8" name="Object 7" hidden="1">
                        <a:extLst>
                          <a:ext uri="{FF2B5EF4-FFF2-40B4-BE49-F238E27FC236}">
                            <a16:creationId xmlns:a16="http://schemas.microsoft.com/office/drawing/2014/main" id="{8AAEB06C-B1C5-4540-8D30-664DFB1F6D5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graphicFrame>
        <p:nvGraphicFramePr>
          <p:cNvPr id="9" name="Chart 8">
            <a:extLst>
              <a:ext uri="{FF2B5EF4-FFF2-40B4-BE49-F238E27FC236}">
                <a16:creationId xmlns:a16="http://schemas.microsoft.com/office/drawing/2014/main" id="{0B073EC6-8630-9585-0C6B-8C48EE884F89}"/>
              </a:ext>
            </a:extLst>
          </p:cNvPr>
          <p:cNvGraphicFramePr/>
          <p:nvPr>
            <p:custDataLst>
              <p:tags r:id="rId2"/>
            </p:custDataLst>
            <p:extLst>
              <p:ext uri="{D42A27DB-BD31-4B8C-83A1-F6EECF244321}">
                <p14:modId xmlns:p14="http://schemas.microsoft.com/office/powerpoint/2010/main" val="2671804829"/>
              </p:ext>
            </p:extLst>
          </p:nvPr>
        </p:nvGraphicFramePr>
        <p:xfrm>
          <a:off x="6488113" y="1992313"/>
          <a:ext cx="4418012" cy="4068762"/>
        </p:xfrm>
        <a:graphic>
          <a:graphicData uri="http://schemas.openxmlformats.org/drawingml/2006/chart">
            <c:chart xmlns:c="http://schemas.openxmlformats.org/drawingml/2006/chart" xmlns:r="http://schemas.openxmlformats.org/officeDocument/2006/relationships" r:id="rId27"/>
          </a:graphicData>
        </a:graphic>
      </p:graphicFrame>
      <p:sp>
        <p:nvSpPr>
          <p:cNvPr id="49" name="BodyText">
            <a:extLst>
              <a:ext uri="{FF2B5EF4-FFF2-40B4-BE49-F238E27FC236}">
                <a16:creationId xmlns:a16="http://schemas.microsoft.com/office/drawing/2014/main" id="{613453EC-7450-48E8-9F76-5E6F6802BDEA}"/>
              </a:ext>
            </a:extLst>
          </p:cNvPr>
          <p:cNvSpPr>
            <a:spLocks noGrp="1"/>
          </p:cNvSpPr>
          <p:nvPr>
            <p:custDataLst>
              <p:tags r:id="rId3"/>
            </p:custDataLst>
          </p:nvPr>
        </p:nvSpPr>
        <p:spPr bwMode="gray">
          <a:xfrm>
            <a:off x="6415088" y="6029326"/>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18096539-8375-4903-986F-D5B4FCF11683}" type="datetime'''''2''''''''''00''''''''''''''''''0'''''''">
              <a:rPr lang="en-GB" altLang="en-US" sz="1200" smtClean="0">
                <a:effectLst/>
              </a:rPr>
              <a:pPr marL="0" lvl="0" indent="0" algn="ctr">
                <a:spcBef>
                  <a:spcPct val="0"/>
                </a:spcBef>
                <a:spcAft>
                  <a:spcPct val="0"/>
                </a:spcAft>
                <a:buNone/>
              </a:pPr>
              <a:t>2000</a:t>
            </a:fld>
            <a:endParaRPr lang="en-GB" sz="1200"/>
          </a:p>
        </p:txBody>
      </p:sp>
      <p:sp>
        <p:nvSpPr>
          <p:cNvPr id="50" name="BodyText">
            <a:extLst>
              <a:ext uri="{FF2B5EF4-FFF2-40B4-BE49-F238E27FC236}">
                <a16:creationId xmlns:a16="http://schemas.microsoft.com/office/drawing/2014/main" id="{E03B5525-C8F3-4994-A7B4-0343D41D92D4}"/>
              </a:ext>
            </a:extLst>
          </p:cNvPr>
          <p:cNvSpPr>
            <a:spLocks noGrp="1"/>
          </p:cNvSpPr>
          <p:nvPr>
            <p:custDataLst>
              <p:tags r:id="rId4"/>
            </p:custDataLst>
          </p:nvPr>
        </p:nvSpPr>
        <p:spPr bwMode="gray">
          <a:xfrm>
            <a:off x="7124700" y="6029326"/>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2E25EBE6-6B21-43AD-95E9-261FAA3F7911}" type="datetime'''''''''2''''''''''''00''''''''5'''''''''''''''''">
              <a:rPr lang="en-GB" altLang="en-US" sz="1200" smtClean="0">
                <a:effectLst/>
              </a:rPr>
              <a:pPr marL="0" lvl="0" indent="0" algn="ctr">
                <a:spcBef>
                  <a:spcPct val="0"/>
                </a:spcBef>
                <a:spcAft>
                  <a:spcPct val="0"/>
                </a:spcAft>
                <a:buNone/>
              </a:pPr>
              <a:t>2005</a:t>
            </a:fld>
            <a:endParaRPr lang="en-GB" sz="1200"/>
          </a:p>
        </p:txBody>
      </p:sp>
      <p:sp>
        <p:nvSpPr>
          <p:cNvPr id="51" name="BodyText">
            <a:extLst>
              <a:ext uri="{FF2B5EF4-FFF2-40B4-BE49-F238E27FC236}">
                <a16:creationId xmlns:a16="http://schemas.microsoft.com/office/drawing/2014/main" id="{24520842-AB6D-41C6-AD6B-D157AE40D426}"/>
              </a:ext>
            </a:extLst>
          </p:cNvPr>
          <p:cNvSpPr>
            <a:spLocks noGrp="1"/>
          </p:cNvSpPr>
          <p:nvPr>
            <p:custDataLst>
              <p:tags r:id="rId5"/>
            </p:custDataLst>
          </p:nvPr>
        </p:nvSpPr>
        <p:spPr bwMode="gray">
          <a:xfrm>
            <a:off x="8542338" y="6029326"/>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2EEB3F19-E204-40EF-9102-01E26D352467}" type="datetime'''''''''''''''''''''''''''''''''2''0''''''''1''''5'''">
              <a:rPr lang="en-GB" altLang="en-US" sz="1200" smtClean="0">
                <a:effectLst/>
              </a:rPr>
              <a:pPr marL="0" lvl="0" indent="0" algn="ctr">
                <a:spcBef>
                  <a:spcPct val="0"/>
                </a:spcBef>
                <a:spcAft>
                  <a:spcPct val="0"/>
                </a:spcAft>
                <a:buNone/>
              </a:pPr>
              <a:t>2015</a:t>
            </a:fld>
            <a:endParaRPr lang="en-GB" sz="1200"/>
          </a:p>
        </p:txBody>
      </p:sp>
      <p:sp>
        <p:nvSpPr>
          <p:cNvPr id="52" name="BodyText">
            <a:extLst>
              <a:ext uri="{FF2B5EF4-FFF2-40B4-BE49-F238E27FC236}">
                <a16:creationId xmlns:a16="http://schemas.microsoft.com/office/drawing/2014/main" id="{A0A81B36-0825-49F4-AC18-146C6491CF6D}"/>
              </a:ext>
            </a:extLst>
          </p:cNvPr>
          <p:cNvSpPr>
            <a:spLocks noGrp="1"/>
          </p:cNvSpPr>
          <p:nvPr>
            <p:custDataLst>
              <p:tags r:id="rId6"/>
            </p:custDataLst>
          </p:nvPr>
        </p:nvSpPr>
        <p:spPr bwMode="gray">
          <a:xfrm>
            <a:off x="9959975" y="6029326"/>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BCD5962C-DF76-4897-91A0-166141ACAB48}" type="datetime'''''''''''''''''''2''''''''''''''''''''0''''2''''''''5'''">
              <a:rPr lang="en-GB" altLang="en-US" sz="1200" smtClean="0">
                <a:effectLst/>
              </a:rPr>
              <a:pPr marL="0" lvl="0" indent="0" algn="ctr">
                <a:spcBef>
                  <a:spcPct val="0"/>
                </a:spcBef>
                <a:spcAft>
                  <a:spcPct val="0"/>
                </a:spcAft>
                <a:buNone/>
              </a:pPr>
              <a:t>2025</a:t>
            </a:fld>
            <a:endParaRPr lang="en-GB" sz="1200"/>
          </a:p>
        </p:txBody>
      </p:sp>
      <p:sp>
        <p:nvSpPr>
          <p:cNvPr id="537" name="BodyText">
            <a:extLst>
              <a:ext uri="{FF2B5EF4-FFF2-40B4-BE49-F238E27FC236}">
                <a16:creationId xmlns:a16="http://schemas.microsoft.com/office/drawing/2014/main" id="{84D661F9-23D5-42BC-BFF0-70A035E21CB2}"/>
              </a:ext>
            </a:extLst>
          </p:cNvPr>
          <p:cNvSpPr>
            <a:spLocks noGrp="1"/>
          </p:cNvSpPr>
          <p:nvPr>
            <p:custDataLst>
              <p:tags r:id="rId7"/>
            </p:custDataLst>
          </p:nvPr>
        </p:nvSpPr>
        <p:spPr bwMode="gray">
          <a:xfrm>
            <a:off x="10668000" y="6029325"/>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6EE77604-B968-409D-B141-9BDA18C13518}" type="datetime'''''''2''0''''''''''''''3''0'''''''''''">
              <a:rPr lang="en-GB" altLang="en-US" sz="1200" smtClean="0">
                <a:effectLst/>
                <a:cs typeface="Calibri" panose="020F0502020204030204" pitchFamily="34" charset="0"/>
              </a:rPr>
              <a:pPr marL="0" indent="0" algn="ctr">
                <a:spcBef>
                  <a:spcPct val="0"/>
                </a:spcBef>
                <a:spcAft>
                  <a:spcPct val="0"/>
                </a:spcAft>
                <a:buNone/>
              </a:pPr>
              <a:t>2030</a:t>
            </a:fld>
            <a:endParaRPr lang="en-GB" sz="1200">
              <a:cs typeface="Calibri" panose="020F0502020204030204" pitchFamily="34" charset="0"/>
            </a:endParaRPr>
          </a:p>
        </p:txBody>
      </p:sp>
      <p:sp>
        <p:nvSpPr>
          <p:cNvPr id="590" name="BodyText">
            <a:extLst>
              <a:ext uri="{FF2B5EF4-FFF2-40B4-BE49-F238E27FC236}">
                <a16:creationId xmlns:a16="http://schemas.microsoft.com/office/drawing/2014/main" id="{30A7B0BA-80E6-4A9A-B051-D4E6D79C0243}"/>
              </a:ext>
            </a:extLst>
          </p:cNvPr>
          <p:cNvSpPr>
            <a:spLocks noGrp="1"/>
          </p:cNvSpPr>
          <p:nvPr>
            <p:custDataLst>
              <p:tags r:id="rId8"/>
            </p:custDataLst>
          </p:nvPr>
        </p:nvSpPr>
        <p:spPr bwMode="gray">
          <a:xfrm>
            <a:off x="6391275" y="5888038"/>
            <a:ext cx="77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16573E97-F829-4E74-B4FD-759B21F4B160}" type="datetime'''''''''''1'''''">
              <a:rPr lang="en-GB" altLang="en-US" sz="1200" smtClean="0">
                <a:cs typeface="Calibri" panose="020F0502020204030204" pitchFamily="34" charset="0"/>
              </a:rPr>
              <a:pPr marL="0" indent="0" algn="r">
                <a:spcBef>
                  <a:spcPct val="0"/>
                </a:spcBef>
                <a:spcAft>
                  <a:spcPct val="0"/>
                </a:spcAft>
                <a:buNone/>
              </a:pPr>
              <a:t>1</a:t>
            </a:fld>
            <a:endParaRPr lang="en-GB" sz="1200">
              <a:cs typeface="Calibri" panose="020F0502020204030204" pitchFamily="34" charset="0"/>
            </a:endParaRPr>
          </a:p>
        </p:txBody>
      </p:sp>
      <p:sp>
        <p:nvSpPr>
          <p:cNvPr id="591" name="BodyText">
            <a:extLst>
              <a:ext uri="{FF2B5EF4-FFF2-40B4-BE49-F238E27FC236}">
                <a16:creationId xmlns:a16="http://schemas.microsoft.com/office/drawing/2014/main" id="{BBB9E0A7-C985-4D78-927B-C2CD0F059094}"/>
              </a:ext>
            </a:extLst>
          </p:cNvPr>
          <p:cNvSpPr>
            <a:spLocks noGrp="1"/>
          </p:cNvSpPr>
          <p:nvPr>
            <p:custDataLst>
              <p:tags r:id="rId9"/>
            </p:custDataLst>
          </p:nvPr>
        </p:nvSpPr>
        <p:spPr bwMode="gray">
          <a:xfrm>
            <a:off x="6313488" y="4911725"/>
            <a:ext cx="155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18A75923-0986-4199-9DFF-20ADD73C1C3F}" type="datetime'''''''''''''10'''''''''''''''''">
              <a:rPr lang="en-GB" altLang="en-US" sz="1200" smtClean="0">
                <a:cs typeface="Calibri" panose="020F0502020204030204" pitchFamily="34" charset="0"/>
              </a:rPr>
              <a:pPr marL="0" indent="0" algn="r">
                <a:spcBef>
                  <a:spcPct val="0"/>
                </a:spcBef>
                <a:spcAft>
                  <a:spcPct val="0"/>
                </a:spcAft>
                <a:buNone/>
              </a:pPr>
              <a:t>10</a:t>
            </a:fld>
            <a:endParaRPr lang="en-GB" sz="1200">
              <a:cs typeface="Calibri" panose="020F0502020204030204" pitchFamily="34" charset="0"/>
            </a:endParaRPr>
          </a:p>
        </p:txBody>
      </p:sp>
      <p:sp>
        <p:nvSpPr>
          <p:cNvPr id="592" name="BodyText">
            <a:extLst>
              <a:ext uri="{FF2B5EF4-FFF2-40B4-BE49-F238E27FC236}">
                <a16:creationId xmlns:a16="http://schemas.microsoft.com/office/drawing/2014/main" id="{5CFE6DED-3F6C-4DA3-B837-76BF1E34CA62}"/>
              </a:ext>
            </a:extLst>
          </p:cNvPr>
          <p:cNvSpPr>
            <a:spLocks noGrp="1"/>
          </p:cNvSpPr>
          <p:nvPr>
            <p:custDataLst>
              <p:tags r:id="rId10"/>
            </p:custDataLst>
          </p:nvPr>
        </p:nvSpPr>
        <p:spPr bwMode="gray">
          <a:xfrm>
            <a:off x="6235700" y="3937000"/>
            <a:ext cx="233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AA9AA0BC-DE6B-4106-BF45-990731450C2E}" type="datetime'''''''''''''''''''1''0''''''''''0'''''">
              <a:rPr lang="en-GB" altLang="en-US" sz="1200" smtClean="0">
                <a:cs typeface="Calibri" panose="020F0502020204030204" pitchFamily="34" charset="0"/>
              </a:rPr>
              <a:pPr marL="0" indent="0" algn="r">
                <a:spcBef>
                  <a:spcPct val="0"/>
                </a:spcBef>
                <a:spcAft>
                  <a:spcPct val="0"/>
                </a:spcAft>
                <a:buNone/>
              </a:pPr>
              <a:t>100</a:t>
            </a:fld>
            <a:endParaRPr lang="en-GB" sz="1200">
              <a:cs typeface="Calibri" panose="020F0502020204030204" pitchFamily="34" charset="0"/>
            </a:endParaRPr>
          </a:p>
        </p:txBody>
      </p:sp>
      <p:sp>
        <p:nvSpPr>
          <p:cNvPr id="430" name="BodyText">
            <a:extLst>
              <a:ext uri="{FF2B5EF4-FFF2-40B4-BE49-F238E27FC236}">
                <a16:creationId xmlns:a16="http://schemas.microsoft.com/office/drawing/2014/main" id="{F7111433-DD5D-4E6E-876E-529DA79F4274}"/>
              </a:ext>
            </a:extLst>
          </p:cNvPr>
          <p:cNvSpPr>
            <a:spLocks noGrp="1"/>
          </p:cNvSpPr>
          <p:nvPr>
            <p:custDataLst>
              <p:tags r:id="rId11"/>
            </p:custDataLst>
          </p:nvPr>
        </p:nvSpPr>
        <p:spPr bwMode="gray">
          <a:xfrm>
            <a:off x="6119813" y="296068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4928F7D2-1B89-4396-A60F-34F578830E0A}" type="datetime'1'''''''''''',''''''''00''''''0'''''''''''''''''''''">
              <a:rPr lang="en-GB" altLang="en-US" sz="1200" smtClean="0">
                <a:cs typeface="Calibri" panose="020F0502020204030204" pitchFamily="34" charset="0"/>
              </a:rPr>
              <a:pPr marL="0" indent="0" algn="r">
                <a:spcBef>
                  <a:spcPct val="0"/>
                </a:spcBef>
                <a:spcAft>
                  <a:spcPct val="0"/>
                </a:spcAft>
                <a:buNone/>
              </a:pPr>
              <a:t>1,000</a:t>
            </a:fld>
            <a:endParaRPr lang="en-GB" sz="1200">
              <a:cs typeface="Calibri" panose="020F0502020204030204" pitchFamily="34" charset="0"/>
            </a:endParaRPr>
          </a:p>
        </p:txBody>
      </p:sp>
      <p:sp>
        <p:nvSpPr>
          <p:cNvPr id="593" name="BodyText">
            <a:extLst>
              <a:ext uri="{FF2B5EF4-FFF2-40B4-BE49-F238E27FC236}">
                <a16:creationId xmlns:a16="http://schemas.microsoft.com/office/drawing/2014/main" id="{EDF66EFF-062F-45A3-A8C6-88738F2A8B5D}"/>
              </a:ext>
            </a:extLst>
          </p:cNvPr>
          <p:cNvSpPr>
            <a:spLocks noGrp="1"/>
          </p:cNvSpPr>
          <p:nvPr>
            <p:custDataLst>
              <p:tags r:id="rId12"/>
            </p:custDataLst>
          </p:nvPr>
        </p:nvSpPr>
        <p:spPr bwMode="gray">
          <a:xfrm>
            <a:off x="6042025" y="1984375"/>
            <a:ext cx="427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8CEA8FE7-D1E4-4522-8F4D-F5049AAABCFC}" type="datetime'''''''''''''''''''1''''0'',''''''''''0''00'''''''''''">
              <a:rPr lang="en-GB" altLang="en-US" sz="1200" smtClean="0">
                <a:cs typeface="Calibri" panose="020F0502020204030204" pitchFamily="34" charset="0"/>
              </a:rPr>
              <a:pPr marL="0" indent="0" algn="r">
                <a:spcBef>
                  <a:spcPct val="0"/>
                </a:spcBef>
                <a:spcAft>
                  <a:spcPct val="0"/>
                </a:spcAft>
                <a:buNone/>
              </a:pPr>
              <a:t>10,000</a:t>
            </a:fld>
            <a:endParaRPr lang="en-GB" sz="1200">
              <a:cs typeface="Calibri" panose="020F0502020204030204" pitchFamily="34" charset="0"/>
            </a:endParaRPr>
          </a:p>
        </p:txBody>
      </p:sp>
      <p:sp>
        <p:nvSpPr>
          <p:cNvPr id="2" name="Title 1">
            <a:extLst>
              <a:ext uri="{FF2B5EF4-FFF2-40B4-BE49-F238E27FC236}">
                <a16:creationId xmlns:a16="http://schemas.microsoft.com/office/drawing/2014/main" id="{FDF4DD68-0661-4AB8-9043-4C931F143101}"/>
              </a:ext>
            </a:extLst>
          </p:cNvPr>
          <p:cNvSpPr>
            <a:spLocks noGrp="1"/>
          </p:cNvSpPr>
          <p:nvPr>
            <p:ph type="title"/>
          </p:nvPr>
        </p:nvSpPr>
        <p:spPr/>
        <p:txBody>
          <a:bodyPr vert="horz"/>
          <a:lstStyle/>
          <a:p>
            <a:r>
              <a:rPr lang="en-GB">
                <a:cs typeface="Calibri" panose="020F0502020204030204" pitchFamily="34" charset="0"/>
              </a:rPr>
              <a:t>forecasting usually fails</a:t>
            </a:r>
          </a:p>
        </p:txBody>
      </p:sp>
      <p:sp>
        <p:nvSpPr>
          <p:cNvPr id="3" name="Text Placeholder 2">
            <a:extLst>
              <a:ext uri="{FF2B5EF4-FFF2-40B4-BE49-F238E27FC236}">
                <a16:creationId xmlns:a16="http://schemas.microsoft.com/office/drawing/2014/main" id="{A8F780B0-3216-4C43-910A-51B83C5A4ED2}"/>
              </a:ext>
            </a:extLst>
          </p:cNvPr>
          <p:cNvSpPr>
            <a:spLocks noGrp="1"/>
          </p:cNvSpPr>
          <p:nvPr>
            <p:ph type="body" idx="10"/>
          </p:nvPr>
        </p:nvSpPr>
        <p:spPr/>
        <p:txBody>
          <a:bodyPr vert="horz" lIns="0" tIns="0" rIns="0" bIns="0" rtlCol="0" anchor="t">
            <a:noAutofit/>
          </a:bodyPr>
          <a:lstStyle/>
          <a:p>
            <a:r>
              <a:rPr lang="en-GB" sz="1600">
                <a:cs typeface="Calibri" panose="020F0502020204030204" pitchFamily="34" charset="0"/>
              </a:rPr>
              <a:t>In the short term…</a:t>
            </a:r>
          </a:p>
          <a:p>
            <a:r>
              <a:rPr lang="en-GB" sz="1600" b="0">
                <a:cs typeface="Calibri" panose="020F0502020204030204" pitchFamily="34" charset="0"/>
              </a:rPr>
              <a:t>Consumer prices</a:t>
            </a:r>
            <a:r>
              <a:rPr lang="en-GB" sz="1600" b="0" baseline="30000">
                <a:cs typeface="Calibri" panose="020F0502020204030204" pitchFamily="34" charset="0"/>
              </a:rPr>
              <a:t>1</a:t>
            </a:r>
            <a:r>
              <a:rPr lang="en-GB" sz="1600" b="0">
                <a:cs typeface="Calibri" panose="020F0502020204030204" pitchFamily="34" charset="0"/>
              </a:rPr>
              <a:t>, %</a:t>
            </a:r>
          </a:p>
        </p:txBody>
      </p:sp>
      <p:sp>
        <p:nvSpPr>
          <p:cNvPr id="5" name="Text Placeholder 4">
            <a:extLst>
              <a:ext uri="{FF2B5EF4-FFF2-40B4-BE49-F238E27FC236}">
                <a16:creationId xmlns:a16="http://schemas.microsoft.com/office/drawing/2014/main" id="{92E1D42A-C52A-4354-B837-A487A4CB7E2D}"/>
              </a:ext>
            </a:extLst>
          </p:cNvPr>
          <p:cNvSpPr>
            <a:spLocks noGrp="1"/>
          </p:cNvSpPr>
          <p:nvPr>
            <p:ph type="body" sz="quarter" idx="13"/>
          </p:nvPr>
        </p:nvSpPr>
        <p:spPr>
          <a:xfrm>
            <a:off x="6059488" y="1399032"/>
            <a:ext cx="5410200" cy="429768"/>
          </a:xfrm>
        </p:spPr>
        <p:txBody>
          <a:bodyPr/>
          <a:lstStyle/>
          <a:p>
            <a:r>
              <a:rPr lang="en-GB" sz="1600">
                <a:cs typeface="Calibri" panose="020F0502020204030204" pitchFamily="34" charset="0"/>
              </a:rPr>
              <a:t>And in the long term…</a:t>
            </a:r>
          </a:p>
          <a:p>
            <a:r>
              <a:rPr lang="en-GB" sz="1600" b="0">
                <a:cs typeface="Calibri" panose="020F0502020204030204" pitchFamily="34" charset="0"/>
              </a:rPr>
              <a:t>Photovoltaic capacity</a:t>
            </a:r>
            <a:r>
              <a:rPr lang="en-GB" sz="1600" b="0" baseline="30000">
                <a:cs typeface="Calibri" panose="020F0502020204030204" pitchFamily="34" charset="0"/>
              </a:rPr>
              <a:t>2</a:t>
            </a:r>
            <a:r>
              <a:rPr lang="en-GB" sz="1600" b="0">
                <a:cs typeface="Calibri" panose="020F0502020204030204" pitchFamily="34" charset="0"/>
              </a:rPr>
              <a:t>, GW</a:t>
            </a:r>
          </a:p>
        </p:txBody>
      </p:sp>
      <p:graphicFrame>
        <p:nvGraphicFramePr>
          <p:cNvPr id="10" name="Chart 9">
            <a:extLst>
              <a:ext uri="{FF2B5EF4-FFF2-40B4-BE49-F238E27FC236}">
                <a16:creationId xmlns:a16="http://schemas.microsoft.com/office/drawing/2014/main" id="{33CE47E4-62A5-C1C4-E06D-89DBED180455}"/>
              </a:ext>
            </a:extLst>
          </p:cNvPr>
          <p:cNvGraphicFramePr/>
          <p:nvPr>
            <p:custDataLst>
              <p:tags r:id="rId13"/>
            </p:custDataLst>
            <p:extLst>
              <p:ext uri="{D42A27DB-BD31-4B8C-83A1-F6EECF244321}">
                <p14:modId xmlns:p14="http://schemas.microsoft.com/office/powerpoint/2010/main" val="3743027529"/>
              </p:ext>
            </p:extLst>
          </p:nvPr>
        </p:nvGraphicFramePr>
        <p:xfrm>
          <a:off x="630238" y="1992313"/>
          <a:ext cx="4384675" cy="3987800"/>
        </p:xfrm>
        <a:graphic>
          <a:graphicData uri="http://schemas.openxmlformats.org/drawingml/2006/chart">
            <c:chart xmlns:c="http://schemas.openxmlformats.org/drawingml/2006/chart" xmlns:r="http://schemas.openxmlformats.org/officeDocument/2006/relationships" r:id="rId28"/>
          </a:graphicData>
        </a:graphic>
      </p:graphicFrame>
      <p:sp>
        <p:nvSpPr>
          <p:cNvPr id="69" name="BodyText">
            <a:extLst>
              <a:ext uri="{FF2B5EF4-FFF2-40B4-BE49-F238E27FC236}">
                <a16:creationId xmlns:a16="http://schemas.microsoft.com/office/drawing/2014/main" id="{099FBB6A-148E-437C-A367-C4FB64F9EFDC}"/>
              </a:ext>
            </a:extLst>
          </p:cNvPr>
          <p:cNvSpPr>
            <a:spLocks noGrp="1"/>
          </p:cNvSpPr>
          <p:nvPr>
            <p:custDataLst>
              <p:tags r:id="rId14"/>
            </p:custDataLst>
          </p:nvPr>
        </p:nvSpPr>
        <p:spPr bwMode="gray">
          <a:xfrm>
            <a:off x="533400" y="5459413"/>
            <a:ext cx="77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FB2AB2C1-AB26-423A-8A5C-39A24AB0EC1B}" type="datetime'''''''''''''''''''0'''''''''''''''''''">
              <a:rPr lang="en-GB" altLang="en-US" sz="1200" smtClean="0">
                <a:cs typeface="Calibri" panose="020F0502020204030204" pitchFamily="34" charset="0"/>
              </a:rPr>
              <a:pPr marL="0" indent="0" algn="r">
                <a:spcBef>
                  <a:spcPct val="0"/>
                </a:spcBef>
                <a:spcAft>
                  <a:spcPct val="0"/>
                </a:spcAft>
                <a:buNone/>
              </a:pPr>
              <a:t>0</a:t>
            </a:fld>
            <a:endParaRPr lang="en-GB" sz="1200">
              <a:cs typeface="Calibri" panose="020F0502020204030204" pitchFamily="34" charset="0"/>
            </a:endParaRPr>
          </a:p>
        </p:txBody>
      </p:sp>
      <p:sp>
        <p:nvSpPr>
          <p:cNvPr id="341" name="BodyText">
            <a:extLst>
              <a:ext uri="{FF2B5EF4-FFF2-40B4-BE49-F238E27FC236}">
                <a16:creationId xmlns:a16="http://schemas.microsoft.com/office/drawing/2014/main" id="{E08B9300-5388-47C8-A8AB-DAF682F8F1EB}"/>
              </a:ext>
            </a:extLst>
          </p:cNvPr>
          <p:cNvSpPr>
            <a:spLocks noGrp="1"/>
          </p:cNvSpPr>
          <p:nvPr>
            <p:custDataLst>
              <p:tags r:id="rId15"/>
            </p:custDataLst>
          </p:nvPr>
        </p:nvSpPr>
        <p:spPr bwMode="gray">
          <a:xfrm>
            <a:off x="533400" y="4764088"/>
            <a:ext cx="77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772CB3E1-02F6-4E6A-A218-F977CB595F71}" type="datetime'''2'''''''''''''''''''''''''''''''''''''''''''''''''''''">
              <a:rPr lang="en-GB" altLang="en-US" sz="1200" smtClean="0">
                <a:cs typeface="Calibri" panose="020F0502020204030204" pitchFamily="34" charset="0"/>
              </a:rPr>
              <a:pPr marL="0" indent="0" algn="r">
                <a:spcBef>
                  <a:spcPct val="0"/>
                </a:spcBef>
                <a:spcAft>
                  <a:spcPct val="0"/>
                </a:spcAft>
                <a:buNone/>
              </a:pPr>
              <a:t>2</a:t>
            </a:fld>
            <a:endParaRPr lang="en-GB" sz="1200">
              <a:cs typeface="Calibri" panose="020F0502020204030204" pitchFamily="34" charset="0"/>
            </a:endParaRPr>
          </a:p>
        </p:txBody>
      </p:sp>
      <p:sp>
        <p:nvSpPr>
          <p:cNvPr id="345" name="BodyText">
            <a:extLst>
              <a:ext uri="{FF2B5EF4-FFF2-40B4-BE49-F238E27FC236}">
                <a16:creationId xmlns:a16="http://schemas.microsoft.com/office/drawing/2014/main" id="{D680F452-C281-4D15-965F-786D4BB73986}"/>
              </a:ext>
            </a:extLst>
          </p:cNvPr>
          <p:cNvSpPr>
            <a:spLocks noGrp="1"/>
          </p:cNvSpPr>
          <p:nvPr>
            <p:custDataLst>
              <p:tags r:id="rId16"/>
            </p:custDataLst>
          </p:nvPr>
        </p:nvSpPr>
        <p:spPr bwMode="gray">
          <a:xfrm>
            <a:off x="533400" y="4068763"/>
            <a:ext cx="77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DC07E65E-3201-4B36-AF11-C5B596BFA68F}" type="datetime'''''''''''''''''''''''''''''''''''''''''''''''''''''''''''4'">
              <a:rPr lang="en-GB" altLang="en-US" sz="1200" smtClean="0">
                <a:cs typeface="Calibri" panose="020F0502020204030204" pitchFamily="34" charset="0"/>
              </a:rPr>
              <a:pPr marL="0" indent="0" algn="r">
                <a:spcBef>
                  <a:spcPct val="0"/>
                </a:spcBef>
                <a:spcAft>
                  <a:spcPct val="0"/>
                </a:spcAft>
                <a:buNone/>
              </a:pPr>
              <a:t>4</a:t>
            </a:fld>
            <a:endParaRPr lang="en-GB" sz="1200">
              <a:cs typeface="Calibri" panose="020F0502020204030204" pitchFamily="34" charset="0"/>
            </a:endParaRPr>
          </a:p>
        </p:txBody>
      </p:sp>
      <p:sp>
        <p:nvSpPr>
          <p:cNvPr id="349" name="BodyText">
            <a:extLst>
              <a:ext uri="{FF2B5EF4-FFF2-40B4-BE49-F238E27FC236}">
                <a16:creationId xmlns:a16="http://schemas.microsoft.com/office/drawing/2014/main" id="{84D20EA8-B92C-407D-AAC3-EEEF7B01ACA6}"/>
              </a:ext>
            </a:extLst>
          </p:cNvPr>
          <p:cNvSpPr>
            <a:spLocks noGrp="1"/>
          </p:cNvSpPr>
          <p:nvPr>
            <p:custDataLst>
              <p:tags r:id="rId17"/>
            </p:custDataLst>
          </p:nvPr>
        </p:nvSpPr>
        <p:spPr bwMode="gray">
          <a:xfrm>
            <a:off x="533400" y="3375025"/>
            <a:ext cx="77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0FA76DD6-2797-4C73-8FCB-2359AAF5AC43}" type="datetime'''''''''''6'''''''''''''''''''''''">
              <a:rPr lang="en-GB" altLang="en-US" sz="1200" smtClean="0">
                <a:cs typeface="Calibri" panose="020F0502020204030204" pitchFamily="34" charset="0"/>
              </a:rPr>
              <a:pPr marL="0" indent="0" algn="r">
                <a:spcBef>
                  <a:spcPct val="0"/>
                </a:spcBef>
                <a:spcAft>
                  <a:spcPct val="0"/>
                </a:spcAft>
                <a:buNone/>
              </a:pPr>
              <a:t>6</a:t>
            </a:fld>
            <a:endParaRPr lang="en-GB" sz="1200">
              <a:cs typeface="Calibri" panose="020F0502020204030204" pitchFamily="34" charset="0"/>
            </a:endParaRPr>
          </a:p>
        </p:txBody>
      </p:sp>
      <p:sp>
        <p:nvSpPr>
          <p:cNvPr id="360" name="BodyText">
            <a:extLst>
              <a:ext uri="{FF2B5EF4-FFF2-40B4-BE49-F238E27FC236}">
                <a16:creationId xmlns:a16="http://schemas.microsoft.com/office/drawing/2014/main" id="{932A010D-778E-4E94-ABEE-808C26793F23}"/>
              </a:ext>
            </a:extLst>
          </p:cNvPr>
          <p:cNvSpPr>
            <a:spLocks noGrp="1"/>
          </p:cNvSpPr>
          <p:nvPr>
            <p:custDataLst>
              <p:tags r:id="rId18"/>
            </p:custDataLst>
          </p:nvPr>
        </p:nvSpPr>
        <p:spPr bwMode="gray">
          <a:xfrm>
            <a:off x="533400" y="2679700"/>
            <a:ext cx="77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128FE90B-4119-471B-A87A-363D17EFFE12}" type="datetime'''''''''8'''''''''''''''''''''''''''''''''''''''''''''''">
              <a:rPr lang="en-GB" altLang="en-US" sz="1200" smtClean="0">
                <a:effectLst/>
                <a:cs typeface="Calibri" panose="020F0502020204030204" pitchFamily="34" charset="0"/>
              </a:rPr>
              <a:pPr marL="0" indent="0" algn="r">
                <a:spcBef>
                  <a:spcPct val="0"/>
                </a:spcBef>
                <a:spcAft>
                  <a:spcPct val="0"/>
                </a:spcAft>
                <a:buNone/>
              </a:pPr>
              <a:t>8</a:t>
            </a:fld>
            <a:endParaRPr lang="en-GB" sz="1200">
              <a:cs typeface="Calibri" panose="020F0502020204030204" pitchFamily="34" charset="0"/>
            </a:endParaRPr>
          </a:p>
        </p:txBody>
      </p:sp>
      <p:sp>
        <p:nvSpPr>
          <p:cNvPr id="362" name="BodyText">
            <a:extLst>
              <a:ext uri="{FF2B5EF4-FFF2-40B4-BE49-F238E27FC236}">
                <a16:creationId xmlns:a16="http://schemas.microsoft.com/office/drawing/2014/main" id="{641AE471-97DF-4EA0-84A9-DB0503246119}"/>
              </a:ext>
            </a:extLst>
          </p:cNvPr>
          <p:cNvSpPr>
            <a:spLocks noGrp="1"/>
          </p:cNvSpPr>
          <p:nvPr>
            <p:custDataLst>
              <p:tags r:id="rId19"/>
            </p:custDataLst>
          </p:nvPr>
        </p:nvSpPr>
        <p:spPr bwMode="gray">
          <a:xfrm>
            <a:off x="455613" y="1984375"/>
            <a:ext cx="155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r">
              <a:spcBef>
                <a:spcPct val="0"/>
              </a:spcBef>
              <a:spcAft>
                <a:spcPct val="0"/>
              </a:spcAft>
              <a:buNone/>
            </a:pPr>
            <a:fld id="{7397F3C1-2238-4EE9-85B7-EDBE56D201FC}" type="datetime'''''''''''1''''''''''0'''''''''''''''''''''''''''''''''''''''">
              <a:rPr lang="en-GB" altLang="en-US" sz="1200" smtClean="0">
                <a:effectLst/>
                <a:cs typeface="Calibri" panose="020F0502020204030204" pitchFamily="34" charset="0"/>
              </a:rPr>
              <a:pPr marL="0" indent="0" algn="r">
                <a:spcBef>
                  <a:spcPct val="0"/>
                </a:spcBef>
                <a:spcAft>
                  <a:spcPct val="0"/>
                </a:spcAft>
                <a:buNone/>
              </a:pPr>
              <a:t>10</a:t>
            </a:fld>
            <a:endParaRPr lang="en-GB" sz="1200">
              <a:cs typeface="Calibri" panose="020F0502020204030204" pitchFamily="34" charset="0"/>
            </a:endParaRPr>
          </a:p>
        </p:txBody>
      </p:sp>
      <p:sp>
        <p:nvSpPr>
          <p:cNvPr id="321" name="BodyText">
            <a:extLst>
              <a:ext uri="{FF2B5EF4-FFF2-40B4-BE49-F238E27FC236}">
                <a16:creationId xmlns:a16="http://schemas.microsoft.com/office/drawing/2014/main" id="{0DFF7248-01C8-4C2E-A12E-66269845DB24}"/>
              </a:ext>
            </a:extLst>
          </p:cNvPr>
          <p:cNvSpPr>
            <a:spLocks noGrp="1"/>
          </p:cNvSpPr>
          <p:nvPr>
            <p:custDataLst>
              <p:tags r:id="rId20"/>
            </p:custDataLst>
          </p:nvPr>
        </p:nvSpPr>
        <p:spPr bwMode="auto">
          <a:xfrm>
            <a:off x="550863" y="5948363"/>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EF302477-0044-49D9-9852-E432F29D4319}" type="datetime'''''2''0''2''''''''''''''''''''''''''''''''''''''0'''''''''">
              <a:rPr lang="en-GB" altLang="en-US" sz="1200" smtClean="0">
                <a:cs typeface="Calibri" panose="020F0502020204030204" pitchFamily="34" charset="0"/>
              </a:rPr>
              <a:pPr marL="0" indent="0" algn="ctr">
                <a:spcBef>
                  <a:spcPct val="0"/>
                </a:spcBef>
                <a:spcAft>
                  <a:spcPct val="0"/>
                </a:spcAft>
                <a:buNone/>
              </a:pPr>
              <a:t>2020</a:t>
            </a:fld>
            <a:endParaRPr lang="en-GB" sz="1200">
              <a:cs typeface="Calibri" panose="020F0502020204030204" pitchFamily="34" charset="0"/>
            </a:endParaRPr>
          </a:p>
        </p:txBody>
      </p:sp>
      <p:sp>
        <p:nvSpPr>
          <p:cNvPr id="325" name="BodyText">
            <a:extLst>
              <a:ext uri="{FF2B5EF4-FFF2-40B4-BE49-F238E27FC236}">
                <a16:creationId xmlns:a16="http://schemas.microsoft.com/office/drawing/2014/main" id="{44A40B06-06D1-45CC-9259-CE41C21ABF46}"/>
              </a:ext>
            </a:extLst>
          </p:cNvPr>
          <p:cNvSpPr>
            <a:spLocks noGrp="1"/>
          </p:cNvSpPr>
          <p:nvPr>
            <p:custDataLst>
              <p:tags r:id="rId21"/>
            </p:custDataLst>
          </p:nvPr>
        </p:nvSpPr>
        <p:spPr bwMode="auto">
          <a:xfrm>
            <a:off x="2085975" y="5948363"/>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E1D24364-7B96-4457-97D0-48124DB0FBC2}" type="datetime'''''''2''0''''''''''''''''''''''''''''''''2''''''''''1'''">
              <a:rPr lang="en-GB" altLang="en-US" sz="1200" smtClean="0">
                <a:cs typeface="Calibri" panose="020F0502020204030204" pitchFamily="34" charset="0"/>
              </a:rPr>
              <a:pPr marL="0" indent="0" algn="ctr">
                <a:spcBef>
                  <a:spcPct val="0"/>
                </a:spcBef>
                <a:spcAft>
                  <a:spcPct val="0"/>
                </a:spcAft>
                <a:buNone/>
              </a:pPr>
              <a:t>2021</a:t>
            </a:fld>
            <a:endParaRPr lang="en-GB" sz="1200">
              <a:cs typeface="Calibri" panose="020F0502020204030204" pitchFamily="34" charset="0"/>
            </a:endParaRPr>
          </a:p>
        </p:txBody>
      </p:sp>
      <p:sp>
        <p:nvSpPr>
          <p:cNvPr id="329" name="BodyText">
            <a:extLst>
              <a:ext uri="{FF2B5EF4-FFF2-40B4-BE49-F238E27FC236}">
                <a16:creationId xmlns:a16="http://schemas.microsoft.com/office/drawing/2014/main" id="{17CF44C1-5948-49B1-B4A9-ACFEF53C36E1}"/>
              </a:ext>
            </a:extLst>
          </p:cNvPr>
          <p:cNvSpPr>
            <a:spLocks noGrp="1"/>
          </p:cNvSpPr>
          <p:nvPr>
            <p:custDataLst>
              <p:tags r:id="rId22"/>
            </p:custDataLst>
          </p:nvPr>
        </p:nvSpPr>
        <p:spPr bwMode="auto">
          <a:xfrm>
            <a:off x="3619500" y="5948363"/>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08FC5F35-68A9-4079-AFF8-D0BD98C76115}" type="datetime'''''''''''''''''''''2''''''''''''''''''''''''''0''2''2'''">
              <a:rPr lang="en-GB" altLang="en-US" sz="1200" smtClean="0">
                <a:cs typeface="Calibri" panose="020F0502020204030204" pitchFamily="34" charset="0"/>
              </a:rPr>
              <a:pPr marL="0" indent="0" algn="ctr">
                <a:spcBef>
                  <a:spcPct val="0"/>
                </a:spcBef>
                <a:spcAft>
                  <a:spcPct val="0"/>
                </a:spcAft>
                <a:buNone/>
              </a:pPr>
              <a:t>2022</a:t>
            </a:fld>
            <a:endParaRPr lang="en-GB" sz="1200">
              <a:cs typeface="Calibri" panose="020F0502020204030204" pitchFamily="34" charset="0"/>
            </a:endParaRPr>
          </a:p>
        </p:txBody>
      </p:sp>
      <p:sp>
        <p:nvSpPr>
          <p:cNvPr id="454" name="Footnote">
            <a:extLst>
              <a:ext uri="{FF2B5EF4-FFF2-40B4-BE49-F238E27FC236}">
                <a16:creationId xmlns:a16="http://schemas.microsoft.com/office/drawing/2014/main" id="{A54FF3D0-8EA9-4E34-94BB-3D1F498C9838}"/>
              </a:ext>
            </a:extLst>
          </p:cNvPr>
          <p:cNvSpPr/>
          <p:nvPr/>
        </p:nvSpPr>
        <p:spPr>
          <a:xfrm>
            <a:off x="445313" y="6291798"/>
            <a:ext cx="11277600" cy="123111"/>
          </a:xfrm>
          <a:prstGeom prst="rect">
            <a:avLst/>
          </a:prstGeom>
        </p:spPr>
        <p:txBody>
          <a:bodyPr vert="horz" lIns="0" tIns="0" rIns="0" bIns="0" rtlCol="0" anchor="b" anchorCtr="0">
            <a:spAutoFit/>
          </a:bodyPr>
          <a:lstStyle/>
          <a:p>
            <a:pPr defTabSz="914370"/>
            <a:r>
              <a:rPr lang="en-GB" sz="800" kern="0">
                <a:cs typeface="Calibri" panose="020F0502020204030204" pitchFamily="34" charset="0"/>
              </a:rPr>
              <a:t>Note: Right chart is on the log-scale; 1. Quarterly </a:t>
            </a:r>
            <a:r>
              <a:rPr lang="en-GB" sz="800" b="0">
                <a:cs typeface="Calibri" panose="020F0502020204030204" pitchFamily="34" charset="0"/>
              </a:rPr>
              <a:t>HICP (Harmonized Index of Consumer Prices); 2. Installed capacity forecasted in WEO | </a:t>
            </a:r>
            <a:r>
              <a:rPr lang="en-GB" sz="800" kern="0">
                <a:cs typeface="Calibri" panose="020F0502020204030204" pitchFamily="34" charset="0"/>
              </a:rPr>
              <a:t>Sources: ECB, IEA, Oliver Wyman analysis</a:t>
            </a:r>
          </a:p>
        </p:txBody>
      </p:sp>
      <p:sp>
        <p:nvSpPr>
          <p:cNvPr id="29" name="TextBox 28">
            <a:extLst>
              <a:ext uri="{FF2B5EF4-FFF2-40B4-BE49-F238E27FC236}">
                <a16:creationId xmlns:a16="http://schemas.microsoft.com/office/drawing/2014/main" id="{9BC17BC6-243B-46DA-8066-9B17DD8C91C3}"/>
              </a:ext>
            </a:extLst>
          </p:cNvPr>
          <p:cNvSpPr txBox="1"/>
          <p:nvPr/>
        </p:nvSpPr>
        <p:spPr>
          <a:xfrm>
            <a:off x="4057807" y="2433638"/>
            <a:ext cx="516167" cy="215900"/>
          </a:xfrm>
          <a:prstGeom prst="rect">
            <a:avLst/>
          </a:prstGeom>
          <a:solidFill>
            <a:schemeClr val="bg1"/>
          </a:solidFill>
        </p:spPr>
        <p:txBody>
          <a:bodyPr wrap="none" lIns="0" tIns="0" rIns="0" bIns="0" rtlCol="0">
            <a:spAutoFit/>
          </a:bodyPr>
          <a:lstStyle/>
          <a:p>
            <a:pPr algn="l"/>
            <a:r>
              <a:rPr lang="en-GB" sz="1400" b="1" kern="0">
                <a:cs typeface="Calibri" panose="020F0502020204030204" pitchFamily="34" charset="0"/>
              </a:rPr>
              <a:t>Reality</a:t>
            </a:r>
          </a:p>
        </p:txBody>
      </p:sp>
      <p:sp>
        <p:nvSpPr>
          <p:cNvPr id="91" name="TextBox 90">
            <a:extLst>
              <a:ext uri="{FF2B5EF4-FFF2-40B4-BE49-F238E27FC236}">
                <a16:creationId xmlns:a16="http://schemas.microsoft.com/office/drawing/2014/main" id="{C1F17FAA-917D-4146-A2CC-FA3A1C84D274}"/>
              </a:ext>
            </a:extLst>
          </p:cNvPr>
          <p:cNvSpPr txBox="1"/>
          <p:nvPr/>
        </p:nvSpPr>
        <p:spPr>
          <a:xfrm>
            <a:off x="4440604" y="2952750"/>
            <a:ext cx="438115" cy="185738"/>
          </a:xfrm>
          <a:prstGeom prst="rect">
            <a:avLst/>
          </a:prstGeom>
          <a:solidFill>
            <a:schemeClr val="bg1"/>
          </a:solidFill>
        </p:spPr>
        <p:txBody>
          <a:bodyPr wrap="square" lIns="0" tIns="0" rIns="0" bIns="0" rtlCol="0">
            <a:spAutoFit/>
          </a:bodyPr>
          <a:lstStyle/>
          <a:p>
            <a:pPr algn="l"/>
            <a:r>
              <a:rPr lang="en-GB" sz="1200" b="1" kern="0">
                <a:solidFill>
                  <a:srgbClr val="002C77"/>
                </a:solidFill>
                <a:cs typeface="Calibri" panose="020F0502020204030204" pitchFamily="34" charset="0"/>
              </a:rPr>
              <a:t>Jun 22</a:t>
            </a:r>
          </a:p>
        </p:txBody>
      </p:sp>
      <p:sp>
        <p:nvSpPr>
          <p:cNvPr id="92" name="TextBox 91">
            <a:extLst>
              <a:ext uri="{FF2B5EF4-FFF2-40B4-BE49-F238E27FC236}">
                <a16:creationId xmlns:a16="http://schemas.microsoft.com/office/drawing/2014/main" id="{27EE9C08-3FE8-4D66-AC7E-67167B315115}"/>
              </a:ext>
            </a:extLst>
          </p:cNvPr>
          <p:cNvSpPr txBox="1"/>
          <p:nvPr/>
        </p:nvSpPr>
        <p:spPr>
          <a:xfrm>
            <a:off x="4111948" y="3594100"/>
            <a:ext cx="500018" cy="185738"/>
          </a:xfrm>
          <a:prstGeom prst="rect">
            <a:avLst/>
          </a:prstGeom>
          <a:solidFill>
            <a:schemeClr val="bg1"/>
          </a:solidFill>
        </p:spPr>
        <p:txBody>
          <a:bodyPr wrap="square" lIns="0" tIns="0" rIns="0" bIns="0" rtlCol="0">
            <a:spAutoFit/>
          </a:bodyPr>
          <a:lstStyle/>
          <a:p>
            <a:pPr algn="l"/>
            <a:r>
              <a:rPr lang="en-GB" sz="1200" b="1" kern="0">
                <a:solidFill>
                  <a:srgbClr val="009DE0"/>
                </a:solidFill>
                <a:cs typeface="Calibri" panose="020F0502020204030204" pitchFamily="34" charset="0"/>
              </a:rPr>
              <a:t>Mar 22</a:t>
            </a:r>
          </a:p>
        </p:txBody>
      </p:sp>
      <p:sp>
        <p:nvSpPr>
          <p:cNvPr id="104" name="TextBox 103">
            <a:extLst>
              <a:ext uri="{FF2B5EF4-FFF2-40B4-BE49-F238E27FC236}">
                <a16:creationId xmlns:a16="http://schemas.microsoft.com/office/drawing/2014/main" id="{A22ABF4D-341B-4288-9D1F-79FE5E2070C2}"/>
              </a:ext>
            </a:extLst>
          </p:cNvPr>
          <p:cNvSpPr txBox="1"/>
          <p:nvPr/>
        </p:nvSpPr>
        <p:spPr>
          <a:xfrm>
            <a:off x="3781624" y="4143375"/>
            <a:ext cx="470031" cy="184150"/>
          </a:xfrm>
          <a:prstGeom prst="rect">
            <a:avLst/>
          </a:prstGeom>
          <a:solidFill>
            <a:schemeClr val="bg1"/>
          </a:solidFill>
        </p:spPr>
        <p:txBody>
          <a:bodyPr wrap="square" lIns="0" tIns="0" rIns="0" bIns="0" rtlCol="0">
            <a:spAutoFit/>
          </a:bodyPr>
          <a:lstStyle/>
          <a:p>
            <a:pPr algn="l"/>
            <a:r>
              <a:rPr lang="en-GB" sz="1200" b="1" kern="0">
                <a:solidFill>
                  <a:srgbClr val="76D3FF"/>
                </a:solidFill>
                <a:cs typeface="Calibri" panose="020F0502020204030204" pitchFamily="34" charset="0"/>
              </a:rPr>
              <a:t>Dec 21</a:t>
            </a:r>
          </a:p>
        </p:txBody>
      </p:sp>
      <p:sp>
        <p:nvSpPr>
          <p:cNvPr id="111" name="TextBox 110">
            <a:extLst>
              <a:ext uri="{FF2B5EF4-FFF2-40B4-BE49-F238E27FC236}">
                <a16:creationId xmlns:a16="http://schemas.microsoft.com/office/drawing/2014/main" id="{0BBBA59C-CAA5-46D8-AE26-03073B0B3784}"/>
              </a:ext>
            </a:extLst>
          </p:cNvPr>
          <p:cNvSpPr txBox="1"/>
          <p:nvPr/>
        </p:nvSpPr>
        <p:spPr>
          <a:xfrm>
            <a:off x="3615571" y="4600575"/>
            <a:ext cx="496377" cy="184150"/>
          </a:xfrm>
          <a:prstGeom prst="rect">
            <a:avLst/>
          </a:prstGeom>
          <a:solidFill>
            <a:schemeClr val="bg1"/>
          </a:solidFill>
        </p:spPr>
        <p:txBody>
          <a:bodyPr wrap="square" lIns="0" tIns="0" rIns="0" bIns="0" rtlCol="0">
            <a:spAutoFit/>
          </a:bodyPr>
          <a:lstStyle/>
          <a:p>
            <a:pPr algn="l"/>
            <a:r>
              <a:rPr lang="en-GB" sz="1200" b="1" kern="0">
                <a:solidFill>
                  <a:srgbClr val="4E6287"/>
                </a:solidFill>
                <a:cs typeface="Calibri" panose="020F0502020204030204" pitchFamily="34" charset="0"/>
              </a:rPr>
              <a:t>Sept 21</a:t>
            </a:r>
          </a:p>
        </p:txBody>
      </p:sp>
      <p:sp>
        <p:nvSpPr>
          <p:cNvPr id="147" name="TextBox 146">
            <a:extLst>
              <a:ext uri="{FF2B5EF4-FFF2-40B4-BE49-F238E27FC236}">
                <a16:creationId xmlns:a16="http://schemas.microsoft.com/office/drawing/2014/main" id="{87F3A7A7-265D-4C37-9423-2144EAA9BCDD}"/>
              </a:ext>
            </a:extLst>
          </p:cNvPr>
          <p:cNvSpPr txBox="1"/>
          <p:nvPr/>
        </p:nvSpPr>
        <p:spPr>
          <a:xfrm>
            <a:off x="2973766" y="4627563"/>
            <a:ext cx="417464" cy="185738"/>
          </a:xfrm>
          <a:prstGeom prst="rect">
            <a:avLst/>
          </a:prstGeom>
          <a:solidFill>
            <a:schemeClr val="bg1"/>
          </a:solidFill>
        </p:spPr>
        <p:txBody>
          <a:bodyPr wrap="square" lIns="0" tIns="0" rIns="0" bIns="0" rtlCol="0">
            <a:spAutoFit/>
          </a:bodyPr>
          <a:lstStyle/>
          <a:p>
            <a:pPr algn="l"/>
            <a:r>
              <a:rPr lang="en-GB" sz="1200" b="1" kern="0">
                <a:solidFill>
                  <a:srgbClr val="8096B2"/>
                </a:solidFill>
                <a:cs typeface="Calibri" panose="020F0502020204030204" pitchFamily="34" charset="0"/>
              </a:rPr>
              <a:t>Jun 21</a:t>
            </a:r>
          </a:p>
        </p:txBody>
      </p:sp>
      <p:sp>
        <p:nvSpPr>
          <p:cNvPr id="160" name="TextBox 159">
            <a:extLst>
              <a:ext uri="{FF2B5EF4-FFF2-40B4-BE49-F238E27FC236}">
                <a16:creationId xmlns:a16="http://schemas.microsoft.com/office/drawing/2014/main" id="{77C3638D-D7C0-4B52-AFC6-F654E842D2D5}"/>
              </a:ext>
            </a:extLst>
          </p:cNvPr>
          <p:cNvSpPr txBox="1"/>
          <p:nvPr/>
        </p:nvSpPr>
        <p:spPr>
          <a:xfrm>
            <a:off x="3351522" y="5013325"/>
            <a:ext cx="463964" cy="184150"/>
          </a:xfrm>
          <a:prstGeom prst="rect">
            <a:avLst/>
          </a:prstGeom>
          <a:solidFill>
            <a:schemeClr val="bg1"/>
          </a:solidFill>
        </p:spPr>
        <p:txBody>
          <a:bodyPr wrap="square" lIns="0" tIns="0" rIns="0" bIns="0" rtlCol="0">
            <a:spAutoFit/>
          </a:bodyPr>
          <a:lstStyle/>
          <a:p>
            <a:pPr algn="l"/>
            <a:r>
              <a:rPr lang="en-GB" sz="1200" b="1" kern="0">
                <a:solidFill>
                  <a:srgbClr val="BFE4F4"/>
                </a:solidFill>
                <a:cs typeface="Calibri" panose="020F0502020204030204" pitchFamily="34" charset="0"/>
              </a:rPr>
              <a:t>Mar 21</a:t>
            </a:r>
          </a:p>
        </p:txBody>
      </p:sp>
      <p:pic>
        <p:nvPicPr>
          <p:cNvPr id="468" name="Picture 2" descr="European Central Bank Logo et symbole, sens, histoire, PNG ...">
            <a:extLst>
              <a:ext uri="{FF2B5EF4-FFF2-40B4-BE49-F238E27FC236}">
                <a16:creationId xmlns:a16="http://schemas.microsoft.com/office/drawing/2014/main" id="{2233B054-BDB3-4669-97A8-A4FC4AD04D13}"/>
              </a:ext>
            </a:extLst>
          </p:cNvPr>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793227" y="1654737"/>
            <a:ext cx="2735173" cy="164110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ternational-energy-agency-iea-logo-vector - HG">
            <a:extLst>
              <a:ext uri="{FF2B5EF4-FFF2-40B4-BE49-F238E27FC236}">
                <a16:creationId xmlns:a16="http://schemas.microsoft.com/office/drawing/2014/main" id="{CF2DDBDB-F9EE-45CA-A624-18FEBCE81D92}"/>
              </a:ext>
            </a:extLst>
          </p:cNvPr>
          <p:cNvPicPr>
            <a:picLocks noChangeAspect="1" noChangeArrowheads="1"/>
          </p:cNvPicPr>
          <p:nvPr/>
        </p:nvPicPr>
        <p:blipFill>
          <a:blip r:embed="rId3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605588" y="2141538"/>
            <a:ext cx="1458913" cy="810507"/>
          </a:xfrm>
          <a:prstGeom prst="rect">
            <a:avLst/>
          </a:prstGeom>
          <a:noFill/>
          <a:extLst>
            <a:ext uri="{909E8E84-426E-40DD-AFC4-6F175D3DCCD1}">
              <a14:hiddenFill xmlns:a14="http://schemas.microsoft.com/office/drawing/2010/main">
                <a:solidFill>
                  <a:srgbClr val="FFFFFF"/>
                </a:solidFill>
              </a14:hiddenFill>
            </a:ext>
          </a:extLst>
        </p:spPr>
      </p:pic>
      <p:sp>
        <p:nvSpPr>
          <p:cNvPr id="222" name="TextBox 221">
            <a:extLst>
              <a:ext uri="{FF2B5EF4-FFF2-40B4-BE49-F238E27FC236}">
                <a16:creationId xmlns:a16="http://schemas.microsoft.com/office/drawing/2014/main" id="{9424BA91-45B7-4237-8E75-E14C32ACD590}"/>
              </a:ext>
            </a:extLst>
          </p:cNvPr>
          <p:cNvSpPr txBox="1"/>
          <p:nvPr/>
        </p:nvSpPr>
        <p:spPr>
          <a:xfrm>
            <a:off x="8418513" y="3565982"/>
            <a:ext cx="557213" cy="213856"/>
          </a:xfrm>
          <a:prstGeom prst="rect">
            <a:avLst/>
          </a:prstGeom>
          <a:solidFill>
            <a:schemeClr val="bg1"/>
          </a:solidFill>
        </p:spPr>
        <p:txBody>
          <a:bodyPr wrap="square" lIns="0" tIns="0" rIns="0" bIns="0" rtlCol="0">
            <a:spAutoFit/>
          </a:bodyPr>
          <a:lstStyle/>
          <a:p>
            <a:pPr algn="l"/>
            <a:r>
              <a:rPr lang="en-GB" sz="1400" b="1" kern="0">
                <a:cs typeface="Calibri" panose="020F0502020204030204" pitchFamily="34" charset="0"/>
              </a:rPr>
              <a:t>Reality</a:t>
            </a:r>
          </a:p>
        </p:txBody>
      </p:sp>
      <p:sp>
        <p:nvSpPr>
          <p:cNvPr id="225" name="TextBox 224">
            <a:extLst>
              <a:ext uri="{FF2B5EF4-FFF2-40B4-BE49-F238E27FC236}">
                <a16:creationId xmlns:a16="http://schemas.microsoft.com/office/drawing/2014/main" id="{1674AE26-0271-4A4B-A93F-41E347B84FBD}"/>
              </a:ext>
            </a:extLst>
          </p:cNvPr>
          <p:cNvSpPr txBox="1"/>
          <p:nvPr/>
        </p:nvSpPr>
        <p:spPr>
          <a:xfrm>
            <a:off x="10488613" y="2386807"/>
            <a:ext cx="334963" cy="184150"/>
          </a:xfrm>
          <a:prstGeom prst="rect">
            <a:avLst/>
          </a:prstGeom>
          <a:solidFill>
            <a:schemeClr val="bg1"/>
          </a:solidFill>
        </p:spPr>
        <p:txBody>
          <a:bodyPr wrap="square" lIns="0" tIns="0" rIns="0" bIns="0" rtlCol="0">
            <a:spAutoFit/>
          </a:bodyPr>
          <a:lstStyle/>
          <a:p>
            <a:pPr algn="l"/>
            <a:r>
              <a:rPr lang="en-GB" sz="1200" b="1" kern="0">
                <a:solidFill>
                  <a:srgbClr val="002C77"/>
                </a:solidFill>
                <a:cs typeface="Calibri" panose="020F0502020204030204" pitchFamily="34" charset="0"/>
              </a:rPr>
              <a:t>2022</a:t>
            </a:r>
          </a:p>
        </p:txBody>
      </p:sp>
      <p:sp>
        <p:nvSpPr>
          <p:cNvPr id="234" name="TextBox 233">
            <a:extLst>
              <a:ext uri="{FF2B5EF4-FFF2-40B4-BE49-F238E27FC236}">
                <a16:creationId xmlns:a16="http://schemas.microsoft.com/office/drawing/2014/main" id="{112D9C05-6442-4A84-BF84-D47FA0834A14}"/>
              </a:ext>
            </a:extLst>
          </p:cNvPr>
          <p:cNvSpPr txBox="1"/>
          <p:nvPr/>
        </p:nvSpPr>
        <p:spPr>
          <a:xfrm>
            <a:off x="10488613" y="2607469"/>
            <a:ext cx="334963" cy="185738"/>
          </a:xfrm>
          <a:prstGeom prst="rect">
            <a:avLst/>
          </a:prstGeom>
          <a:solidFill>
            <a:schemeClr val="bg1"/>
          </a:solidFill>
        </p:spPr>
        <p:txBody>
          <a:bodyPr wrap="square" lIns="0" tIns="0" rIns="0" bIns="0" rtlCol="0">
            <a:spAutoFit/>
          </a:bodyPr>
          <a:lstStyle/>
          <a:p>
            <a:pPr algn="l"/>
            <a:r>
              <a:rPr lang="en-GB" sz="1200" b="1" kern="0">
                <a:solidFill>
                  <a:srgbClr val="009DE0"/>
                </a:solidFill>
                <a:cs typeface="Calibri" panose="020F0502020204030204" pitchFamily="34" charset="0"/>
              </a:rPr>
              <a:t>2020</a:t>
            </a:r>
          </a:p>
        </p:txBody>
      </p:sp>
      <p:sp>
        <p:nvSpPr>
          <p:cNvPr id="235" name="TextBox 234">
            <a:extLst>
              <a:ext uri="{FF2B5EF4-FFF2-40B4-BE49-F238E27FC236}">
                <a16:creationId xmlns:a16="http://schemas.microsoft.com/office/drawing/2014/main" id="{35A80F48-F66D-4F45-BF5A-C5027EA238AD}"/>
              </a:ext>
            </a:extLst>
          </p:cNvPr>
          <p:cNvSpPr txBox="1"/>
          <p:nvPr/>
        </p:nvSpPr>
        <p:spPr>
          <a:xfrm>
            <a:off x="10488613" y="2840832"/>
            <a:ext cx="334963" cy="185738"/>
          </a:xfrm>
          <a:prstGeom prst="rect">
            <a:avLst/>
          </a:prstGeom>
          <a:solidFill>
            <a:schemeClr val="bg1"/>
          </a:solidFill>
        </p:spPr>
        <p:txBody>
          <a:bodyPr wrap="square" lIns="0" tIns="0" rIns="0" bIns="0" rtlCol="0">
            <a:spAutoFit/>
          </a:bodyPr>
          <a:lstStyle/>
          <a:p>
            <a:pPr algn="l"/>
            <a:r>
              <a:rPr lang="en-GB" sz="1200" b="1" kern="0">
                <a:solidFill>
                  <a:srgbClr val="76D3FF"/>
                </a:solidFill>
                <a:cs typeface="Calibri" panose="020F0502020204030204" pitchFamily="34" charset="0"/>
              </a:rPr>
              <a:t>2018</a:t>
            </a:r>
          </a:p>
        </p:txBody>
      </p:sp>
      <p:sp>
        <p:nvSpPr>
          <p:cNvPr id="236" name="TextBox 235">
            <a:extLst>
              <a:ext uri="{FF2B5EF4-FFF2-40B4-BE49-F238E27FC236}">
                <a16:creationId xmlns:a16="http://schemas.microsoft.com/office/drawing/2014/main" id="{1F8C9159-4F4C-4355-92E2-80F5C0B848EB}"/>
              </a:ext>
            </a:extLst>
          </p:cNvPr>
          <p:cNvSpPr txBox="1"/>
          <p:nvPr/>
        </p:nvSpPr>
        <p:spPr>
          <a:xfrm>
            <a:off x="10488613" y="3059907"/>
            <a:ext cx="334963" cy="185738"/>
          </a:xfrm>
          <a:prstGeom prst="rect">
            <a:avLst/>
          </a:prstGeom>
          <a:solidFill>
            <a:schemeClr val="bg1"/>
          </a:solidFill>
        </p:spPr>
        <p:txBody>
          <a:bodyPr wrap="square" lIns="0" tIns="0" rIns="0" bIns="0" rtlCol="0">
            <a:spAutoFit/>
          </a:bodyPr>
          <a:lstStyle/>
          <a:p>
            <a:pPr algn="l"/>
            <a:r>
              <a:rPr lang="en-GB" sz="1200" b="1" kern="0">
                <a:solidFill>
                  <a:srgbClr val="BFE4F5"/>
                </a:solidFill>
                <a:cs typeface="Calibri" panose="020F0502020204030204" pitchFamily="34" charset="0"/>
              </a:rPr>
              <a:t>2016</a:t>
            </a:r>
          </a:p>
        </p:txBody>
      </p:sp>
      <p:sp>
        <p:nvSpPr>
          <p:cNvPr id="237" name="TextBox 236">
            <a:extLst>
              <a:ext uri="{FF2B5EF4-FFF2-40B4-BE49-F238E27FC236}">
                <a16:creationId xmlns:a16="http://schemas.microsoft.com/office/drawing/2014/main" id="{67E13AD5-9C38-4DB9-A6A3-B3A45FF40CBE}"/>
              </a:ext>
            </a:extLst>
          </p:cNvPr>
          <p:cNvSpPr txBox="1"/>
          <p:nvPr/>
        </p:nvSpPr>
        <p:spPr>
          <a:xfrm>
            <a:off x="10488613" y="3283744"/>
            <a:ext cx="334963" cy="184150"/>
          </a:xfrm>
          <a:prstGeom prst="rect">
            <a:avLst/>
          </a:prstGeom>
          <a:solidFill>
            <a:schemeClr val="bg1"/>
          </a:solidFill>
        </p:spPr>
        <p:txBody>
          <a:bodyPr wrap="square" lIns="0" tIns="0" rIns="0" bIns="0" rtlCol="0">
            <a:spAutoFit/>
          </a:bodyPr>
          <a:lstStyle/>
          <a:p>
            <a:pPr algn="l"/>
            <a:r>
              <a:rPr lang="en-GB" sz="1200" b="1" kern="0">
                <a:solidFill>
                  <a:srgbClr val="4E6287"/>
                </a:solidFill>
                <a:cs typeface="Calibri" panose="020F0502020204030204" pitchFamily="34" charset="0"/>
              </a:rPr>
              <a:t>2012</a:t>
            </a:r>
          </a:p>
        </p:txBody>
      </p:sp>
      <p:sp>
        <p:nvSpPr>
          <p:cNvPr id="238" name="TextBox 237">
            <a:extLst>
              <a:ext uri="{FF2B5EF4-FFF2-40B4-BE49-F238E27FC236}">
                <a16:creationId xmlns:a16="http://schemas.microsoft.com/office/drawing/2014/main" id="{E8499E06-ED15-47D4-B8EC-34EACD82BB56}"/>
              </a:ext>
            </a:extLst>
          </p:cNvPr>
          <p:cNvSpPr txBox="1"/>
          <p:nvPr/>
        </p:nvSpPr>
        <p:spPr>
          <a:xfrm>
            <a:off x="10488613" y="3532982"/>
            <a:ext cx="334963" cy="184150"/>
          </a:xfrm>
          <a:prstGeom prst="rect">
            <a:avLst/>
          </a:prstGeom>
          <a:solidFill>
            <a:schemeClr val="bg1"/>
          </a:solidFill>
        </p:spPr>
        <p:txBody>
          <a:bodyPr wrap="square" lIns="0" tIns="0" rIns="0" bIns="0" rtlCol="0">
            <a:spAutoFit/>
          </a:bodyPr>
          <a:lstStyle/>
          <a:p>
            <a:pPr algn="l"/>
            <a:r>
              <a:rPr lang="en-GB" sz="1200" b="1" kern="0">
                <a:solidFill>
                  <a:srgbClr val="8096B2"/>
                </a:solidFill>
                <a:cs typeface="Calibri" panose="020F0502020204030204" pitchFamily="34" charset="0"/>
              </a:rPr>
              <a:t>2010</a:t>
            </a:r>
          </a:p>
        </p:txBody>
      </p:sp>
      <p:sp>
        <p:nvSpPr>
          <p:cNvPr id="239" name="TextBox 238">
            <a:extLst>
              <a:ext uri="{FF2B5EF4-FFF2-40B4-BE49-F238E27FC236}">
                <a16:creationId xmlns:a16="http://schemas.microsoft.com/office/drawing/2014/main" id="{7E0E948F-6AB7-4777-AB5E-B472AB6F5A88}"/>
              </a:ext>
            </a:extLst>
          </p:cNvPr>
          <p:cNvSpPr txBox="1"/>
          <p:nvPr/>
        </p:nvSpPr>
        <p:spPr>
          <a:xfrm>
            <a:off x="10488613" y="3729832"/>
            <a:ext cx="334963" cy="185738"/>
          </a:xfrm>
          <a:prstGeom prst="rect">
            <a:avLst/>
          </a:prstGeom>
          <a:solidFill>
            <a:schemeClr val="bg1"/>
          </a:solidFill>
        </p:spPr>
        <p:txBody>
          <a:bodyPr wrap="square" lIns="0" tIns="0" rIns="0" bIns="0" rtlCol="0">
            <a:spAutoFit/>
          </a:bodyPr>
          <a:lstStyle/>
          <a:p>
            <a:pPr algn="l"/>
            <a:r>
              <a:rPr lang="en-GB" sz="1200" b="1" kern="0">
                <a:solidFill>
                  <a:srgbClr val="BED3E4"/>
                </a:solidFill>
                <a:cs typeface="Calibri" panose="020F0502020204030204" pitchFamily="34" charset="0"/>
              </a:rPr>
              <a:t>2008</a:t>
            </a:r>
          </a:p>
        </p:txBody>
      </p:sp>
      <p:sp>
        <p:nvSpPr>
          <p:cNvPr id="241" name="TextBox 240">
            <a:extLst>
              <a:ext uri="{FF2B5EF4-FFF2-40B4-BE49-F238E27FC236}">
                <a16:creationId xmlns:a16="http://schemas.microsoft.com/office/drawing/2014/main" id="{A2079992-753A-47AD-938F-04BEA7952817}"/>
              </a:ext>
            </a:extLst>
          </p:cNvPr>
          <p:cNvSpPr txBox="1"/>
          <p:nvPr/>
        </p:nvSpPr>
        <p:spPr>
          <a:xfrm>
            <a:off x="10488613" y="4105809"/>
            <a:ext cx="334963" cy="185738"/>
          </a:xfrm>
          <a:prstGeom prst="rect">
            <a:avLst/>
          </a:prstGeom>
          <a:solidFill>
            <a:schemeClr val="bg1"/>
          </a:solidFill>
        </p:spPr>
        <p:txBody>
          <a:bodyPr wrap="square" lIns="0" tIns="0" rIns="0" bIns="0" rtlCol="0">
            <a:spAutoFit/>
          </a:bodyPr>
          <a:lstStyle/>
          <a:p>
            <a:pPr algn="l"/>
            <a:r>
              <a:rPr lang="en-GB" sz="1200" b="1" kern="0">
                <a:solidFill>
                  <a:srgbClr val="949494"/>
                </a:solidFill>
                <a:cs typeface="Calibri" panose="020F0502020204030204" pitchFamily="34" charset="0"/>
              </a:rPr>
              <a:t>2004</a:t>
            </a:r>
          </a:p>
        </p:txBody>
      </p:sp>
      <p:cxnSp>
        <p:nvCxnSpPr>
          <p:cNvPr id="54" name="Straight Connector 53">
            <a:extLst>
              <a:ext uri="{FF2B5EF4-FFF2-40B4-BE49-F238E27FC236}">
                <a16:creationId xmlns:a16="http://schemas.microsoft.com/office/drawing/2014/main" id="{44065F5C-413F-40EF-BB13-F133424394C4}"/>
              </a:ext>
            </a:extLst>
          </p:cNvPr>
          <p:cNvCxnSpPr>
            <a:cxnSpLocks/>
          </p:cNvCxnSpPr>
          <p:nvPr/>
        </p:nvCxnSpPr>
        <p:spPr>
          <a:xfrm>
            <a:off x="5033962" y="2084745"/>
            <a:ext cx="0" cy="3040933"/>
          </a:xfrm>
          <a:prstGeom prst="line">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E67A79F-F00E-428F-AFDF-9F40D37C423A}"/>
              </a:ext>
            </a:extLst>
          </p:cNvPr>
          <p:cNvCxnSpPr>
            <a:cxnSpLocks/>
          </p:cNvCxnSpPr>
          <p:nvPr/>
        </p:nvCxnSpPr>
        <p:spPr>
          <a:xfrm>
            <a:off x="10882313" y="2329987"/>
            <a:ext cx="0" cy="1831316"/>
          </a:xfrm>
          <a:prstGeom prst="line">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13D5987A-94D7-49E1-9847-7F6277B0CA1E}"/>
              </a:ext>
            </a:extLst>
          </p:cNvPr>
          <p:cNvSpPr/>
          <p:nvPr/>
        </p:nvSpPr>
        <p:spPr>
          <a:xfrm>
            <a:off x="5069142" y="3022470"/>
            <a:ext cx="1051710" cy="1328997"/>
          </a:xfrm>
          <a:prstGeom prst="rect">
            <a:avLst/>
          </a:prstGeom>
          <a:solidFill>
            <a:schemeClr val="bg1"/>
          </a:soli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GB" sz="1600" b="1" kern="0">
                <a:solidFill>
                  <a:schemeClr val="accent2"/>
                </a:solidFill>
                <a:latin typeface="+mj-lt"/>
              </a:rPr>
              <a:t>x</a:t>
            </a:r>
            <a:r>
              <a:rPr lang="en-GB" sz="2000" b="1" kern="0">
                <a:solidFill>
                  <a:schemeClr val="accent2"/>
                </a:solidFill>
                <a:latin typeface="+mj-lt"/>
              </a:rPr>
              <a:t>8.6</a:t>
            </a:r>
            <a:r>
              <a:rPr lang="en-GB" sz="1600" b="1" kern="0">
                <a:solidFill>
                  <a:schemeClr val="tx1"/>
                </a:solidFill>
                <a:latin typeface="+mj-lt"/>
              </a:rPr>
              <a:t> </a:t>
            </a:r>
            <a:r>
              <a:rPr lang="en-GB" sz="1400" b="1" kern="0">
                <a:solidFill>
                  <a:schemeClr val="tx1"/>
                </a:solidFill>
              </a:rPr>
              <a:t>Reality vs. Mar 21 forecast</a:t>
            </a:r>
            <a:endParaRPr lang="en-GB" sz="1600" b="1" kern="0">
              <a:solidFill>
                <a:schemeClr val="tx1"/>
              </a:solidFill>
            </a:endParaRPr>
          </a:p>
        </p:txBody>
      </p:sp>
      <p:sp>
        <p:nvSpPr>
          <p:cNvPr id="59" name="Rectangle 58">
            <a:extLst>
              <a:ext uri="{FF2B5EF4-FFF2-40B4-BE49-F238E27FC236}">
                <a16:creationId xmlns:a16="http://schemas.microsoft.com/office/drawing/2014/main" id="{1F53AE46-5CCD-4FF6-91E3-F88D73F75608}"/>
              </a:ext>
            </a:extLst>
          </p:cNvPr>
          <p:cNvSpPr/>
          <p:nvPr/>
        </p:nvSpPr>
        <p:spPr>
          <a:xfrm>
            <a:off x="10906125" y="2833165"/>
            <a:ext cx="866775" cy="814131"/>
          </a:xfrm>
          <a:prstGeom prst="rect">
            <a:avLst/>
          </a:prstGeom>
          <a:solidFill>
            <a:schemeClr val="bg1"/>
          </a:soli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GB" sz="1600" b="1" kern="0">
                <a:solidFill>
                  <a:schemeClr val="accent2"/>
                </a:solidFill>
                <a:latin typeface="+mj-lt"/>
              </a:rPr>
              <a:t>X</a:t>
            </a:r>
            <a:r>
              <a:rPr lang="en-GB" sz="2000" b="1" kern="0">
                <a:solidFill>
                  <a:schemeClr val="accent2"/>
                </a:solidFill>
                <a:latin typeface="+mj-lt"/>
              </a:rPr>
              <a:t>66</a:t>
            </a:r>
            <a:r>
              <a:rPr lang="en-GB" sz="1600" b="1" kern="0">
                <a:solidFill>
                  <a:schemeClr val="tx1"/>
                </a:solidFill>
                <a:latin typeface="+mj-lt"/>
              </a:rPr>
              <a:t> </a:t>
            </a:r>
            <a:r>
              <a:rPr lang="en-GB" sz="1400" b="1" kern="0">
                <a:solidFill>
                  <a:schemeClr val="tx1"/>
                </a:solidFill>
              </a:rPr>
              <a:t>2022 vs. 2004 forecast</a:t>
            </a:r>
            <a:endParaRPr lang="en-GB" sz="1600" b="1" kern="0">
              <a:solidFill>
                <a:schemeClr val="tx1"/>
              </a:solidFill>
            </a:endParaRPr>
          </a:p>
        </p:txBody>
      </p:sp>
    </p:spTree>
    <p:extLst>
      <p:ext uri="{BB962C8B-B14F-4D97-AF65-F5344CB8AC3E}">
        <p14:creationId xmlns:p14="http://schemas.microsoft.com/office/powerpoint/2010/main" val="24560460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EB02B6E-42A2-4BFF-A2AF-8FABE63C5F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4" name="Object 33" hidden="1">
                        <a:extLst>
                          <a:ext uri="{FF2B5EF4-FFF2-40B4-BE49-F238E27FC236}">
                            <a16:creationId xmlns:a16="http://schemas.microsoft.com/office/drawing/2014/main" id="{CEB02B6E-42A2-4BFF-A2AF-8FABE63C5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38664E6E-319F-5219-638B-55E99394DC4C}"/>
              </a:ext>
            </a:extLst>
          </p:cNvPr>
          <p:cNvSpPr/>
          <p:nvPr/>
        </p:nvSpPr>
        <p:spPr>
          <a:xfrm>
            <a:off x="6334125" y="2056252"/>
            <a:ext cx="5391388" cy="4103536"/>
          </a:xfrm>
          <a:prstGeom prst="rect">
            <a:avLst/>
          </a:prstGeom>
          <a:solidFill>
            <a:srgbClr val="F7F7F7"/>
          </a:solidFill>
          <a:ln w="9525">
            <a:solidFill>
              <a:srgbClr val="F7F7F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cs typeface="Calibri" panose="020F0502020204030204" pitchFamily="34" charset="0"/>
            </a:endParaRPr>
          </a:p>
        </p:txBody>
      </p:sp>
      <p:sp>
        <p:nvSpPr>
          <p:cNvPr id="2" name="Title 1">
            <a:extLst>
              <a:ext uri="{FF2B5EF4-FFF2-40B4-BE49-F238E27FC236}">
                <a16:creationId xmlns:a16="http://schemas.microsoft.com/office/drawing/2014/main" id="{F9306E34-42AC-4B94-81B5-A0A6F99219AF}"/>
              </a:ext>
            </a:extLst>
          </p:cNvPr>
          <p:cNvSpPr>
            <a:spLocks noGrp="1"/>
          </p:cNvSpPr>
          <p:nvPr>
            <p:ph type="title"/>
          </p:nvPr>
        </p:nvSpPr>
        <p:spPr/>
        <p:txBody>
          <a:bodyPr vert="horz"/>
          <a:lstStyle/>
          <a:p>
            <a:r>
              <a:rPr lang="en-GB">
                <a:cs typeface="Calibri" panose="020F0502020204030204" pitchFamily="34" charset="0"/>
              </a:rPr>
              <a:t>the current uncertainty?</a:t>
            </a:r>
          </a:p>
        </p:txBody>
      </p:sp>
      <p:sp>
        <p:nvSpPr>
          <p:cNvPr id="6" name="Text Placeholder 5">
            <a:extLst>
              <a:ext uri="{FF2B5EF4-FFF2-40B4-BE49-F238E27FC236}">
                <a16:creationId xmlns:a16="http://schemas.microsoft.com/office/drawing/2014/main" id="{234EEED0-AEE0-6C0F-CF13-89D47F6D30A4}"/>
              </a:ext>
            </a:extLst>
          </p:cNvPr>
          <p:cNvSpPr>
            <a:spLocks noGrp="1"/>
          </p:cNvSpPr>
          <p:nvPr>
            <p:ph type="body" idx="10"/>
          </p:nvPr>
        </p:nvSpPr>
        <p:spPr>
          <a:xfrm>
            <a:off x="466487" y="1387177"/>
            <a:ext cx="5410200" cy="429768"/>
          </a:xfrm>
        </p:spPr>
        <p:txBody>
          <a:bodyPr/>
          <a:lstStyle/>
          <a:p>
            <a:r>
              <a:rPr lang="en-GB" sz="1600">
                <a:cs typeface="Calibri" panose="020F0502020204030204" pitchFamily="34" charset="0"/>
              </a:rPr>
              <a:t>Uncertainty </a:t>
            </a:r>
            <a:r>
              <a:rPr lang="en-GB" sz="1600">
                <a:latin typeface="+mj-lt"/>
              </a:rPr>
              <a:t>PATTERNS</a:t>
            </a:r>
          </a:p>
        </p:txBody>
      </p:sp>
      <p:sp>
        <p:nvSpPr>
          <p:cNvPr id="18" name="Text Placeholder 17">
            <a:extLst>
              <a:ext uri="{FF2B5EF4-FFF2-40B4-BE49-F238E27FC236}">
                <a16:creationId xmlns:a16="http://schemas.microsoft.com/office/drawing/2014/main" id="{C4FFA6B6-86E5-FF55-2C59-3F3A9C5D31B6}"/>
              </a:ext>
            </a:extLst>
          </p:cNvPr>
          <p:cNvSpPr>
            <a:spLocks noGrp="1"/>
          </p:cNvSpPr>
          <p:nvPr>
            <p:ph type="body" sz="quarter" idx="13"/>
          </p:nvPr>
        </p:nvSpPr>
        <p:spPr>
          <a:xfrm>
            <a:off x="6687054" y="2297123"/>
            <a:ext cx="5047746" cy="429768"/>
          </a:xfrm>
        </p:spPr>
        <p:txBody>
          <a:bodyPr/>
          <a:lstStyle/>
          <a:p>
            <a:r>
              <a:rPr lang="en-GB">
                <a:cs typeface="Calibri" panose="020F0502020204030204" pitchFamily="34" charset="0"/>
              </a:rPr>
              <a:t>Responses to </a:t>
            </a:r>
            <a:r>
              <a:rPr lang="en-GB" sz="2000">
                <a:latin typeface="+mj-lt"/>
                <a:cs typeface="Calibri" panose="020F0502020204030204" pitchFamily="34" charset="0"/>
              </a:rPr>
              <a:t>uncertainty</a:t>
            </a:r>
            <a:endParaRPr lang="en-GB">
              <a:latin typeface="+mj-lt"/>
              <a:cs typeface="Calibri" panose="020F0502020204030204" pitchFamily="34" charset="0"/>
            </a:endParaRPr>
          </a:p>
        </p:txBody>
      </p:sp>
      <p:sp>
        <p:nvSpPr>
          <p:cNvPr id="31" name="TextBox 30">
            <a:extLst>
              <a:ext uri="{FF2B5EF4-FFF2-40B4-BE49-F238E27FC236}">
                <a16:creationId xmlns:a16="http://schemas.microsoft.com/office/drawing/2014/main" id="{787886E1-A874-426D-9B84-DC9DC73618EA}"/>
              </a:ext>
            </a:extLst>
          </p:cNvPr>
          <p:cNvSpPr txBox="1">
            <a:spLocks/>
          </p:cNvSpPr>
          <p:nvPr/>
        </p:nvSpPr>
        <p:spPr>
          <a:xfrm>
            <a:off x="3522967" y="1056792"/>
            <a:ext cx="2572140" cy="215444"/>
          </a:xfrm>
          <a:prstGeom prst="rect">
            <a:avLst/>
          </a:prstGeom>
          <a:noFill/>
        </p:spPr>
        <p:txBody>
          <a:bodyPr wrap="square" lIns="0" tIns="0" rIns="0" bIns="0" rtlCol="0" anchor="t">
            <a:spAutoFit/>
          </a:bodyPr>
          <a:lstStyle/>
          <a:p>
            <a:endParaRPr lang="en-GB" sz="1400" b="1" kern="0">
              <a:solidFill>
                <a:schemeClr val="accent1"/>
              </a:solidFill>
              <a:cs typeface="Calibri"/>
            </a:endParaRPr>
          </a:p>
        </p:txBody>
      </p:sp>
      <p:sp>
        <p:nvSpPr>
          <p:cNvPr id="26" name="Rectangle: Rounded Corners 25">
            <a:extLst>
              <a:ext uri="{FF2B5EF4-FFF2-40B4-BE49-F238E27FC236}">
                <a16:creationId xmlns:a16="http://schemas.microsoft.com/office/drawing/2014/main" id="{7F8A181D-1CFF-4790-8A00-8035DCB3E4F9}"/>
              </a:ext>
            </a:extLst>
          </p:cNvPr>
          <p:cNvSpPr/>
          <p:nvPr/>
        </p:nvSpPr>
        <p:spPr>
          <a:xfrm>
            <a:off x="9393086" y="5582907"/>
            <a:ext cx="613326" cy="164139"/>
          </a:xfrm>
          <a:prstGeom prst="roundRect">
            <a:avLst>
              <a:gd name="adj" fmla="val 0"/>
            </a:avLst>
          </a:prstGeom>
          <a:noFill/>
          <a:ln w="9525" cap="flat" cmpd="sng" algn="ctr">
            <a:noFill/>
            <a:prstDash val="solid"/>
            <a:miter lim="800000"/>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rgbClr val="00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900" b="1" kern="0">
              <a:solidFill>
                <a:schemeClr val="tx1"/>
              </a:solidFill>
              <a:cs typeface="Calibri" panose="020F0502020204030204" pitchFamily="34" charset="0"/>
            </a:endParaRPr>
          </a:p>
        </p:txBody>
      </p:sp>
      <p:sp>
        <p:nvSpPr>
          <p:cNvPr id="20" name="Rectangle 19">
            <a:extLst>
              <a:ext uri="{FF2B5EF4-FFF2-40B4-BE49-F238E27FC236}">
                <a16:creationId xmlns:a16="http://schemas.microsoft.com/office/drawing/2014/main" id="{693266E6-736F-4CD9-869B-48525D376BD8}"/>
              </a:ext>
            </a:extLst>
          </p:cNvPr>
          <p:cNvSpPr/>
          <p:nvPr/>
        </p:nvSpPr>
        <p:spPr>
          <a:xfrm>
            <a:off x="466487" y="2056252"/>
            <a:ext cx="5058186" cy="4103540"/>
          </a:xfrm>
          <a:prstGeom prst="rect">
            <a:avLst/>
          </a:prstGeom>
          <a:solidFill>
            <a:srgbClr val="C7ED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cs typeface="Calibri" panose="020F0502020204030204" pitchFamily="34" charset="0"/>
            </a:endParaRPr>
          </a:p>
        </p:txBody>
      </p:sp>
      <p:sp>
        <p:nvSpPr>
          <p:cNvPr id="42" name="Rectangle 41">
            <a:extLst>
              <a:ext uri="{FF2B5EF4-FFF2-40B4-BE49-F238E27FC236}">
                <a16:creationId xmlns:a16="http://schemas.microsoft.com/office/drawing/2014/main" id="{B61507DE-EA95-4B1A-B519-D2E6D07D970B}"/>
              </a:ext>
            </a:extLst>
          </p:cNvPr>
          <p:cNvSpPr/>
          <p:nvPr/>
        </p:nvSpPr>
        <p:spPr>
          <a:xfrm>
            <a:off x="455623" y="3274061"/>
            <a:ext cx="3651154" cy="2885731"/>
          </a:xfrm>
          <a:prstGeom prst="rect">
            <a:avLst/>
          </a:prstGeom>
          <a:solidFill>
            <a:srgbClr val="76D3FF"/>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cs typeface="Calibri" panose="020F0502020204030204" pitchFamily="34" charset="0"/>
            </a:endParaRPr>
          </a:p>
        </p:txBody>
      </p:sp>
      <p:sp>
        <p:nvSpPr>
          <p:cNvPr id="44" name="Rectangle 43">
            <a:extLst>
              <a:ext uri="{FF2B5EF4-FFF2-40B4-BE49-F238E27FC236}">
                <a16:creationId xmlns:a16="http://schemas.microsoft.com/office/drawing/2014/main" id="{63BFDBAA-B05E-4F5E-A7B0-32E21C90D0C3}"/>
              </a:ext>
            </a:extLst>
          </p:cNvPr>
          <p:cNvSpPr/>
          <p:nvPr/>
        </p:nvSpPr>
        <p:spPr>
          <a:xfrm>
            <a:off x="455621" y="4552856"/>
            <a:ext cx="2304495" cy="1606937"/>
          </a:xfrm>
          <a:prstGeom prst="rect">
            <a:avLst/>
          </a:prstGeom>
          <a:solidFill>
            <a:schemeClr val="accent2"/>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cs typeface="Calibri" panose="020F0502020204030204" pitchFamily="34" charset="0"/>
            </a:endParaRPr>
          </a:p>
        </p:txBody>
      </p:sp>
      <p:sp>
        <p:nvSpPr>
          <p:cNvPr id="45" name="TextBox 44">
            <a:extLst>
              <a:ext uri="{FF2B5EF4-FFF2-40B4-BE49-F238E27FC236}">
                <a16:creationId xmlns:a16="http://schemas.microsoft.com/office/drawing/2014/main" id="{9A43C5F0-A699-4C08-8058-E1C2A0363D49}"/>
              </a:ext>
            </a:extLst>
          </p:cNvPr>
          <p:cNvSpPr txBox="1"/>
          <p:nvPr/>
        </p:nvSpPr>
        <p:spPr>
          <a:xfrm>
            <a:off x="532158" y="4593100"/>
            <a:ext cx="2000454" cy="369332"/>
          </a:xfrm>
          <a:prstGeom prst="rect">
            <a:avLst/>
          </a:prstGeom>
          <a:noFill/>
        </p:spPr>
        <p:txBody>
          <a:bodyPr wrap="square">
            <a:spAutoFit/>
          </a:bodyPr>
          <a:lstStyle/>
          <a:p>
            <a:r>
              <a:rPr lang="en-GB" b="1" kern="0">
                <a:solidFill>
                  <a:schemeClr val="bg1"/>
                </a:solidFill>
                <a:latin typeface="+mj-lt"/>
                <a:cs typeface="Calibri" panose="020F0502020204030204" pitchFamily="34" charset="0"/>
              </a:rPr>
              <a:t>What we know</a:t>
            </a:r>
          </a:p>
        </p:txBody>
      </p:sp>
      <p:sp>
        <p:nvSpPr>
          <p:cNvPr id="46" name="TextBox 45">
            <a:extLst>
              <a:ext uri="{FF2B5EF4-FFF2-40B4-BE49-F238E27FC236}">
                <a16:creationId xmlns:a16="http://schemas.microsoft.com/office/drawing/2014/main" id="{16E607AF-ADEB-4EC7-9D3B-E8857641F87E}"/>
              </a:ext>
            </a:extLst>
          </p:cNvPr>
          <p:cNvSpPr txBox="1"/>
          <p:nvPr/>
        </p:nvSpPr>
        <p:spPr>
          <a:xfrm>
            <a:off x="532158" y="3315894"/>
            <a:ext cx="3560805" cy="369332"/>
          </a:xfrm>
          <a:prstGeom prst="rect">
            <a:avLst/>
          </a:prstGeom>
          <a:noFill/>
        </p:spPr>
        <p:txBody>
          <a:bodyPr wrap="square">
            <a:spAutoFit/>
          </a:bodyPr>
          <a:lstStyle/>
          <a:p>
            <a:r>
              <a:rPr lang="en-GB" b="1" kern="0">
                <a:latin typeface="+mj-lt"/>
                <a:cs typeface="Calibri" panose="020F0502020204030204" pitchFamily="34" charset="0"/>
              </a:rPr>
              <a:t>What we know that we don’t know</a:t>
            </a:r>
          </a:p>
        </p:txBody>
      </p:sp>
      <p:sp>
        <p:nvSpPr>
          <p:cNvPr id="47" name="TextBox 46">
            <a:extLst>
              <a:ext uri="{FF2B5EF4-FFF2-40B4-BE49-F238E27FC236}">
                <a16:creationId xmlns:a16="http://schemas.microsoft.com/office/drawing/2014/main" id="{E85D15E2-3874-4A6B-916D-1C477030A5C6}"/>
              </a:ext>
            </a:extLst>
          </p:cNvPr>
          <p:cNvSpPr txBox="1"/>
          <p:nvPr/>
        </p:nvSpPr>
        <p:spPr>
          <a:xfrm>
            <a:off x="532158" y="2114556"/>
            <a:ext cx="4399683" cy="369332"/>
          </a:xfrm>
          <a:prstGeom prst="rect">
            <a:avLst/>
          </a:prstGeom>
          <a:noFill/>
        </p:spPr>
        <p:txBody>
          <a:bodyPr wrap="square">
            <a:spAutoFit/>
          </a:bodyPr>
          <a:lstStyle/>
          <a:p>
            <a:r>
              <a:rPr lang="en-GB" b="1" kern="0">
                <a:latin typeface="+mj-lt"/>
                <a:cs typeface="Calibri" panose="020F0502020204030204" pitchFamily="34" charset="0"/>
              </a:rPr>
              <a:t>What we don’t know that we don’t know</a:t>
            </a:r>
          </a:p>
        </p:txBody>
      </p:sp>
      <p:sp>
        <p:nvSpPr>
          <p:cNvPr id="50" name="TextBox 49">
            <a:extLst>
              <a:ext uri="{FF2B5EF4-FFF2-40B4-BE49-F238E27FC236}">
                <a16:creationId xmlns:a16="http://schemas.microsoft.com/office/drawing/2014/main" id="{88BEA7A3-4895-4794-85E7-BF4D1BE151F9}"/>
              </a:ext>
            </a:extLst>
          </p:cNvPr>
          <p:cNvSpPr txBox="1"/>
          <p:nvPr/>
        </p:nvSpPr>
        <p:spPr>
          <a:xfrm>
            <a:off x="1532385" y="3843476"/>
            <a:ext cx="1371079" cy="523220"/>
          </a:xfrm>
          <a:prstGeom prst="rect">
            <a:avLst/>
          </a:prstGeom>
          <a:noFill/>
        </p:spPr>
        <p:txBody>
          <a:bodyPr wrap="square" lIns="91440" tIns="45720" rIns="91440" bIns="45720" anchor="t">
            <a:spAutoFit/>
          </a:bodyPr>
          <a:lstStyle/>
          <a:p>
            <a:pPr algn="ctr"/>
            <a:r>
              <a:rPr lang="en-GB" sz="1400" kern="0">
                <a:cs typeface="Calibri" panose="020F0502020204030204" pitchFamily="34" charset="0"/>
              </a:rPr>
              <a:t>Supply chain disruption</a:t>
            </a:r>
          </a:p>
        </p:txBody>
      </p:sp>
      <p:sp>
        <p:nvSpPr>
          <p:cNvPr id="51" name="TextBox 50">
            <a:extLst>
              <a:ext uri="{FF2B5EF4-FFF2-40B4-BE49-F238E27FC236}">
                <a16:creationId xmlns:a16="http://schemas.microsoft.com/office/drawing/2014/main" id="{A049B377-B655-4397-A5BD-24C8D174B16E}"/>
              </a:ext>
            </a:extLst>
          </p:cNvPr>
          <p:cNvSpPr txBox="1"/>
          <p:nvPr/>
        </p:nvSpPr>
        <p:spPr>
          <a:xfrm>
            <a:off x="532158" y="3843476"/>
            <a:ext cx="935414" cy="523220"/>
          </a:xfrm>
          <a:prstGeom prst="rect">
            <a:avLst/>
          </a:prstGeom>
          <a:noFill/>
        </p:spPr>
        <p:txBody>
          <a:bodyPr wrap="square" lIns="91440" tIns="45720" rIns="91440" bIns="45720" anchor="t">
            <a:spAutoFit/>
          </a:bodyPr>
          <a:lstStyle/>
          <a:p>
            <a:pPr algn="ctr"/>
            <a:r>
              <a:rPr lang="en-GB" sz="1400" kern="0">
                <a:cs typeface="Calibri" panose="020F0502020204030204" pitchFamily="34" charset="0"/>
              </a:rPr>
              <a:t>Taiwan </a:t>
            </a:r>
            <a:endParaRPr lang="en-GB" sz="1400">
              <a:cs typeface="Calibri" panose="020F0502020204030204" pitchFamily="34" charset="0"/>
            </a:endParaRPr>
          </a:p>
          <a:p>
            <a:pPr algn="ctr"/>
            <a:r>
              <a:rPr lang="en-GB" sz="1400" kern="0">
                <a:cs typeface="Calibri" panose="020F0502020204030204" pitchFamily="34" charset="0"/>
              </a:rPr>
              <a:t>crisis</a:t>
            </a:r>
            <a:endParaRPr lang="en-GB" sz="1400">
              <a:cs typeface="Calibri" panose="020F0502020204030204" pitchFamily="34" charset="0"/>
            </a:endParaRPr>
          </a:p>
        </p:txBody>
      </p:sp>
      <p:sp>
        <p:nvSpPr>
          <p:cNvPr id="53" name="TextBox 52">
            <a:extLst>
              <a:ext uri="{FF2B5EF4-FFF2-40B4-BE49-F238E27FC236}">
                <a16:creationId xmlns:a16="http://schemas.microsoft.com/office/drawing/2014/main" id="{F8F48BC5-3165-494C-B4E6-503B67ACABE2}"/>
              </a:ext>
            </a:extLst>
          </p:cNvPr>
          <p:cNvSpPr txBox="1"/>
          <p:nvPr/>
        </p:nvSpPr>
        <p:spPr>
          <a:xfrm>
            <a:off x="4561873" y="2777741"/>
            <a:ext cx="451886" cy="400110"/>
          </a:xfrm>
          <a:prstGeom prst="rect">
            <a:avLst/>
          </a:prstGeom>
          <a:noFill/>
        </p:spPr>
        <p:txBody>
          <a:bodyPr wrap="square">
            <a:spAutoFit/>
          </a:bodyPr>
          <a:lstStyle/>
          <a:p>
            <a:r>
              <a:rPr lang="en-GB" sz="2000" kern="0">
                <a:cs typeface="Calibri" panose="020F0502020204030204" pitchFamily="34" charset="0"/>
              </a:rPr>
              <a:t>?</a:t>
            </a:r>
          </a:p>
        </p:txBody>
      </p:sp>
      <p:sp>
        <p:nvSpPr>
          <p:cNvPr id="65" name="TextBox 64">
            <a:extLst>
              <a:ext uri="{FF2B5EF4-FFF2-40B4-BE49-F238E27FC236}">
                <a16:creationId xmlns:a16="http://schemas.microsoft.com/office/drawing/2014/main" id="{C968F72E-E992-4528-963D-A29845C8345A}"/>
              </a:ext>
            </a:extLst>
          </p:cNvPr>
          <p:cNvSpPr txBox="1"/>
          <p:nvPr/>
        </p:nvSpPr>
        <p:spPr>
          <a:xfrm>
            <a:off x="6687054" y="5057254"/>
            <a:ext cx="4295271" cy="738664"/>
          </a:xfrm>
          <a:prstGeom prst="rect">
            <a:avLst/>
          </a:prstGeom>
          <a:noFill/>
        </p:spPr>
        <p:txBody>
          <a:bodyPr wrap="square" lIns="0" tIns="0" rIns="0" bIns="0" rtlCol="0" anchor="ctr">
            <a:spAutoFit/>
          </a:bodyPr>
          <a:lstStyle/>
          <a:p>
            <a:pPr marL="179994" indent="-179994">
              <a:buSzPct val="100000"/>
              <a:buFont typeface="Arial" panose="020B0604020202020204" pitchFamily="34" charset="0"/>
              <a:buChar char="•"/>
            </a:pPr>
            <a:r>
              <a:rPr lang="en-GB" sz="1600" b="1" kern="0">
                <a:cs typeface="Calibri" panose="020F0502020204030204" pitchFamily="34" charset="0"/>
              </a:rPr>
              <a:t>Master core </a:t>
            </a:r>
            <a:r>
              <a:rPr lang="en-GB" sz="1600" kern="0">
                <a:cs typeface="Calibri" panose="020F0502020204030204" pitchFamily="34" charset="0"/>
              </a:rPr>
              <a:t>business</a:t>
            </a:r>
          </a:p>
          <a:p>
            <a:pPr marL="179994" indent="-179994">
              <a:buSzPct val="100000"/>
              <a:buFont typeface="Arial" panose="020B0604020202020204" pitchFamily="34" charset="0"/>
              <a:buChar char="•"/>
            </a:pPr>
            <a:r>
              <a:rPr lang="en-GB" sz="1600" b="1" kern="0">
                <a:cs typeface="Calibri" panose="020F0502020204030204" pitchFamily="34" charset="0"/>
              </a:rPr>
              <a:t>Leverage </a:t>
            </a:r>
            <a:r>
              <a:rPr lang="en-GB" sz="1600" kern="0">
                <a:cs typeface="Calibri" panose="020F0502020204030204" pitchFamily="34" charset="0"/>
              </a:rPr>
              <a:t>uncertainty</a:t>
            </a:r>
          </a:p>
          <a:p>
            <a:pPr marL="179994" indent="-179994">
              <a:buSzPct val="100000"/>
              <a:buFont typeface="Arial" panose="020B0604020202020204" pitchFamily="34" charset="0"/>
              <a:buChar char="•"/>
            </a:pPr>
            <a:r>
              <a:rPr lang="en-GB" sz="1600" b="1" kern="0">
                <a:cs typeface="Calibri" panose="020F0502020204030204" pitchFamily="34" charset="0"/>
              </a:rPr>
              <a:t>Learn from past </a:t>
            </a:r>
            <a:r>
              <a:rPr lang="en-GB" sz="1600" kern="0">
                <a:cs typeface="Calibri" panose="020F0502020204030204" pitchFamily="34" charset="0"/>
              </a:rPr>
              <a:t>crises</a:t>
            </a:r>
          </a:p>
        </p:txBody>
      </p:sp>
      <p:sp>
        <p:nvSpPr>
          <p:cNvPr id="66" name="TextBox 65">
            <a:extLst>
              <a:ext uri="{FF2B5EF4-FFF2-40B4-BE49-F238E27FC236}">
                <a16:creationId xmlns:a16="http://schemas.microsoft.com/office/drawing/2014/main" id="{1E6A6CBA-C52E-48FF-857E-1D5A0D95E1FA}"/>
              </a:ext>
            </a:extLst>
          </p:cNvPr>
          <p:cNvSpPr txBox="1"/>
          <p:nvPr/>
        </p:nvSpPr>
        <p:spPr>
          <a:xfrm>
            <a:off x="6687055" y="3969160"/>
            <a:ext cx="4295271" cy="738664"/>
          </a:xfrm>
          <a:prstGeom prst="rect">
            <a:avLst/>
          </a:prstGeom>
          <a:noFill/>
        </p:spPr>
        <p:txBody>
          <a:bodyPr wrap="square" lIns="0" tIns="0" rIns="0" bIns="0" rtlCol="0" anchor="ctr">
            <a:spAutoFit/>
          </a:bodyPr>
          <a:lstStyle/>
          <a:p>
            <a:pPr marL="179994" indent="-179994">
              <a:buSzPct val="100000"/>
              <a:buFont typeface="Arial" panose="020B0604020202020204" pitchFamily="34" charset="0"/>
              <a:buChar char="•"/>
            </a:pPr>
            <a:r>
              <a:rPr lang="en-GB" sz="1600" kern="0">
                <a:cs typeface="Calibri" panose="020F0502020204030204" pitchFamily="34" charset="0"/>
              </a:rPr>
              <a:t>Develop a </a:t>
            </a:r>
            <a:r>
              <a:rPr lang="en-GB" sz="1600" b="1" kern="0">
                <a:cs typeface="Calibri" panose="020F0502020204030204" pitchFamily="34" charset="0"/>
              </a:rPr>
              <a:t>de-risked strategy</a:t>
            </a:r>
          </a:p>
          <a:p>
            <a:pPr marL="179994" indent="-179994">
              <a:buSzPct val="100000"/>
              <a:buFont typeface="Arial" panose="020B0604020202020204" pitchFamily="34" charset="0"/>
              <a:buChar char="•"/>
            </a:pPr>
            <a:r>
              <a:rPr lang="en-GB" sz="1600" kern="0">
                <a:cs typeface="Calibri" panose="020F0502020204030204" pitchFamily="34" charset="0"/>
              </a:rPr>
              <a:t>Anticipate </a:t>
            </a:r>
            <a:r>
              <a:rPr lang="en-GB" sz="1600" b="1" kern="0">
                <a:cs typeface="Calibri" panose="020F0502020204030204" pitchFamily="34" charset="0"/>
              </a:rPr>
              <a:t>market </a:t>
            </a:r>
            <a:r>
              <a:rPr lang="en-GB" sz="1600" kern="0">
                <a:cs typeface="Calibri" panose="020F0502020204030204" pitchFamily="34" charset="0"/>
              </a:rPr>
              <a:t>moves with adjacent</a:t>
            </a:r>
          </a:p>
          <a:p>
            <a:pPr marL="179994" indent="-179994">
              <a:buSzPct val="100000"/>
              <a:buFont typeface="Arial" panose="020B0604020202020204" pitchFamily="34" charset="0"/>
              <a:buChar char="•"/>
            </a:pPr>
            <a:r>
              <a:rPr lang="en-GB" sz="1600" kern="0">
                <a:cs typeface="Calibri"/>
              </a:rPr>
              <a:t>Implement </a:t>
            </a:r>
            <a:r>
              <a:rPr lang="en-GB" sz="1600" b="1" kern="0">
                <a:cs typeface="Calibri"/>
              </a:rPr>
              <a:t>double sourcing &amp; double betting</a:t>
            </a:r>
            <a:endParaRPr lang="en-GB" sz="1600" b="1" kern="0"/>
          </a:p>
        </p:txBody>
      </p:sp>
      <p:sp>
        <p:nvSpPr>
          <p:cNvPr id="67" name="TextBox 66">
            <a:extLst>
              <a:ext uri="{FF2B5EF4-FFF2-40B4-BE49-F238E27FC236}">
                <a16:creationId xmlns:a16="http://schemas.microsoft.com/office/drawing/2014/main" id="{E2E0161B-1B5B-4A33-BD63-29B3A4A6172B}"/>
              </a:ext>
            </a:extLst>
          </p:cNvPr>
          <p:cNvSpPr txBox="1"/>
          <p:nvPr/>
        </p:nvSpPr>
        <p:spPr>
          <a:xfrm>
            <a:off x="6687055" y="2738328"/>
            <a:ext cx="3976896" cy="984885"/>
          </a:xfrm>
          <a:prstGeom prst="rect">
            <a:avLst/>
          </a:prstGeom>
          <a:noFill/>
        </p:spPr>
        <p:txBody>
          <a:bodyPr wrap="square" lIns="0" tIns="0" rIns="0" bIns="0" rtlCol="0" anchor="ctr">
            <a:spAutoFit/>
          </a:bodyPr>
          <a:lstStyle/>
          <a:p>
            <a:pPr marL="179994" indent="-179994">
              <a:buSzPct val="100000"/>
              <a:buFont typeface="Arial" panose="020B0604020202020204" pitchFamily="34" charset="0"/>
              <a:buChar char="•"/>
            </a:pPr>
            <a:r>
              <a:rPr lang="en-GB" sz="1600" kern="0">
                <a:cs typeface="Calibri" panose="020F0502020204030204" pitchFamily="34" charset="0"/>
              </a:rPr>
              <a:t>Become </a:t>
            </a:r>
            <a:r>
              <a:rPr lang="en-GB" sz="1600" b="1" kern="0">
                <a:cs typeface="Calibri" panose="020F0502020204030204" pitchFamily="34" charset="0"/>
              </a:rPr>
              <a:t>nimble</a:t>
            </a:r>
          </a:p>
          <a:p>
            <a:pPr marL="179994" indent="-179994">
              <a:buSzPct val="100000"/>
              <a:buFont typeface="Arial" panose="020B0604020202020204" pitchFamily="34" charset="0"/>
              <a:buChar char="•"/>
            </a:pPr>
            <a:r>
              <a:rPr lang="en-GB" sz="1600" kern="0">
                <a:cs typeface="Calibri" panose="020F0502020204030204" pitchFamily="34" charset="0"/>
              </a:rPr>
              <a:t>Rely on a flexible</a:t>
            </a:r>
            <a:r>
              <a:rPr lang="en-GB" sz="1600" b="1" kern="0">
                <a:cs typeface="Calibri" panose="020F0502020204030204" pitchFamily="34" charset="0"/>
              </a:rPr>
              <a:t> operational model</a:t>
            </a:r>
          </a:p>
          <a:p>
            <a:pPr marL="179994" indent="-179994">
              <a:buSzPct val="100000"/>
              <a:buFont typeface="Arial" panose="020B0604020202020204" pitchFamily="34" charset="0"/>
              <a:buChar char="•"/>
            </a:pPr>
            <a:r>
              <a:rPr lang="en-GB" sz="1600" kern="0">
                <a:cs typeface="Calibri" panose="020F0502020204030204" pitchFamily="34" charset="0"/>
              </a:rPr>
              <a:t>Grow </a:t>
            </a:r>
            <a:r>
              <a:rPr lang="en-GB" sz="1600" b="1" kern="0">
                <a:cs typeface="Calibri" panose="020F0502020204030204" pitchFamily="34" charset="0"/>
              </a:rPr>
              <a:t>corporate culture and leadership responsiveness</a:t>
            </a:r>
          </a:p>
        </p:txBody>
      </p:sp>
      <p:sp>
        <p:nvSpPr>
          <p:cNvPr id="76" name="TextBox 75">
            <a:extLst>
              <a:ext uri="{FF2B5EF4-FFF2-40B4-BE49-F238E27FC236}">
                <a16:creationId xmlns:a16="http://schemas.microsoft.com/office/drawing/2014/main" id="{2F4A15D6-AF51-4324-A11C-FACAFC450E6D}"/>
              </a:ext>
            </a:extLst>
          </p:cNvPr>
          <p:cNvSpPr txBox="1"/>
          <p:nvPr/>
        </p:nvSpPr>
        <p:spPr>
          <a:xfrm>
            <a:off x="1827942" y="5485250"/>
            <a:ext cx="802312" cy="523220"/>
          </a:xfrm>
          <a:prstGeom prst="rect">
            <a:avLst/>
          </a:prstGeom>
          <a:noFill/>
        </p:spPr>
        <p:txBody>
          <a:bodyPr wrap="square" lIns="91440" tIns="45720" rIns="91440" bIns="45720" anchor="t">
            <a:spAutoFit/>
          </a:bodyPr>
          <a:lstStyle/>
          <a:p>
            <a:pPr algn="ctr"/>
            <a:r>
              <a:rPr lang="en-GB" sz="1400" kern="0">
                <a:solidFill>
                  <a:schemeClr val="bg1"/>
                </a:solidFill>
                <a:cs typeface="Calibri" panose="020F0502020204030204" pitchFamily="34" charset="0"/>
              </a:rPr>
              <a:t>Climate</a:t>
            </a:r>
          </a:p>
          <a:p>
            <a:pPr algn="ctr"/>
            <a:r>
              <a:rPr lang="en-GB" sz="1400" kern="0">
                <a:solidFill>
                  <a:schemeClr val="bg1"/>
                </a:solidFill>
                <a:cs typeface="Calibri" panose="020F0502020204030204" pitchFamily="34" charset="0"/>
              </a:rPr>
              <a:t> impact </a:t>
            </a:r>
          </a:p>
        </p:txBody>
      </p:sp>
      <p:sp>
        <p:nvSpPr>
          <p:cNvPr id="77" name="TextBox 76">
            <a:extLst>
              <a:ext uri="{FF2B5EF4-FFF2-40B4-BE49-F238E27FC236}">
                <a16:creationId xmlns:a16="http://schemas.microsoft.com/office/drawing/2014/main" id="{87537C9E-FDF0-4B2C-8899-0D1CE80DAB27}"/>
              </a:ext>
            </a:extLst>
          </p:cNvPr>
          <p:cNvSpPr txBox="1"/>
          <p:nvPr/>
        </p:nvSpPr>
        <p:spPr>
          <a:xfrm>
            <a:off x="910121" y="4948707"/>
            <a:ext cx="1371079" cy="523220"/>
          </a:xfrm>
          <a:prstGeom prst="rect">
            <a:avLst/>
          </a:prstGeom>
          <a:noFill/>
        </p:spPr>
        <p:txBody>
          <a:bodyPr wrap="square" lIns="91440" tIns="45720" rIns="91440" bIns="45720" anchor="t">
            <a:spAutoFit/>
          </a:bodyPr>
          <a:lstStyle/>
          <a:p>
            <a:pPr algn="ctr"/>
            <a:r>
              <a:rPr lang="en-GB" sz="1400" kern="0">
                <a:solidFill>
                  <a:schemeClr val="bg1"/>
                </a:solidFill>
                <a:cs typeface="Calibri" panose="020F0502020204030204" pitchFamily="34" charset="0"/>
              </a:rPr>
              <a:t>Market trends without crisis</a:t>
            </a:r>
          </a:p>
        </p:txBody>
      </p:sp>
      <p:sp>
        <p:nvSpPr>
          <p:cNvPr id="3" name="TextBox 76">
            <a:extLst>
              <a:ext uri="{FF2B5EF4-FFF2-40B4-BE49-F238E27FC236}">
                <a16:creationId xmlns:a16="http://schemas.microsoft.com/office/drawing/2014/main" id="{E61B0B5B-E3D6-DA40-B7B6-1679D609BC1D}"/>
              </a:ext>
            </a:extLst>
          </p:cNvPr>
          <p:cNvSpPr txBox="1"/>
          <p:nvPr/>
        </p:nvSpPr>
        <p:spPr>
          <a:xfrm>
            <a:off x="314325" y="5485251"/>
            <a:ext cx="1371079" cy="523220"/>
          </a:xfrm>
          <a:prstGeom prst="rect">
            <a:avLst/>
          </a:prstGeom>
          <a:noFill/>
        </p:spPr>
        <p:txBody>
          <a:bodyPr wrap="square" lIns="91440" tIns="45720" rIns="91440" bIns="45720" anchor="t">
            <a:spAutoFit/>
          </a:bodyPr>
          <a:lstStyle/>
          <a:p>
            <a:pPr algn="ctr"/>
            <a:r>
              <a:rPr lang="en-GB" sz="1400" kern="0">
                <a:solidFill>
                  <a:schemeClr val="bg1"/>
                </a:solidFill>
                <a:cs typeface="Calibri"/>
              </a:rPr>
              <a:t>Mega </a:t>
            </a:r>
            <a:endParaRPr lang="en-GB" sz="1400">
              <a:solidFill>
                <a:schemeClr val="bg1"/>
              </a:solidFill>
              <a:cs typeface="Calibri" panose="020F0502020204030204" pitchFamily="34" charset="0"/>
            </a:endParaRPr>
          </a:p>
          <a:p>
            <a:pPr algn="ctr"/>
            <a:r>
              <a:rPr lang="en-GB" sz="1400" kern="0">
                <a:solidFill>
                  <a:schemeClr val="bg1"/>
                </a:solidFill>
                <a:cs typeface="Calibri"/>
              </a:rPr>
              <a:t>trends</a:t>
            </a:r>
            <a:endParaRPr lang="en-GB" sz="1400">
              <a:solidFill>
                <a:schemeClr val="bg1"/>
              </a:solidFill>
            </a:endParaRPr>
          </a:p>
        </p:txBody>
      </p:sp>
      <p:sp>
        <p:nvSpPr>
          <p:cNvPr id="5" name="TextBox 49">
            <a:extLst>
              <a:ext uri="{FF2B5EF4-FFF2-40B4-BE49-F238E27FC236}">
                <a16:creationId xmlns:a16="http://schemas.microsoft.com/office/drawing/2014/main" id="{B8E55BC4-113E-36EC-B0F2-33FC123C5DA1}"/>
              </a:ext>
            </a:extLst>
          </p:cNvPr>
          <p:cNvSpPr txBox="1"/>
          <p:nvPr/>
        </p:nvSpPr>
        <p:spPr>
          <a:xfrm>
            <a:off x="2616504" y="3843476"/>
            <a:ext cx="1371079" cy="523220"/>
          </a:xfrm>
          <a:prstGeom prst="rect">
            <a:avLst/>
          </a:prstGeom>
          <a:noFill/>
        </p:spPr>
        <p:txBody>
          <a:bodyPr wrap="square" lIns="91440" tIns="45720" rIns="91440" bIns="45720" anchor="t">
            <a:spAutoFit/>
          </a:bodyPr>
          <a:lstStyle/>
          <a:p>
            <a:pPr algn="ctr"/>
            <a:r>
              <a:rPr lang="en-GB" sz="1400" kern="0">
                <a:cs typeface="Calibri" panose="020F0502020204030204" pitchFamily="34" charset="0"/>
              </a:rPr>
              <a:t>A new </a:t>
            </a:r>
            <a:endParaRPr lang="en-GB" sz="1400">
              <a:cs typeface="Calibri" panose="020F0502020204030204" pitchFamily="34" charset="0"/>
            </a:endParaRPr>
          </a:p>
          <a:p>
            <a:pPr algn="ctr"/>
            <a:r>
              <a:rPr lang="en-GB" sz="1400" kern="0">
                <a:cs typeface="Calibri" panose="020F0502020204030204" pitchFamily="34" charset="0"/>
              </a:rPr>
              <a:t>Covid-19</a:t>
            </a:r>
            <a:endParaRPr lang="en-GB" sz="1400">
              <a:cs typeface="Calibri" panose="020F0502020204030204" pitchFamily="34" charset="0"/>
            </a:endParaRPr>
          </a:p>
        </p:txBody>
      </p:sp>
      <p:sp>
        <p:nvSpPr>
          <p:cNvPr id="37" name="Footnote">
            <a:extLst>
              <a:ext uri="{FF2B5EF4-FFF2-40B4-BE49-F238E27FC236}">
                <a16:creationId xmlns:a16="http://schemas.microsoft.com/office/drawing/2014/main" id="{926AD4F0-981F-4ACA-BEFD-A71475A4B2F4}"/>
              </a:ext>
            </a:extLst>
          </p:cNvPr>
          <p:cNvSpPr/>
          <p:nvPr/>
        </p:nvSpPr>
        <p:spPr>
          <a:xfrm>
            <a:off x="447648" y="6294300"/>
            <a:ext cx="4337712" cy="123111"/>
          </a:xfrm>
          <a:prstGeom prst="rect">
            <a:avLst/>
          </a:prstGeom>
        </p:spPr>
        <p:txBody>
          <a:bodyPr vert="horz" wrap="square" lIns="0" tIns="0" rIns="0" bIns="0" rtlCol="0" anchor="b" anchorCtr="0">
            <a:spAutoFit/>
          </a:bodyPr>
          <a:lstStyle/>
          <a:p>
            <a:pPr defTabSz="914370"/>
            <a:r>
              <a:rPr lang="en-GB" sz="800" kern="0">
                <a:cs typeface="Calibri" panose="020F0502020204030204" pitchFamily="34" charset="0"/>
              </a:rPr>
              <a:t>Source: Oliver Wyman analysis </a:t>
            </a:r>
          </a:p>
        </p:txBody>
      </p:sp>
      <p:sp>
        <p:nvSpPr>
          <p:cNvPr id="11" name="Isosceles Triangle 10">
            <a:extLst>
              <a:ext uri="{FF2B5EF4-FFF2-40B4-BE49-F238E27FC236}">
                <a16:creationId xmlns:a16="http://schemas.microsoft.com/office/drawing/2014/main" id="{9FDBF437-4B74-4A3F-D2D4-096A689F2BB4}"/>
              </a:ext>
            </a:extLst>
          </p:cNvPr>
          <p:cNvSpPr/>
          <p:nvPr/>
        </p:nvSpPr>
        <p:spPr>
          <a:xfrm rot="10800000">
            <a:off x="4931841" y="1815313"/>
            <a:ext cx="196874" cy="169719"/>
          </a:xfrm>
          <a:prstGeom prst="triangle">
            <a:avLst/>
          </a:prstGeom>
          <a:solidFill>
            <a:srgbClr val="F0F0F0"/>
          </a:solidFill>
          <a:ln w="9525">
            <a:solidFill>
              <a:srgbClr val="F0F0F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cs typeface="Calibri" panose="020F0502020204030204" pitchFamily="34" charset="0"/>
            </a:endParaRPr>
          </a:p>
        </p:txBody>
      </p:sp>
      <p:cxnSp>
        <p:nvCxnSpPr>
          <p:cNvPr id="14" name="Straight Connector 13">
            <a:extLst>
              <a:ext uri="{FF2B5EF4-FFF2-40B4-BE49-F238E27FC236}">
                <a16:creationId xmlns:a16="http://schemas.microsoft.com/office/drawing/2014/main" id="{5E58925F-F122-B46F-12A7-DA2C1E80BFFC}"/>
              </a:ext>
            </a:extLst>
          </p:cNvPr>
          <p:cNvCxnSpPr>
            <a:cxnSpLocks/>
          </p:cNvCxnSpPr>
          <p:nvPr/>
        </p:nvCxnSpPr>
        <p:spPr>
          <a:xfrm flipH="1">
            <a:off x="5524673" y="2980976"/>
            <a:ext cx="799927" cy="0"/>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72505F-87E5-9085-E9D9-5985A226FF08}"/>
              </a:ext>
            </a:extLst>
          </p:cNvPr>
          <p:cNvCxnSpPr>
            <a:cxnSpLocks/>
          </p:cNvCxnSpPr>
          <p:nvPr/>
        </p:nvCxnSpPr>
        <p:spPr>
          <a:xfrm flipH="1">
            <a:off x="4092963" y="4108022"/>
            <a:ext cx="2231637" cy="0"/>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4091CFA-6F14-F28A-39E3-3E058280E194}"/>
              </a:ext>
            </a:extLst>
          </p:cNvPr>
          <p:cNvCxnSpPr>
            <a:cxnSpLocks/>
          </p:cNvCxnSpPr>
          <p:nvPr/>
        </p:nvCxnSpPr>
        <p:spPr>
          <a:xfrm flipH="1">
            <a:off x="2760116" y="5205037"/>
            <a:ext cx="3564484" cy="0"/>
          </a:xfrm>
          <a:prstGeom prst="line">
            <a:avLst/>
          </a:prstGeom>
          <a:ln w="9525">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4660269-CDD1-409C-AF7B-12570CF1997E}"/>
              </a:ext>
            </a:extLst>
          </p:cNvPr>
          <p:cNvSpPr/>
          <p:nvPr/>
        </p:nvSpPr>
        <p:spPr>
          <a:xfrm>
            <a:off x="2861000" y="1343311"/>
            <a:ext cx="4308150" cy="463809"/>
          </a:xfrm>
          <a:prstGeom prst="rect">
            <a:avLst/>
          </a:prstGeom>
          <a:solidFill>
            <a:srgbClr val="F0F0F0"/>
          </a:solidFill>
          <a:ln w="9525">
            <a:solidFill>
              <a:srgbClr val="F0F0F0"/>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marL="0" rtl="0" eaLnBrk="1" latinLnBrk="0" hangingPunct="1">
              <a:spcBef>
                <a:spcPts val="0"/>
              </a:spcBef>
              <a:spcAft>
                <a:spcPts val="0"/>
              </a:spcAft>
            </a:pPr>
            <a:r>
              <a:rPr lang="en-GB" sz="1200" b="1">
                <a:solidFill>
                  <a:schemeClr val="tx1"/>
                </a:solidFill>
                <a:effectLst/>
                <a:latin typeface="Calibri" panose="020F0502020204030204" pitchFamily="34" charset="0"/>
                <a:cs typeface="Calibri" panose="020F0502020204030204" pitchFamily="34" charset="0"/>
              </a:rPr>
              <a:t>“</a:t>
            </a:r>
            <a:r>
              <a:rPr lang="en-GB" sz="1200" b="1" i="1">
                <a:solidFill>
                  <a:schemeClr val="tx1"/>
                </a:solidFill>
                <a:effectLst/>
                <a:latin typeface="Calibri" panose="020F0502020204030204" pitchFamily="34" charset="0"/>
                <a:cs typeface="Calibri" panose="020F0502020204030204" pitchFamily="34" charset="0"/>
              </a:rPr>
              <a:t>What we don’t know that we don’t know</a:t>
            </a:r>
            <a:r>
              <a:rPr lang="en-GB" sz="1200" b="1">
                <a:solidFill>
                  <a:schemeClr val="tx1"/>
                </a:solidFill>
                <a:effectLst/>
                <a:latin typeface="Calibri" panose="020F0502020204030204" pitchFamily="34" charset="0"/>
                <a:cs typeface="Calibri" panose="020F0502020204030204" pitchFamily="34" charset="0"/>
              </a:rPr>
              <a:t>” </a:t>
            </a:r>
            <a:r>
              <a:rPr lang="en-GB" sz="1200">
                <a:solidFill>
                  <a:schemeClr val="tx1"/>
                </a:solidFill>
                <a:effectLst/>
                <a:latin typeface="Calibri" panose="020F0502020204030204" pitchFamily="34" charset="0"/>
                <a:cs typeface="Calibri" panose="020F0502020204030204" pitchFamily="34" charset="0"/>
              </a:rPr>
              <a:t>is likely to outgrow </a:t>
            </a:r>
            <a:r>
              <a:rPr lang="en-GB" sz="1200" b="1">
                <a:solidFill>
                  <a:schemeClr val="tx1"/>
                </a:solidFill>
                <a:effectLst/>
                <a:latin typeface="Calibri" panose="020F0502020204030204" pitchFamily="34" charset="0"/>
                <a:cs typeface="Calibri" panose="020F0502020204030204" pitchFamily="34" charset="0"/>
              </a:rPr>
              <a:t>“</a:t>
            </a:r>
            <a:r>
              <a:rPr lang="en-GB" sz="1200" b="1" i="1">
                <a:solidFill>
                  <a:schemeClr val="tx1"/>
                </a:solidFill>
                <a:effectLst/>
                <a:latin typeface="Calibri" panose="020F0502020204030204" pitchFamily="34" charset="0"/>
                <a:cs typeface="Calibri" panose="020F0502020204030204" pitchFamily="34" charset="0"/>
              </a:rPr>
              <a:t>What we know that we don’t know</a:t>
            </a:r>
            <a:r>
              <a:rPr lang="en-GB" sz="1200" b="1">
                <a:solidFill>
                  <a:schemeClr val="tx1"/>
                </a:solidFill>
                <a:effectLst/>
                <a:latin typeface="Calibri" panose="020F0502020204030204" pitchFamily="34" charset="0"/>
                <a:cs typeface="Calibri" panose="020F0502020204030204" pitchFamily="34" charset="0"/>
              </a:rPr>
              <a:t>”</a:t>
            </a:r>
            <a:r>
              <a:rPr lang="en-GB" sz="1200">
                <a:solidFill>
                  <a:schemeClr val="tx1"/>
                </a:solidFill>
                <a:effectLst/>
                <a:latin typeface="Calibri" panose="020F0502020204030204" pitchFamily="34" charset="0"/>
                <a:cs typeface="Calibri" panose="020F0502020204030204" pitchFamily="34" charset="0"/>
              </a:rPr>
              <a:t> at an accelerated pace</a:t>
            </a:r>
            <a:endParaRPr lang="en-GB" sz="1200">
              <a:solidFill>
                <a:schemeClr val="tx1"/>
              </a:solidFill>
              <a:effectLst/>
            </a:endParaRPr>
          </a:p>
        </p:txBody>
      </p:sp>
    </p:spTree>
    <p:extLst>
      <p:ext uri="{BB962C8B-B14F-4D97-AF65-F5344CB8AC3E}">
        <p14:creationId xmlns:p14="http://schemas.microsoft.com/office/powerpoint/2010/main" val="4285204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748155-56E0-47A3-9A3B-4D595A1669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26748155-56E0-47A3-9A3B-4D595A1669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water&#10;&#10;Description automatically generated">
            <a:extLst>
              <a:ext uri="{FF2B5EF4-FFF2-40B4-BE49-F238E27FC236}">
                <a16:creationId xmlns:a16="http://schemas.microsoft.com/office/drawing/2014/main" id="{8871BC40-B834-E141-4B8E-119A3572854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
          <a:stretch/>
        </p:blipFill>
        <p:spPr>
          <a:xfrm>
            <a:off x="0" y="0"/>
            <a:ext cx="2524539" cy="6858000"/>
          </a:xfrm>
          <a:prstGeom prst="rect">
            <a:avLst/>
          </a:prstGeom>
        </p:spPr>
      </p:pic>
      <p:sp>
        <p:nvSpPr>
          <p:cNvPr id="2" name="Title 1">
            <a:extLst>
              <a:ext uri="{FF2B5EF4-FFF2-40B4-BE49-F238E27FC236}">
                <a16:creationId xmlns:a16="http://schemas.microsoft.com/office/drawing/2014/main" id="{E7B5CCD4-8826-4E2F-BE5D-170E8A517FFF}"/>
              </a:ext>
            </a:extLst>
          </p:cNvPr>
          <p:cNvSpPr>
            <a:spLocks noGrp="1"/>
          </p:cNvSpPr>
          <p:nvPr>
            <p:ph type="title"/>
          </p:nvPr>
        </p:nvSpPr>
        <p:spPr>
          <a:xfrm>
            <a:off x="2967382" y="384048"/>
            <a:ext cx="8767418" cy="758952"/>
          </a:xfrm>
        </p:spPr>
        <p:txBody>
          <a:bodyPr vert="horz"/>
          <a:lstStyle/>
          <a:p>
            <a:r>
              <a:rPr lang="en-GB"/>
              <a:t>Agenda for this workshop</a:t>
            </a:r>
          </a:p>
        </p:txBody>
      </p:sp>
      <p:sp>
        <p:nvSpPr>
          <p:cNvPr id="9" name="Oval 8">
            <a:extLst>
              <a:ext uri="{FF2B5EF4-FFF2-40B4-BE49-F238E27FC236}">
                <a16:creationId xmlns:a16="http://schemas.microsoft.com/office/drawing/2014/main" id="{3E7EB780-A806-4E1E-9B01-6077A71D2E33}"/>
              </a:ext>
            </a:extLst>
          </p:cNvPr>
          <p:cNvSpPr/>
          <p:nvPr/>
        </p:nvSpPr>
        <p:spPr>
          <a:xfrm>
            <a:off x="2133844" y="228846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800" b="1" kern="0">
                <a:solidFill>
                  <a:srgbClr val="000000"/>
                </a:solidFill>
                <a:latin typeface="MMC Display Condensed"/>
              </a:rPr>
              <a:t>1</a:t>
            </a:r>
            <a:endParaRPr kumimoji="0" lang="en-GB" sz="2800" b="1" i="0" u="none" strike="noStrike" kern="0" cap="none" spc="0" normalizeH="0" baseline="0">
              <a:ln>
                <a:noFill/>
              </a:ln>
              <a:solidFill>
                <a:srgbClr val="000000"/>
              </a:solidFill>
              <a:effectLst/>
              <a:uLnTx/>
              <a:uFillTx/>
              <a:latin typeface="MMC Display Condensed"/>
              <a:ea typeface="+mn-ea"/>
              <a:cs typeface="+mn-cs"/>
            </a:endParaRPr>
          </a:p>
        </p:txBody>
      </p:sp>
      <p:sp>
        <p:nvSpPr>
          <p:cNvPr id="10" name="Oval 9">
            <a:extLst>
              <a:ext uri="{FF2B5EF4-FFF2-40B4-BE49-F238E27FC236}">
                <a16:creationId xmlns:a16="http://schemas.microsoft.com/office/drawing/2014/main" id="{58A7118C-E150-46CC-A998-0F89A970B9CC}"/>
              </a:ext>
            </a:extLst>
          </p:cNvPr>
          <p:cNvSpPr/>
          <p:nvPr/>
        </p:nvSpPr>
        <p:spPr>
          <a:xfrm>
            <a:off x="2133844" y="317534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a:ln>
                  <a:noFill/>
                </a:ln>
                <a:solidFill>
                  <a:srgbClr val="000000"/>
                </a:solidFill>
                <a:effectLst/>
                <a:uLnTx/>
                <a:uFillTx/>
                <a:latin typeface="MMC Display Condensed"/>
                <a:ea typeface="+mn-ea"/>
                <a:cs typeface="+mn-cs"/>
              </a:rPr>
              <a:t>2</a:t>
            </a:r>
          </a:p>
        </p:txBody>
      </p:sp>
      <p:sp>
        <p:nvSpPr>
          <p:cNvPr id="11" name="Oval 10">
            <a:extLst>
              <a:ext uri="{FF2B5EF4-FFF2-40B4-BE49-F238E27FC236}">
                <a16:creationId xmlns:a16="http://schemas.microsoft.com/office/drawing/2014/main" id="{700C0EB8-FDAE-4FBC-99A2-74FFE2084AC1}"/>
              </a:ext>
            </a:extLst>
          </p:cNvPr>
          <p:cNvSpPr/>
          <p:nvPr/>
        </p:nvSpPr>
        <p:spPr>
          <a:xfrm>
            <a:off x="2133844" y="406222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800" b="1" kern="0">
                <a:solidFill>
                  <a:schemeClr val="tx1"/>
                </a:solidFill>
                <a:latin typeface="MMC Display Condensed"/>
              </a:rPr>
              <a:t>3</a:t>
            </a:r>
            <a:endParaRPr kumimoji="0" lang="en-GB" sz="2800" b="1" i="0" u="none" strike="noStrike" kern="0" cap="none" spc="0" normalizeH="0" baseline="0">
              <a:ln>
                <a:noFill/>
              </a:ln>
              <a:solidFill>
                <a:schemeClr val="tx1"/>
              </a:solidFill>
              <a:effectLst/>
              <a:uLnTx/>
              <a:uFillTx/>
              <a:latin typeface="MMC Display Condensed"/>
              <a:ea typeface="+mn-ea"/>
              <a:cs typeface="+mn-cs"/>
            </a:endParaRPr>
          </a:p>
        </p:txBody>
      </p:sp>
      <p:sp>
        <p:nvSpPr>
          <p:cNvPr id="5" name="Rectangle 4">
            <a:extLst>
              <a:ext uri="{FF2B5EF4-FFF2-40B4-BE49-F238E27FC236}">
                <a16:creationId xmlns:a16="http://schemas.microsoft.com/office/drawing/2014/main" id="{2511FD99-7B2E-46DA-AD75-F5959D0274DA}"/>
              </a:ext>
            </a:extLst>
          </p:cNvPr>
          <p:cNvSpPr/>
          <p:nvPr/>
        </p:nvSpPr>
        <p:spPr>
          <a:xfrm>
            <a:off x="2967382" y="225728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tx1"/>
                </a:solidFill>
              </a:rPr>
              <a:t>Permacrisis overview</a:t>
            </a:r>
          </a:p>
          <a:p>
            <a:r>
              <a:rPr lang="en-GB" sz="1400" kern="0">
                <a:solidFill>
                  <a:schemeClr val="tx1"/>
                </a:solidFill>
              </a:rPr>
              <a:t>Presentation of global risks and expected disruptions</a:t>
            </a:r>
          </a:p>
        </p:txBody>
      </p:sp>
      <p:sp>
        <p:nvSpPr>
          <p:cNvPr id="20" name="Rectangle 19">
            <a:extLst>
              <a:ext uri="{FF2B5EF4-FFF2-40B4-BE49-F238E27FC236}">
                <a16:creationId xmlns:a16="http://schemas.microsoft.com/office/drawing/2014/main" id="{45B27300-4458-46CC-B3F9-57F98DE412AB}"/>
              </a:ext>
            </a:extLst>
          </p:cNvPr>
          <p:cNvSpPr/>
          <p:nvPr/>
        </p:nvSpPr>
        <p:spPr>
          <a:xfrm>
            <a:off x="2967382" y="314416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70" eaLnBrk="1" fontAlgn="auto" latinLnBrk="0" hangingPunct="1">
              <a:lnSpc>
                <a:spcPct val="100000"/>
              </a:lnSpc>
              <a:spcBef>
                <a:spcPts val="0"/>
              </a:spcBef>
              <a:spcAft>
                <a:spcPts val="0"/>
              </a:spcAft>
              <a:buClrTx/>
              <a:buSzTx/>
              <a:buFontTx/>
              <a:buNone/>
              <a:tabLst/>
              <a:defRPr/>
            </a:pPr>
            <a:r>
              <a:rPr lang="en-GB" b="1">
                <a:solidFill>
                  <a:schemeClr val="tx1"/>
                </a:solidFill>
                <a:ea typeface="Times New Roman" panose="02020603050405020304" pitchFamily="18" charset="0"/>
              </a:rPr>
              <a:t>Risks &amp; opportunities deep-dive</a:t>
            </a:r>
          </a:p>
          <a:p>
            <a:pPr defTabSz="914370">
              <a:defRPr/>
            </a:pPr>
            <a:r>
              <a:rPr lang="en-GB" sz="1400">
                <a:solidFill>
                  <a:schemeClr val="tx1"/>
                </a:solidFill>
                <a:ea typeface="Times New Roman" panose="02020603050405020304" pitchFamily="18" charset="0"/>
              </a:rPr>
              <a:t>Open discussion to align on major risks &amp; opportunities affecting Nexans in Asia</a:t>
            </a:r>
            <a:endParaRPr lang="en-GB" sz="1400">
              <a:solidFill>
                <a:schemeClr val="tx1"/>
              </a:solidFill>
              <a:ea typeface="Times New Roman" panose="02020603050405020304" pitchFamily="18" charset="0"/>
              <a:cs typeface="Calibri"/>
            </a:endParaRPr>
          </a:p>
        </p:txBody>
      </p:sp>
      <p:sp>
        <p:nvSpPr>
          <p:cNvPr id="21" name="Rectangle 20">
            <a:extLst>
              <a:ext uri="{FF2B5EF4-FFF2-40B4-BE49-F238E27FC236}">
                <a16:creationId xmlns:a16="http://schemas.microsoft.com/office/drawing/2014/main" id="{4ED825AB-D88C-4388-A11E-C9554C920BD1}"/>
              </a:ext>
            </a:extLst>
          </p:cNvPr>
          <p:cNvSpPr/>
          <p:nvPr/>
        </p:nvSpPr>
        <p:spPr>
          <a:xfrm>
            <a:off x="2967382" y="403104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tx1"/>
                </a:solidFill>
              </a:rPr>
              <a:t>Coffee break</a:t>
            </a:r>
            <a:endParaRPr lang="en-GB" sz="1400" kern="0">
              <a:solidFill>
                <a:schemeClr val="tx1"/>
              </a:solidFill>
            </a:endParaRPr>
          </a:p>
        </p:txBody>
      </p:sp>
      <p:sp>
        <p:nvSpPr>
          <p:cNvPr id="13" name="TextBox 12">
            <a:extLst>
              <a:ext uri="{FF2B5EF4-FFF2-40B4-BE49-F238E27FC236}">
                <a16:creationId xmlns:a16="http://schemas.microsoft.com/office/drawing/2014/main" id="{521DD162-3FB4-4461-4E45-4FEF61663B7B}"/>
              </a:ext>
            </a:extLst>
          </p:cNvPr>
          <p:cNvSpPr txBox="1">
            <a:spLocks/>
          </p:cNvSpPr>
          <p:nvPr/>
        </p:nvSpPr>
        <p:spPr>
          <a:xfrm>
            <a:off x="10487492" y="2566376"/>
            <a:ext cx="1259246" cy="215444"/>
          </a:xfrm>
          <a:prstGeom prst="rect">
            <a:avLst/>
          </a:prstGeom>
          <a:noFill/>
        </p:spPr>
        <p:txBody>
          <a:bodyPr wrap="square" lIns="0" tIns="0" rIns="0" bIns="0" rtlCol="0">
            <a:spAutoFit/>
          </a:bodyPr>
          <a:lstStyle/>
          <a:p>
            <a:r>
              <a:rPr lang="en-GB" sz="1400" i="1" kern="0"/>
              <a:t>08h30 – 09h15</a:t>
            </a:r>
          </a:p>
        </p:txBody>
      </p:sp>
      <p:sp>
        <p:nvSpPr>
          <p:cNvPr id="14" name="TextBox 13">
            <a:extLst>
              <a:ext uri="{FF2B5EF4-FFF2-40B4-BE49-F238E27FC236}">
                <a16:creationId xmlns:a16="http://schemas.microsoft.com/office/drawing/2014/main" id="{856A1F5D-FFED-CAEC-ADA3-EBBECF179C0F}"/>
              </a:ext>
            </a:extLst>
          </p:cNvPr>
          <p:cNvSpPr txBox="1">
            <a:spLocks/>
          </p:cNvSpPr>
          <p:nvPr/>
        </p:nvSpPr>
        <p:spPr>
          <a:xfrm>
            <a:off x="10487492" y="3453256"/>
            <a:ext cx="1259246" cy="215444"/>
          </a:xfrm>
          <a:prstGeom prst="rect">
            <a:avLst/>
          </a:prstGeom>
          <a:noFill/>
        </p:spPr>
        <p:txBody>
          <a:bodyPr wrap="square" lIns="0" tIns="0" rIns="0" bIns="0" rtlCol="0">
            <a:spAutoFit/>
          </a:bodyPr>
          <a:lstStyle/>
          <a:p>
            <a:r>
              <a:rPr lang="en-GB" sz="1400" i="1" kern="0"/>
              <a:t>09h15 – 10h15</a:t>
            </a:r>
          </a:p>
        </p:txBody>
      </p:sp>
      <p:sp>
        <p:nvSpPr>
          <p:cNvPr id="15" name="TextBox 14">
            <a:extLst>
              <a:ext uri="{FF2B5EF4-FFF2-40B4-BE49-F238E27FC236}">
                <a16:creationId xmlns:a16="http://schemas.microsoft.com/office/drawing/2014/main" id="{0F93F637-2801-8862-7DBE-893391AA1E77}"/>
              </a:ext>
            </a:extLst>
          </p:cNvPr>
          <p:cNvSpPr txBox="1">
            <a:spLocks/>
          </p:cNvSpPr>
          <p:nvPr/>
        </p:nvSpPr>
        <p:spPr>
          <a:xfrm>
            <a:off x="10487492" y="4340136"/>
            <a:ext cx="1259246" cy="215444"/>
          </a:xfrm>
          <a:prstGeom prst="rect">
            <a:avLst/>
          </a:prstGeom>
          <a:noFill/>
        </p:spPr>
        <p:txBody>
          <a:bodyPr wrap="square" lIns="0" tIns="0" rIns="0" bIns="0" rtlCol="0">
            <a:spAutoFit/>
          </a:bodyPr>
          <a:lstStyle/>
          <a:p>
            <a:r>
              <a:rPr lang="en-GB" sz="1400" i="1" kern="0"/>
              <a:t>10h15 – 10h30</a:t>
            </a:r>
          </a:p>
        </p:txBody>
      </p:sp>
      <p:sp>
        <p:nvSpPr>
          <p:cNvPr id="16" name="Oval 15">
            <a:extLst>
              <a:ext uri="{FF2B5EF4-FFF2-40B4-BE49-F238E27FC236}">
                <a16:creationId xmlns:a16="http://schemas.microsoft.com/office/drawing/2014/main" id="{95F9DE53-C029-8E41-5106-D49EEFBB2A31}"/>
              </a:ext>
            </a:extLst>
          </p:cNvPr>
          <p:cNvSpPr/>
          <p:nvPr/>
        </p:nvSpPr>
        <p:spPr>
          <a:xfrm>
            <a:off x="2133844" y="4980286"/>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a:ln>
                  <a:noFill/>
                </a:ln>
                <a:solidFill>
                  <a:schemeClr val="tx1"/>
                </a:solidFill>
                <a:effectLst/>
                <a:uLnTx/>
                <a:uFillTx/>
                <a:latin typeface="MMC Display Condensed"/>
                <a:ea typeface="+mn-ea"/>
                <a:cs typeface="+mn-cs"/>
              </a:rPr>
              <a:t>4</a:t>
            </a:r>
          </a:p>
        </p:txBody>
      </p:sp>
      <p:sp>
        <p:nvSpPr>
          <p:cNvPr id="17" name="Rectangle 16">
            <a:extLst>
              <a:ext uri="{FF2B5EF4-FFF2-40B4-BE49-F238E27FC236}">
                <a16:creationId xmlns:a16="http://schemas.microsoft.com/office/drawing/2014/main" id="{C41E1B99-5C08-2224-7A9E-BFE68D784190}"/>
              </a:ext>
            </a:extLst>
          </p:cNvPr>
          <p:cNvSpPr/>
          <p:nvPr/>
        </p:nvSpPr>
        <p:spPr>
          <a:xfrm>
            <a:off x="2967382" y="4949105"/>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tx1"/>
                </a:solidFill>
              </a:rPr>
              <a:t>Permacrisis Profit Patterns design</a:t>
            </a:r>
          </a:p>
          <a:p>
            <a:r>
              <a:rPr lang="en-GB" sz="1400" kern="0">
                <a:solidFill>
                  <a:schemeClr val="tx1"/>
                </a:solidFill>
              </a:rPr>
              <a:t>Design patterns for a risk-adjusted business model, answering major risks</a:t>
            </a:r>
            <a:r>
              <a:rPr lang="en-GB" sz="1400" kern="0">
                <a:solidFill>
                  <a:schemeClr val="tx2"/>
                </a:solidFill>
              </a:rPr>
              <a:t> &amp; opportunities</a:t>
            </a:r>
            <a:r>
              <a:rPr lang="en-GB" sz="1400" kern="0">
                <a:solidFill>
                  <a:schemeClr val="tx1"/>
                </a:solidFill>
              </a:rPr>
              <a:t> for Nexans in Asia</a:t>
            </a:r>
          </a:p>
        </p:txBody>
      </p:sp>
      <p:sp>
        <p:nvSpPr>
          <p:cNvPr id="18" name="TextBox 17">
            <a:extLst>
              <a:ext uri="{FF2B5EF4-FFF2-40B4-BE49-F238E27FC236}">
                <a16:creationId xmlns:a16="http://schemas.microsoft.com/office/drawing/2014/main" id="{79CB84BB-613B-6A41-2E24-B16C0C1F4554}"/>
              </a:ext>
            </a:extLst>
          </p:cNvPr>
          <p:cNvSpPr txBox="1">
            <a:spLocks/>
          </p:cNvSpPr>
          <p:nvPr/>
        </p:nvSpPr>
        <p:spPr>
          <a:xfrm>
            <a:off x="10487492" y="5258197"/>
            <a:ext cx="1259246" cy="215444"/>
          </a:xfrm>
          <a:prstGeom prst="rect">
            <a:avLst/>
          </a:prstGeom>
          <a:noFill/>
        </p:spPr>
        <p:txBody>
          <a:bodyPr wrap="square" lIns="0" tIns="0" rIns="0" bIns="0" rtlCol="0">
            <a:spAutoFit/>
          </a:bodyPr>
          <a:lstStyle/>
          <a:p>
            <a:r>
              <a:rPr lang="en-GB" sz="1400" i="1" kern="0"/>
              <a:t>10h30 – 12h30</a:t>
            </a:r>
          </a:p>
        </p:txBody>
      </p:sp>
    </p:spTree>
    <p:extLst>
      <p:ext uri="{BB962C8B-B14F-4D97-AF65-F5344CB8AC3E}">
        <p14:creationId xmlns:p14="http://schemas.microsoft.com/office/powerpoint/2010/main" val="9337450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192FED-F17C-4716-A6B9-2E20C979060A}"/>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8192FED-F17C-4716-A6B9-2E20C979060A}"/>
                          </a:ext>
                        </a:extLst>
                      </p:cNvPr>
                      <p:cNvPicPr/>
                      <p:nvPr/>
                    </p:nvPicPr>
                    <p:blipFill>
                      <a:blip r:embed="rId5"/>
                      <a:stretch>
                        <a:fillRect/>
                      </a:stretch>
                    </p:blipFill>
                    <p:spPr>
                      <a:xfrm>
                        <a:off x="1296988" y="1588"/>
                        <a:ext cx="1588" cy="1588"/>
                      </a:xfrm>
                      <a:prstGeom prst="rect">
                        <a:avLst/>
                      </a:prstGeom>
                    </p:spPr>
                  </p:pic>
                </p:oleObj>
              </mc:Fallback>
            </mc:AlternateContent>
          </a:graphicData>
        </a:graphic>
      </p:graphicFrame>
      <p:pic>
        <p:nvPicPr>
          <p:cNvPr id="4" name="Picture 3" descr="A highway with lights on it&#10;&#10;Description automatically generated">
            <a:extLst>
              <a:ext uri="{FF2B5EF4-FFF2-40B4-BE49-F238E27FC236}">
                <a16:creationId xmlns:a16="http://schemas.microsoft.com/office/drawing/2014/main" id="{E8240FCE-8458-64EB-7FA6-6439E36C475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790AAA96-5159-9FDF-1075-7A1E29AC5E21}"/>
              </a:ext>
            </a:extLst>
          </p:cNvPr>
          <p:cNvSpPr/>
          <p:nvPr/>
        </p:nvSpPr>
        <p:spPr>
          <a:xfrm>
            <a:off x="-1" y="381000"/>
            <a:ext cx="12192001" cy="6477000"/>
          </a:xfrm>
          <a:prstGeom prst="rect">
            <a:avLst/>
          </a:prstGeom>
          <a:gradFill flip="none" rotWithShape="1">
            <a:gsLst>
              <a:gs pos="0">
                <a:schemeClr val="tx1">
                  <a:alpha val="91000"/>
                </a:schemeClr>
              </a:gs>
              <a:gs pos="53000">
                <a:schemeClr val="tx1">
                  <a:alpha val="0"/>
                </a:schemeClr>
              </a:gs>
            </a:gsLst>
            <a:lin ang="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32" name="Text Placeholder 3">
            <a:extLst>
              <a:ext uri="{FF2B5EF4-FFF2-40B4-BE49-F238E27FC236}">
                <a16:creationId xmlns:a16="http://schemas.microsoft.com/office/drawing/2014/main" id="{AF6A6D61-844F-E916-DB05-E55621CB66FA}"/>
              </a:ext>
            </a:extLst>
          </p:cNvPr>
          <p:cNvSpPr>
            <a:spLocks noGrp="1"/>
          </p:cNvSpPr>
          <p:nvPr>
            <p:ph type="body" sz="quarter" idx="11"/>
          </p:nvPr>
        </p:nvSpPr>
        <p:spPr>
          <a:xfrm>
            <a:off x="457199" y="2431767"/>
            <a:ext cx="8348472" cy="1053045"/>
          </a:xfrm>
        </p:spPr>
        <p:txBody>
          <a:bodyPr/>
          <a:lstStyle/>
          <a:p>
            <a:pPr>
              <a:buNone/>
            </a:pPr>
            <a:r>
              <a:rPr lang="en-GB">
                <a:solidFill>
                  <a:schemeClr val="bg1"/>
                </a:solidFill>
                <a:cs typeface="Calibri" panose="020F0502020204030204" pitchFamily="34" charset="0"/>
              </a:rPr>
              <a:t>How to lead in a </a:t>
            </a:r>
            <a:br>
              <a:rPr lang="en-GB">
                <a:solidFill>
                  <a:schemeClr val="bg1"/>
                </a:solidFill>
                <a:cs typeface="Calibri" panose="020F0502020204030204" pitchFamily="34" charset="0"/>
              </a:rPr>
            </a:br>
            <a:r>
              <a:rPr lang="en-GB">
                <a:solidFill>
                  <a:schemeClr val="bg1"/>
                </a:solidFill>
                <a:cs typeface="Calibri" panose="020F0502020204030204" pitchFamily="34" charset="0"/>
              </a:rPr>
              <a:t>perma-crisis </a:t>
            </a:r>
            <a:r>
              <a:rPr lang="en-GB">
                <a:solidFill>
                  <a:schemeClr val="bg1"/>
                </a:solidFill>
              </a:rPr>
              <a:t>world</a:t>
            </a:r>
            <a:r>
              <a:rPr lang="en-GB">
                <a:solidFill>
                  <a:schemeClr val="bg1"/>
                </a:solidFill>
                <a:cs typeface="Calibri" panose="020F0502020204030204" pitchFamily="34" charset="0"/>
              </a:rPr>
              <a:t>? </a:t>
            </a:r>
          </a:p>
        </p:txBody>
      </p:sp>
      <p:sp>
        <p:nvSpPr>
          <p:cNvPr id="33" name="Text Placeholder 4">
            <a:extLst>
              <a:ext uri="{FF2B5EF4-FFF2-40B4-BE49-F238E27FC236}">
                <a16:creationId xmlns:a16="http://schemas.microsoft.com/office/drawing/2014/main" id="{BC62095C-FA9B-0954-39BE-9699F9011D1C}"/>
              </a:ext>
            </a:extLst>
          </p:cNvPr>
          <p:cNvSpPr>
            <a:spLocks noGrp="1"/>
          </p:cNvSpPr>
          <p:nvPr>
            <p:ph type="body" sz="quarter" idx="12"/>
          </p:nvPr>
        </p:nvSpPr>
        <p:spPr>
          <a:xfrm>
            <a:off x="457200" y="279802"/>
            <a:ext cx="8348472" cy="2308324"/>
          </a:xfrm>
        </p:spPr>
        <p:txBody>
          <a:bodyPr/>
          <a:lstStyle/>
          <a:p>
            <a:r>
              <a:rPr lang="en-GB">
                <a:solidFill>
                  <a:schemeClr val="bg1"/>
                </a:solidFill>
                <a:cs typeface="Calibri" panose="020F0502020204030204" pitchFamily="34" charset="0"/>
              </a:rPr>
              <a:t>03</a:t>
            </a:r>
          </a:p>
        </p:txBody>
      </p:sp>
      <p:grpSp>
        <p:nvGrpSpPr>
          <p:cNvPr id="34" name="Group 33">
            <a:extLst>
              <a:ext uri="{FF2B5EF4-FFF2-40B4-BE49-F238E27FC236}">
                <a16:creationId xmlns:a16="http://schemas.microsoft.com/office/drawing/2014/main" id="{C2D94870-FF71-3439-B25A-37BC96BA1531}"/>
              </a:ext>
            </a:extLst>
          </p:cNvPr>
          <p:cNvGrpSpPr/>
          <p:nvPr/>
        </p:nvGrpSpPr>
        <p:grpSpPr>
          <a:xfrm>
            <a:off x="8536074" y="3864021"/>
            <a:ext cx="3080084" cy="1615827"/>
            <a:chOff x="9744119" y="2610921"/>
            <a:chExt cx="3080084" cy="1615827"/>
          </a:xfrm>
        </p:grpSpPr>
        <p:sp>
          <p:nvSpPr>
            <p:cNvPr id="35" name="TextBox 34">
              <a:extLst>
                <a:ext uri="{FF2B5EF4-FFF2-40B4-BE49-F238E27FC236}">
                  <a16:creationId xmlns:a16="http://schemas.microsoft.com/office/drawing/2014/main" id="{B55D1B86-2B99-0157-BE21-4944DF89B73C}"/>
                </a:ext>
              </a:extLst>
            </p:cNvPr>
            <p:cNvSpPr txBox="1"/>
            <p:nvPr/>
          </p:nvSpPr>
          <p:spPr>
            <a:xfrm>
              <a:off x="9744120" y="2610921"/>
              <a:ext cx="3080083" cy="161582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Calibri"/>
                <a:ea typeface="+mn-ea"/>
                <a:cs typeface="Calibri" panose="020F050202020403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Calibri" panose="020F050202020403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br>
                <a:rPr kumimoji="0" lang="en-GB" sz="1200" b="0" i="0" u="none" strike="noStrike" kern="1200" cap="none" spc="0" normalizeH="0" baseline="0" noProof="0">
                  <a:ln>
                    <a:noFill/>
                  </a:ln>
                  <a:solidFill>
                    <a:srgbClr val="FFFFFF"/>
                  </a:solidFill>
                  <a:effectLst/>
                  <a:uLnTx/>
                  <a:uFillTx/>
                  <a:latin typeface="Calibri"/>
                  <a:ea typeface="+mn-ea"/>
                  <a:cs typeface="Calibri" panose="020F0502020204030204" pitchFamily="34" charset="0"/>
                </a:rPr>
              </a:br>
              <a:r>
                <a:rPr kumimoji="0" lang="en-GB" sz="1800" b="0" i="0" u="none" strike="noStrike" kern="1200" cap="none" spc="0" normalizeH="0" baseline="0" noProof="0">
                  <a:ln>
                    <a:noFill/>
                  </a:ln>
                  <a:solidFill>
                    <a:srgbClr val="FFFFFF"/>
                  </a:solidFill>
                  <a:effectLst/>
                  <a:uLnTx/>
                  <a:uFillTx/>
                  <a:latin typeface="Calibri"/>
                  <a:ea typeface="+mn-ea"/>
                  <a:cs typeface="Calibri" panose="020F0502020204030204" pitchFamily="34" charset="0"/>
                </a:rPr>
                <a:t>Seven tumbles, eight stand ups</a:t>
              </a:r>
              <a:endParaRPr lang="en-GB">
                <a:solidFill>
                  <a:srgbClr val="FFFFFF"/>
                </a:solidFill>
                <a:latin typeface="Calibri"/>
                <a:cs typeface="Calibri" panose="020F0502020204030204" pitchFamily="34" charset="0"/>
              </a:endParaRP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Calibri"/>
                  <a:ea typeface="+mn-ea"/>
                  <a:cs typeface="Calibri" panose="020F0502020204030204" pitchFamily="34" charset="0"/>
                </a:rPr>
                <a:t> </a:t>
              </a:r>
              <a:r>
                <a:rPr kumimoji="0" lang="en-GB" sz="1800" b="0" i="1" u="none" strike="noStrike" kern="1200" cap="none" spc="0" normalizeH="0" baseline="0" noProof="0">
                  <a:ln>
                    <a:noFill/>
                  </a:ln>
                  <a:solidFill>
                    <a:srgbClr val="FFFFFF"/>
                  </a:solidFill>
                  <a:effectLst/>
                  <a:uLnTx/>
                  <a:uFillTx/>
                  <a:latin typeface="Calibri"/>
                  <a:ea typeface="+mn-ea"/>
                  <a:cs typeface="Calibri" panose="020F0502020204030204" pitchFamily="34" charset="0"/>
                </a:rPr>
                <a:t>Japanese Proverb</a:t>
              </a:r>
            </a:p>
          </p:txBody>
        </p:sp>
        <p:sp>
          <p:nvSpPr>
            <p:cNvPr id="36" name="Freeform: Shape 35">
              <a:extLst>
                <a:ext uri="{FF2B5EF4-FFF2-40B4-BE49-F238E27FC236}">
                  <a16:creationId xmlns:a16="http://schemas.microsoft.com/office/drawing/2014/main" id="{304BB7CE-DB11-DD24-122B-AED811024DBF}"/>
                </a:ext>
              </a:extLst>
            </p:cNvPr>
            <p:cNvSpPr>
              <a:spLocks noChangeAspect="1"/>
            </p:cNvSpPr>
            <p:nvPr/>
          </p:nvSpPr>
          <p:spPr>
            <a:xfrm>
              <a:off x="9836167" y="2610921"/>
              <a:ext cx="409627" cy="355815"/>
            </a:xfrm>
            <a:custGeom>
              <a:avLst/>
              <a:gdLst/>
              <a:ahLst/>
              <a:cxnLst/>
              <a:rect l="l" t="t" r="r" b="b"/>
              <a:pathLst>
                <a:path w="852678" h="740664">
                  <a:moveTo>
                    <a:pt x="715518" y="0"/>
                  </a:moveTo>
                  <a:lnTo>
                    <a:pt x="800100" y="0"/>
                  </a:lnTo>
                  <a:lnTo>
                    <a:pt x="706374" y="388620"/>
                  </a:lnTo>
                  <a:lnTo>
                    <a:pt x="852678" y="388620"/>
                  </a:lnTo>
                  <a:lnTo>
                    <a:pt x="852678" y="740664"/>
                  </a:lnTo>
                  <a:lnTo>
                    <a:pt x="480060" y="740664"/>
                  </a:lnTo>
                  <a:lnTo>
                    <a:pt x="480060" y="436626"/>
                  </a:lnTo>
                  <a:close/>
                  <a:moveTo>
                    <a:pt x="235458" y="0"/>
                  </a:moveTo>
                  <a:lnTo>
                    <a:pt x="320040" y="0"/>
                  </a:lnTo>
                  <a:lnTo>
                    <a:pt x="226314" y="388620"/>
                  </a:lnTo>
                  <a:lnTo>
                    <a:pt x="372618" y="388620"/>
                  </a:lnTo>
                  <a:lnTo>
                    <a:pt x="372618" y="740664"/>
                  </a:lnTo>
                  <a:lnTo>
                    <a:pt x="0" y="740664"/>
                  </a:lnTo>
                  <a:lnTo>
                    <a:pt x="0" y="436626"/>
                  </a:lnTo>
                  <a:close/>
                </a:path>
              </a:pathLst>
            </a:cu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37" name="TextBox 36">
              <a:extLst>
                <a:ext uri="{FF2B5EF4-FFF2-40B4-BE49-F238E27FC236}">
                  <a16:creationId xmlns:a16="http://schemas.microsoft.com/office/drawing/2014/main" id="{E25C32CE-3A71-7A9E-C90E-420A9E27DCBD}"/>
                </a:ext>
              </a:extLst>
            </p:cNvPr>
            <p:cNvSpPr txBox="1"/>
            <p:nvPr/>
          </p:nvSpPr>
          <p:spPr>
            <a:xfrm>
              <a:off x="9744119" y="3083166"/>
              <a:ext cx="204071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GB" sz="2400" b="0" i="0" u="none" strike="noStrike" kern="1200" cap="none" spc="0" normalizeH="0" baseline="0" noProof="0">
                  <a:ln>
                    <a:noFill/>
                  </a:ln>
                  <a:solidFill>
                    <a:srgbClr val="FFFFFF"/>
                  </a:solidFill>
                  <a:effectLst/>
                  <a:uLnTx/>
                  <a:uFillTx/>
                  <a:latin typeface="Calibri"/>
                  <a:ea typeface="Meiryo" panose="020B0604030504040204" pitchFamily="34" charset="-128"/>
                  <a:cs typeface="Calibri" panose="020F0502020204030204" pitchFamily="34" charset="0"/>
                </a:rPr>
                <a:t>七転び八起き</a:t>
              </a:r>
              <a:endParaRPr kumimoji="0" lang="en-GB" altLang="ja-JP" sz="2400" b="0" i="0" u="none" strike="noStrike" kern="1200" cap="none" spc="0" normalizeH="0" baseline="0" noProof="0">
                <a:ln>
                  <a:noFill/>
                </a:ln>
                <a:solidFill>
                  <a:srgbClr val="FFFFFF"/>
                </a:solidFill>
                <a:effectLst/>
                <a:uLnTx/>
                <a:uFillTx/>
                <a:latin typeface="Calibri"/>
                <a:ea typeface="Meiryo" panose="020B0604030504040204" pitchFamily="34" charset="-128"/>
                <a:cs typeface="Calibri" panose="020F0502020204030204" pitchFamily="34" charset="0"/>
              </a:endParaRPr>
            </a:p>
          </p:txBody>
        </p:sp>
      </p:grpSp>
    </p:spTree>
    <p:extLst>
      <p:ext uri="{BB962C8B-B14F-4D97-AF65-F5344CB8AC3E}">
        <p14:creationId xmlns:p14="http://schemas.microsoft.com/office/powerpoint/2010/main" val="8455343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E6A9AC-D9F1-4092-9D83-8908431B90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A5E6A9AC-D9F1-4092-9D83-8908431B90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85884CF4-6E13-4FE0-965B-AF46AF047098}"/>
              </a:ext>
            </a:extLst>
          </p:cNvPr>
          <p:cNvSpPr/>
          <p:nvPr/>
        </p:nvSpPr>
        <p:spPr>
          <a:xfrm>
            <a:off x="8280400" y="1397000"/>
            <a:ext cx="3911599" cy="4715042"/>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pic>
        <p:nvPicPr>
          <p:cNvPr id="5" name="Picture 4">
            <a:extLst>
              <a:ext uri="{FF2B5EF4-FFF2-40B4-BE49-F238E27FC236}">
                <a16:creationId xmlns:a16="http://schemas.microsoft.com/office/drawing/2014/main" id="{95C02127-E79E-431A-BE80-CDFA5F2CB11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505803" y="2014740"/>
            <a:ext cx="1052756" cy="1045733"/>
          </a:xfrm>
          <a:prstGeom prst="ellipse">
            <a:avLst/>
          </a:prstGeom>
          <a:ln>
            <a:noFill/>
          </a:ln>
        </p:spPr>
      </p:pic>
      <p:cxnSp>
        <p:nvCxnSpPr>
          <p:cNvPr id="10" name="Straight Arrow Connector 9">
            <a:extLst>
              <a:ext uri="{FF2B5EF4-FFF2-40B4-BE49-F238E27FC236}">
                <a16:creationId xmlns:a16="http://schemas.microsoft.com/office/drawing/2014/main" id="{700E21CA-88A1-4F4A-82D4-4CA6803FC514}"/>
              </a:ext>
            </a:extLst>
          </p:cNvPr>
          <p:cNvCxnSpPr>
            <a:cxnSpLocks/>
          </p:cNvCxnSpPr>
          <p:nvPr/>
        </p:nvCxnSpPr>
        <p:spPr>
          <a:xfrm>
            <a:off x="1505073" y="1740586"/>
            <a:ext cx="6318127" cy="32828"/>
          </a:xfrm>
          <a:prstGeom prst="straightConnector1">
            <a:avLst/>
          </a:prstGeom>
          <a:ln w="762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29FBDD2-E85E-4407-9C41-542C9733F57E}"/>
              </a:ext>
            </a:extLst>
          </p:cNvPr>
          <p:cNvPicPr>
            <a:picLocks/>
          </p:cNvPicPr>
          <p:nvPr/>
        </p:nvPicPr>
        <p:blipFill rotWithShape="1">
          <a:blip r:embed="rId7" cstate="screen">
            <a:extLst>
              <a:ext uri="{28A0092B-C50C-407E-A947-70E740481C1C}">
                <a14:useLocalDpi xmlns:a14="http://schemas.microsoft.com/office/drawing/2010/main"/>
              </a:ext>
            </a:extLst>
          </a:blip>
          <a:srcRect/>
          <a:stretch/>
        </p:blipFill>
        <p:spPr>
          <a:xfrm>
            <a:off x="5249648" y="1397000"/>
            <a:ext cx="720000" cy="720000"/>
          </a:xfrm>
          <a:prstGeom prst="ellipse">
            <a:avLst/>
          </a:prstGeom>
          <a:ln>
            <a:solidFill>
              <a:schemeClr val="tx1"/>
            </a:solidFill>
          </a:ln>
        </p:spPr>
      </p:pic>
      <p:sp>
        <p:nvSpPr>
          <p:cNvPr id="12" name="Footnote">
            <a:extLst>
              <a:ext uri="{FF2B5EF4-FFF2-40B4-BE49-F238E27FC236}">
                <a16:creationId xmlns:a16="http://schemas.microsoft.com/office/drawing/2014/main" id="{93E6DB81-32CA-4E97-B42B-DB5E48ED0928}"/>
              </a:ext>
            </a:extLst>
          </p:cNvPr>
          <p:cNvSpPr/>
          <p:nvPr/>
        </p:nvSpPr>
        <p:spPr>
          <a:xfrm>
            <a:off x="457200" y="6277690"/>
            <a:ext cx="11218244" cy="123111"/>
          </a:xfrm>
          <a:prstGeom prst="rect">
            <a:avLst/>
          </a:prstGeom>
        </p:spPr>
        <p:txBody>
          <a:bodyPr vert="horz" wrap="square" lIns="0" tIns="0" rIns="0" bIns="0" rtlCol="0" anchor="b" anchorCtr="0">
            <a:spAutoFit/>
          </a:bodyPr>
          <a:lstStyle/>
          <a:p>
            <a:pPr defTabSz="914370"/>
            <a:r>
              <a:rPr lang="en-GB" sz="800" kern="0"/>
              <a:t>1. Publication of </a:t>
            </a:r>
            <a:r>
              <a:rPr lang="en-GB" sz="800" i="1" kern="0"/>
              <a:t>The General Theory</a:t>
            </a:r>
            <a:r>
              <a:rPr lang="en-GB" sz="800" kern="0"/>
              <a:t>; 2. Discovered in 1929 but first medical usage in 1939; 3. First article published in Dec 1938, democratization of technology during WW2; 4. First usage at large scale | Sources: Press articles, Oliver Wyman</a:t>
            </a:r>
          </a:p>
        </p:txBody>
      </p:sp>
      <p:pic>
        <p:nvPicPr>
          <p:cNvPr id="13" name="Picture 12">
            <a:extLst>
              <a:ext uri="{FF2B5EF4-FFF2-40B4-BE49-F238E27FC236}">
                <a16:creationId xmlns:a16="http://schemas.microsoft.com/office/drawing/2014/main" id="{01B30255-4E9D-4A54-8541-26F7765CC98F}"/>
              </a:ext>
            </a:extLst>
          </p:cNvPr>
          <p:cNvPicPr>
            <a:picLocks/>
          </p:cNvPicPr>
          <p:nvPr/>
        </p:nvPicPr>
        <p:blipFill rotWithShape="1">
          <a:blip r:embed="rId8" cstate="screen">
            <a:extLst>
              <a:ext uri="{28A0092B-C50C-407E-A947-70E740481C1C}">
                <a14:useLocalDpi xmlns:a14="http://schemas.microsoft.com/office/drawing/2010/main"/>
              </a:ext>
            </a:extLst>
          </a:blip>
          <a:srcRect/>
          <a:stretch/>
        </p:blipFill>
        <p:spPr>
          <a:xfrm>
            <a:off x="3790776" y="1397000"/>
            <a:ext cx="720000" cy="720000"/>
          </a:xfrm>
          <a:prstGeom prst="ellipse">
            <a:avLst/>
          </a:prstGeom>
          <a:ln>
            <a:solidFill>
              <a:schemeClr val="tx1"/>
            </a:solidFill>
          </a:ln>
        </p:spPr>
      </p:pic>
      <p:sp>
        <p:nvSpPr>
          <p:cNvPr id="14" name="TextBox 13">
            <a:extLst>
              <a:ext uri="{FF2B5EF4-FFF2-40B4-BE49-F238E27FC236}">
                <a16:creationId xmlns:a16="http://schemas.microsoft.com/office/drawing/2014/main" id="{3378E6B1-4493-44D6-ADAA-96A0C036C30F}"/>
              </a:ext>
            </a:extLst>
          </p:cNvPr>
          <p:cNvSpPr txBox="1"/>
          <p:nvPr/>
        </p:nvSpPr>
        <p:spPr>
          <a:xfrm>
            <a:off x="3758040" y="2164889"/>
            <a:ext cx="785471" cy="430887"/>
          </a:xfrm>
          <a:prstGeom prst="rect">
            <a:avLst/>
          </a:prstGeom>
          <a:noFill/>
        </p:spPr>
        <p:txBody>
          <a:bodyPr wrap="none" lIns="0" tIns="0" rIns="0" bIns="0" rtlCol="0">
            <a:spAutoFit/>
          </a:bodyPr>
          <a:lstStyle/>
          <a:p>
            <a:pPr algn="ctr"/>
            <a:r>
              <a:rPr lang="en-GB" sz="1400" b="1" kern="0"/>
              <a:t>WW2</a:t>
            </a:r>
          </a:p>
          <a:p>
            <a:pPr algn="ctr"/>
            <a:r>
              <a:rPr lang="en-GB" sz="1400" kern="0"/>
              <a:t>1939-1945</a:t>
            </a:r>
          </a:p>
        </p:txBody>
      </p:sp>
      <p:pic>
        <p:nvPicPr>
          <p:cNvPr id="15" name="Picture 14">
            <a:extLst>
              <a:ext uri="{FF2B5EF4-FFF2-40B4-BE49-F238E27FC236}">
                <a16:creationId xmlns:a16="http://schemas.microsoft.com/office/drawing/2014/main" id="{005ECA95-5C71-4E5F-B197-F2C1F34056D3}"/>
              </a:ext>
            </a:extLst>
          </p:cNvPr>
          <p:cNvPicPr>
            <a:picLocks/>
          </p:cNvPicPr>
          <p:nvPr/>
        </p:nvPicPr>
        <p:blipFill rotWithShape="1">
          <a:blip r:embed="rId9" cstate="screen">
            <a:extLst>
              <a:ext uri="{28A0092B-C50C-407E-A947-70E740481C1C}">
                <a14:useLocalDpi xmlns:a14="http://schemas.microsoft.com/office/drawing/2010/main"/>
              </a:ext>
            </a:extLst>
          </a:blip>
          <a:srcRect l="-852"/>
          <a:stretch/>
        </p:blipFill>
        <p:spPr>
          <a:xfrm>
            <a:off x="3868504" y="5002698"/>
            <a:ext cx="564544" cy="564544"/>
          </a:xfrm>
          <a:prstGeom prst="ellipse">
            <a:avLst/>
          </a:prstGeom>
          <a:ln>
            <a:solidFill>
              <a:schemeClr val="accent4"/>
            </a:solidFill>
          </a:ln>
        </p:spPr>
      </p:pic>
      <p:sp>
        <p:nvSpPr>
          <p:cNvPr id="16" name="TextBox 15">
            <a:extLst>
              <a:ext uri="{FF2B5EF4-FFF2-40B4-BE49-F238E27FC236}">
                <a16:creationId xmlns:a16="http://schemas.microsoft.com/office/drawing/2014/main" id="{217F457C-DD0F-432F-804C-EEEE77FBA2A3}"/>
              </a:ext>
            </a:extLst>
          </p:cNvPr>
          <p:cNvSpPr txBox="1"/>
          <p:nvPr/>
        </p:nvSpPr>
        <p:spPr>
          <a:xfrm>
            <a:off x="3778078" y="5579763"/>
            <a:ext cx="745397" cy="430887"/>
          </a:xfrm>
          <a:prstGeom prst="rect">
            <a:avLst/>
          </a:prstGeom>
          <a:noFill/>
        </p:spPr>
        <p:txBody>
          <a:bodyPr wrap="none" lIns="0" tIns="0" rIns="0" bIns="0" rtlCol="0">
            <a:spAutoFit/>
          </a:bodyPr>
          <a:lstStyle/>
          <a:p>
            <a:pPr algn="ctr"/>
            <a:r>
              <a:rPr lang="en-GB" sz="1400" b="1" kern="0"/>
              <a:t>Computer</a:t>
            </a:r>
          </a:p>
          <a:p>
            <a:pPr algn="ctr"/>
            <a:r>
              <a:rPr lang="en-GB" sz="1400" kern="0"/>
              <a:t>1943</a:t>
            </a:r>
          </a:p>
        </p:txBody>
      </p:sp>
      <p:pic>
        <p:nvPicPr>
          <p:cNvPr id="17" name="Picture 16">
            <a:extLst>
              <a:ext uri="{FF2B5EF4-FFF2-40B4-BE49-F238E27FC236}">
                <a16:creationId xmlns:a16="http://schemas.microsoft.com/office/drawing/2014/main" id="{8C3924E4-5D8B-425A-AB11-8FC664E60D82}"/>
              </a:ext>
            </a:extLst>
          </p:cNvPr>
          <p:cNvPicPr>
            <a:picLocks/>
          </p:cNvPicPr>
          <p:nvPr/>
        </p:nvPicPr>
        <p:blipFill rotWithShape="1">
          <a:blip r:embed="rId10" cstate="screen">
            <a:extLst>
              <a:ext uri="{28A0092B-C50C-407E-A947-70E740481C1C}">
                <a14:useLocalDpi xmlns:a14="http://schemas.microsoft.com/office/drawing/2010/main"/>
              </a:ext>
            </a:extLst>
          </a:blip>
          <a:srcRect/>
          <a:stretch/>
        </p:blipFill>
        <p:spPr>
          <a:xfrm>
            <a:off x="2257715" y="1397000"/>
            <a:ext cx="720000" cy="720000"/>
          </a:xfrm>
          <a:prstGeom prst="ellipse">
            <a:avLst/>
          </a:prstGeom>
          <a:ln>
            <a:solidFill>
              <a:schemeClr val="tx1"/>
            </a:solidFill>
          </a:ln>
        </p:spPr>
      </p:pic>
      <p:sp>
        <p:nvSpPr>
          <p:cNvPr id="18" name="TextBox 17">
            <a:extLst>
              <a:ext uri="{FF2B5EF4-FFF2-40B4-BE49-F238E27FC236}">
                <a16:creationId xmlns:a16="http://schemas.microsoft.com/office/drawing/2014/main" id="{1CF2F668-F48C-4583-95C0-5B70E37B6F3B}"/>
              </a:ext>
            </a:extLst>
          </p:cNvPr>
          <p:cNvSpPr txBox="1"/>
          <p:nvPr/>
        </p:nvSpPr>
        <p:spPr>
          <a:xfrm>
            <a:off x="1970903" y="2164889"/>
            <a:ext cx="1293624" cy="430887"/>
          </a:xfrm>
          <a:prstGeom prst="rect">
            <a:avLst/>
          </a:prstGeom>
          <a:noFill/>
        </p:spPr>
        <p:txBody>
          <a:bodyPr wrap="none" lIns="0" tIns="0" rIns="0" bIns="0" rtlCol="0">
            <a:spAutoFit/>
          </a:bodyPr>
          <a:lstStyle/>
          <a:p>
            <a:pPr algn="ctr"/>
            <a:r>
              <a:rPr lang="en-GB" sz="1400" b="1" kern="0"/>
              <a:t>Great Depression</a:t>
            </a:r>
          </a:p>
          <a:p>
            <a:pPr algn="ctr"/>
            <a:r>
              <a:rPr lang="en-GB" sz="1400" kern="0"/>
              <a:t>1929-1939</a:t>
            </a:r>
          </a:p>
        </p:txBody>
      </p:sp>
      <p:sp>
        <p:nvSpPr>
          <p:cNvPr id="19" name="TextBox 18">
            <a:extLst>
              <a:ext uri="{FF2B5EF4-FFF2-40B4-BE49-F238E27FC236}">
                <a16:creationId xmlns:a16="http://schemas.microsoft.com/office/drawing/2014/main" id="{1CA7BB44-BEC0-4175-A5A3-988A21CE70C3}"/>
              </a:ext>
            </a:extLst>
          </p:cNvPr>
          <p:cNvSpPr txBox="1"/>
          <p:nvPr/>
        </p:nvSpPr>
        <p:spPr>
          <a:xfrm>
            <a:off x="3748422" y="3324319"/>
            <a:ext cx="804707" cy="430887"/>
          </a:xfrm>
          <a:prstGeom prst="rect">
            <a:avLst/>
          </a:prstGeom>
          <a:noFill/>
        </p:spPr>
        <p:txBody>
          <a:bodyPr wrap="none" lIns="0" tIns="0" rIns="0" bIns="0" rtlCol="0">
            <a:spAutoFit/>
          </a:bodyPr>
          <a:lstStyle/>
          <a:p>
            <a:pPr algn="ctr"/>
            <a:r>
              <a:rPr lang="en-GB" sz="1400" b="1" kern="0"/>
              <a:t>Antibiotics</a:t>
            </a:r>
          </a:p>
          <a:p>
            <a:pPr algn="ctr"/>
            <a:r>
              <a:rPr lang="en-GB" sz="1400" kern="0"/>
              <a:t>1939</a:t>
            </a:r>
            <a:r>
              <a:rPr lang="en-GB" sz="1400" kern="0" baseline="30000"/>
              <a:t>2</a:t>
            </a:r>
          </a:p>
        </p:txBody>
      </p:sp>
      <p:pic>
        <p:nvPicPr>
          <p:cNvPr id="20" name="Picture 19">
            <a:extLst>
              <a:ext uri="{FF2B5EF4-FFF2-40B4-BE49-F238E27FC236}">
                <a16:creationId xmlns:a16="http://schemas.microsoft.com/office/drawing/2014/main" id="{73017228-E652-4E6B-A4D6-A7972D406014}"/>
              </a:ext>
            </a:extLst>
          </p:cNvPr>
          <p:cNvPicPr>
            <a:picLocks/>
          </p:cNvPicPr>
          <p:nvPr/>
        </p:nvPicPr>
        <p:blipFill rotWithShape="1">
          <a:blip r:embed="rId11" cstate="screen">
            <a:extLst>
              <a:ext uri="{28A0092B-C50C-407E-A947-70E740481C1C}">
                <a14:useLocalDpi xmlns:a14="http://schemas.microsoft.com/office/drawing/2010/main"/>
              </a:ext>
            </a:extLst>
          </a:blip>
          <a:srcRect/>
          <a:stretch/>
        </p:blipFill>
        <p:spPr>
          <a:xfrm>
            <a:off x="3868504" y="2752876"/>
            <a:ext cx="564544" cy="564544"/>
          </a:xfrm>
          <a:prstGeom prst="ellipse">
            <a:avLst/>
          </a:prstGeom>
          <a:ln>
            <a:solidFill>
              <a:schemeClr val="accent4"/>
            </a:solidFill>
          </a:ln>
        </p:spPr>
      </p:pic>
      <p:pic>
        <p:nvPicPr>
          <p:cNvPr id="21" name="Picture 20">
            <a:extLst>
              <a:ext uri="{FF2B5EF4-FFF2-40B4-BE49-F238E27FC236}">
                <a16:creationId xmlns:a16="http://schemas.microsoft.com/office/drawing/2014/main" id="{A26314C1-2163-45FC-B48A-7BD65DB162A2}"/>
              </a:ext>
            </a:extLst>
          </p:cNvPr>
          <p:cNvPicPr>
            <a:picLocks/>
          </p:cNvPicPr>
          <p:nvPr/>
        </p:nvPicPr>
        <p:blipFill>
          <a:blip r:embed="rId12" cstate="screen">
            <a:extLst>
              <a:ext uri="{28A0092B-C50C-407E-A947-70E740481C1C}">
                <a14:useLocalDpi xmlns:a14="http://schemas.microsoft.com/office/drawing/2010/main"/>
              </a:ext>
            </a:extLst>
          </a:blip>
          <a:stretch>
            <a:fillRect/>
          </a:stretch>
        </p:blipFill>
        <p:spPr>
          <a:xfrm>
            <a:off x="2335443" y="4206754"/>
            <a:ext cx="564544" cy="564544"/>
          </a:xfrm>
          <a:prstGeom prst="ellipse">
            <a:avLst/>
          </a:prstGeom>
          <a:ln>
            <a:solidFill>
              <a:schemeClr val="accent4"/>
            </a:solidFill>
          </a:ln>
        </p:spPr>
      </p:pic>
      <p:sp>
        <p:nvSpPr>
          <p:cNvPr id="22" name="TextBox 21">
            <a:extLst>
              <a:ext uri="{FF2B5EF4-FFF2-40B4-BE49-F238E27FC236}">
                <a16:creationId xmlns:a16="http://schemas.microsoft.com/office/drawing/2014/main" id="{9F956C70-358E-4E2B-B8AF-BD368B3FFDC0}"/>
              </a:ext>
            </a:extLst>
          </p:cNvPr>
          <p:cNvSpPr txBox="1"/>
          <p:nvPr/>
        </p:nvSpPr>
        <p:spPr>
          <a:xfrm>
            <a:off x="1986934" y="4776404"/>
            <a:ext cx="1261563" cy="646331"/>
          </a:xfrm>
          <a:prstGeom prst="rect">
            <a:avLst/>
          </a:prstGeom>
          <a:noFill/>
        </p:spPr>
        <p:txBody>
          <a:bodyPr wrap="none" lIns="0" tIns="0" rIns="0" bIns="0" rtlCol="0">
            <a:spAutoFit/>
          </a:bodyPr>
          <a:lstStyle/>
          <a:p>
            <a:pPr algn="ctr"/>
            <a:r>
              <a:rPr lang="en-GB" sz="1400" b="1" kern="0"/>
              <a:t>Modern </a:t>
            </a:r>
            <a:br>
              <a:rPr lang="en-GB" sz="1400" b="1" kern="0"/>
            </a:br>
            <a:r>
              <a:rPr lang="en-GB" sz="1400" b="1" kern="0"/>
              <a:t>macroeconomics</a:t>
            </a:r>
          </a:p>
          <a:p>
            <a:pPr algn="ctr"/>
            <a:r>
              <a:rPr lang="en-GB" sz="1400" kern="0"/>
              <a:t>1936</a:t>
            </a:r>
            <a:r>
              <a:rPr lang="en-GB" sz="1400" kern="0" baseline="30000"/>
              <a:t>1</a:t>
            </a:r>
          </a:p>
        </p:txBody>
      </p:sp>
      <p:sp>
        <p:nvSpPr>
          <p:cNvPr id="23" name="TextBox 22">
            <a:extLst>
              <a:ext uri="{FF2B5EF4-FFF2-40B4-BE49-F238E27FC236}">
                <a16:creationId xmlns:a16="http://schemas.microsoft.com/office/drawing/2014/main" id="{FFBD1B6E-770F-4C01-976C-1EFE701EDE8C}"/>
              </a:ext>
            </a:extLst>
          </p:cNvPr>
          <p:cNvSpPr txBox="1"/>
          <p:nvPr/>
        </p:nvSpPr>
        <p:spPr>
          <a:xfrm>
            <a:off x="5160807" y="2164889"/>
            <a:ext cx="897682" cy="430887"/>
          </a:xfrm>
          <a:prstGeom prst="rect">
            <a:avLst/>
          </a:prstGeom>
          <a:noFill/>
        </p:spPr>
        <p:txBody>
          <a:bodyPr wrap="none" lIns="0" tIns="0" rIns="0" bIns="0" rtlCol="0">
            <a:spAutoFit/>
          </a:bodyPr>
          <a:lstStyle/>
          <a:p>
            <a:pPr algn="ctr"/>
            <a:r>
              <a:rPr lang="en-GB" sz="1400" b="1" kern="0"/>
              <a:t>Coronavirus</a:t>
            </a:r>
          </a:p>
          <a:p>
            <a:pPr algn="ctr"/>
            <a:r>
              <a:rPr lang="en-GB" sz="1400" kern="0"/>
              <a:t>2020-2022</a:t>
            </a:r>
          </a:p>
        </p:txBody>
      </p:sp>
      <p:pic>
        <p:nvPicPr>
          <p:cNvPr id="24" name="Picture 23" descr="A person holding a syringe with a vaccine&#10;&#10;Description automatically generated">
            <a:extLst>
              <a:ext uri="{FF2B5EF4-FFF2-40B4-BE49-F238E27FC236}">
                <a16:creationId xmlns:a16="http://schemas.microsoft.com/office/drawing/2014/main" id="{744FE757-0613-4171-A17F-7FD311A38307}"/>
              </a:ext>
            </a:extLst>
          </p:cNvPr>
          <p:cNvPicPr>
            <a:picLocks/>
          </p:cNvPicPr>
          <p:nvPr/>
        </p:nvPicPr>
        <p:blipFill rotWithShape="1">
          <a:blip r:embed="rId13" cstate="screen">
            <a:extLst>
              <a:ext uri="{28A0092B-C50C-407E-A947-70E740481C1C}">
                <a14:useLocalDpi xmlns:a14="http://schemas.microsoft.com/office/drawing/2010/main"/>
              </a:ext>
            </a:extLst>
          </a:blip>
          <a:srcRect/>
          <a:stretch/>
        </p:blipFill>
        <p:spPr>
          <a:xfrm>
            <a:off x="5327376" y="3035080"/>
            <a:ext cx="564544" cy="564544"/>
          </a:xfrm>
          <a:prstGeom prst="ellipse">
            <a:avLst/>
          </a:prstGeom>
          <a:ln>
            <a:solidFill>
              <a:schemeClr val="accent4"/>
            </a:solidFill>
          </a:ln>
        </p:spPr>
      </p:pic>
      <p:sp>
        <p:nvSpPr>
          <p:cNvPr id="25" name="TextBox 24">
            <a:extLst>
              <a:ext uri="{FF2B5EF4-FFF2-40B4-BE49-F238E27FC236}">
                <a16:creationId xmlns:a16="http://schemas.microsoft.com/office/drawing/2014/main" id="{2F0D580F-4D37-4CDD-917D-3CC727B09A7F}"/>
              </a:ext>
            </a:extLst>
          </p:cNvPr>
          <p:cNvSpPr txBox="1"/>
          <p:nvPr/>
        </p:nvSpPr>
        <p:spPr>
          <a:xfrm>
            <a:off x="5038979" y="3607978"/>
            <a:ext cx="1141338" cy="430887"/>
          </a:xfrm>
          <a:prstGeom prst="rect">
            <a:avLst/>
          </a:prstGeom>
          <a:noFill/>
        </p:spPr>
        <p:txBody>
          <a:bodyPr wrap="none" lIns="0" tIns="0" rIns="0" bIns="0" rtlCol="0">
            <a:spAutoFit/>
          </a:bodyPr>
          <a:lstStyle/>
          <a:p>
            <a:pPr algn="ctr"/>
            <a:r>
              <a:rPr lang="en-GB" sz="1400" b="1" kern="0"/>
              <a:t>mRNA vaccines</a:t>
            </a:r>
          </a:p>
          <a:p>
            <a:pPr algn="ctr"/>
            <a:r>
              <a:rPr lang="en-GB" sz="1400" kern="0"/>
              <a:t>2020</a:t>
            </a:r>
            <a:r>
              <a:rPr lang="en-GB" sz="1400" kern="0" baseline="30000"/>
              <a:t>4</a:t>
            </a:r>
          </a:p>
        </p:txBody>
      </p:sp>
      <p:sp>
        <p:nvSpPr>
          <p:cNvPr id="26" name="TextBox 25">
            <a:extLst>
              <a:ext uri="{FF2B5EF4-FFF2-40B4-BE49-F238E27FC236}">
                <a16:creationId xmlns:a16="http://schemas.microsoft.com/office/drawing/2014/main" id="{EF8DEEE9-65A8-45A5-9C7E-0A74F02AEB5B}"/>
              </a:ext>
            </a:extLst>
          </p:cNvPr>
          <p:cNvSpPr txBox="1"/>
          <p:nvPr/>
        </p:nvSpPr>
        <p:spPr>
          <a:xfrm>
            <a:off x="3600946" y="4441169"/>
            <a:ext cx="1099660" cy="430887"/>
          </a:xfrm>
          <a:prstGeom prst="rect">
            <a:avLst/>
          </a:prstGeom>
          <a:noFill/>
        </p:spPr>
        <p:txBody>
          <a:bodyPr wrap="none" lIns="0" tIns="0" rIns="0" bIns="0" rtlCol="0">
            <a:spAutoFit/>
          </a:bodyPr>
          <a:lstStyle/>
          <a:p>
            <a:pPr algn="ctr"/>
            <a:r>
              <a:rPr lang="en-GB" sz="1400" b="1" kern="0"/>
              <a:t>Nuclear fission</a:t>
            </a:r>
          </a:p>
          <a:p>
            <a:pPr algn="ctr"/>
            <a:r>
              <a:rPr lang="en-GB" sz="1400" kern="0"/>
              <a:t>1939-1945</a:t>
            </a:r>
            <a:r>
              <a:rPr lang="en-GB" sz="1400" kern="0" baseline="30000"/>
              <a:t>3</a:t>
            </a:r>
          </a:p>
        </p:txBody>
      </p:sp>
      <p:pic>
        <p:nvPicPr>
          <p:cNvPr id="27" name="Picture 26">
            <a:extLst>
              <a:ext uri="{FF2B5EF4-FFF2-40B4-BE49-F238E27FC236}">
                <a16:creationId xmlns:a16="http://schemas.microsoft.com/office/drawing/2014/main" id="{F9E96FC2-FA88-470B-B506-64AA984622CF}"/>
              </a:ext>
            </a:extLst>
          </p:cNvPr>
          <p:cNvPicPr>
            <a:picLocks/>
          </p:cNvPicPr>
          <p:nvPr/>
        </p:nvPicPr>
        <p:blipFill rotWithShape="1">
          <a:blip r:embed="rId14" cstate="screen">
            <a:extLst>
              <a:ext uri="{28A0092B-C50C-407E-A947-70E740481C1C}">
                <a14:useLocalDpi xmlns:a14="http://schemas.microsoft.com/office/drawing/2010/main"/>
              </a:ext>
            </a:extLst>
          </a:blip>
          <a:srcRect/>
          <a:stretch/>
        </p:blipFill>
        <p:spPr>
          <a:xfrm>
            <a:off x="3868504" y="3855975"/>
            <a:ext cx="564544" cy="564544"/>
          </a:xfrm>
          <a:prstGeom prst="ellipse">
            <a:avLst/>
          </a:prstGeom>
          <a:solidFill>
            <a:schemeClr val="bg1"/>
          </a:solidFill>
          <a:ln>
            <a:solidFill>
              <a:schemeClr val="accent4"/>
            </a:solidFill>
          </a:ln>
        </p:spPr>
      </p:pic>
      <p:pic>
        <p:nvPicPr>
          <p:cNvPr id="28" name="Picture 27">
            <a:extLst>
              <a:ext uri="{FF2B5EF4-FFF2-40B4-BE49-F238E27FC236}">
                <a16:creationId xmlns:a16="http://schemas.microsoft.com/office/drawing/2014/main" id="{7C3FFF5C-4A8E-45AA-814F-B5D271DF3232}"/>
              </a:ext>
            </a:extLst>
          </p:cNvPr>
          <p:cNvPicPr>
            <a:picLocks/>
          </p:cNvPicPr>
          <p:nvPr/>
        </p:nvPicPr>
        <p:blipFill rotWithShape="1">
          <a:blip r:embed="rId15" cstate="screen">
            <a:extLst>
              <a:ext uri="{28A0092B-C50C-407E-A947-70E740481C1C}">
                <a14:useLocalDpi xmlns:a14="http://schemas.microsoft.com/office/drawing/2010/main"/>
              </a:ext>
            </a:extLst>
          </a:blip>
          <a:srcRect/>
          <a:stretch/>
        </p:blipFill>
        <p:spPr>
          <a:xfrm>
            <a:off x="6734288" y="1397000"/>
            <a:ext cx="720000" cy="720000"/>
          </a:xfrm>
          <a:prstGeom prst="ellipse">
            <a:avLst/>
          </a:prstGeom>
          <a:ln>
            <a:solidFill>
              <a:schemeClr val="tx1"/>
            </a:solidFill>
          </a:ln>
        </p:spPr>
      </p:pic>
      <p:sp>
        <p:nvSpPr>
          <p:cNvPr id="29" name="TextBox 28">
            <a:extLst>
              <a:ext uri="{FF2B5EF4-FFF2-40B4-BE49-F238E27FC236}">
                <a16:creationId xmlns:a16="http://schemas.microsoft.com/office/drawing/2014/main" id="{93431231-7B71-47FF-99E6-5498CB01A18A}"/>
              </a:ext>
            </a:extLst>
          </p:cNvPr>
          <p:cNvSpPr txBox="1"/>
          <p:nvPr/>
        </p:nvSpPr>
        <p:spPr>
          <a:xfrm>
            <a:off x="6638234" y="2164889"/>
            <a:ext cx="912109" cy="430887"/>
          </a:xfrm>
          <a:prstGeom prst="rect">
            <a:avLst/>
          </a:prstGeom>
          <a:noFill/>
        </p:spPr>
        <p:txBody>
          <a:bodyPr wrap="none" lIns="0" tIns="0" rIns="0" bIns="0" rtlCol="0">
            <a:spAutoFit/>
          </a:bodyPr>
          <a:lstStyle/>
          <a:p>
            <a:pPr algn="ctr"/>
            <a:r>
              <a:rPr lang="en-GB" sz="1400" b="1" kern="0"/>
              <a:t>Perma-crisis</a:t>
            </a:r>
          </a:p>
          <a:p>
            <a:pPr algn="ctr"/>
            <a:r>
              <a:rPr lang="en-GB" sz="1400" kern="0"/>
              <a:t>2022-</a:t>
            </a:r>
          </a:p>
        </p:txBody>
      </p:sp>
      <p:pic>
        <p:nvPicPr>
          <p:cNvPr id="32" name="Picture 31" descr="A person lying down on a couch using a computer&#10;&#10;Description automatically generated">
            <a:extLst>
              <a:ext uri="{FF2B5EF4-FFF2-40B4-BE49-F238E27FC236}">
                <a16:creationId xmlns:a16="http://schemas.microsoft.com/office/drawing/2014/main" id="{68A902FB-F83D-4933-BC57-C42D7B9B342B}"/>
              </a:ext>
            </a:extLst>
          </p:cNvPr>
          <p:cNvPicPr>
            <a:picLocks/>
          </p:cNvPicPr>
          <p:nvPr/>
        </p:nvPicPr>
        <p:blipFill rotWithShape="1">
          <a:blip r:embed="rId16" cstate="screen">
            <a:extLst>
              <a:ext uri="{28A0092B-C50C-407E-A947-70E740481C1C}">
                <a14:useLocalDpi xmlns:a14="http://schemas.microsoft.com/office/drawing/2010/main"/>
              </a:ext>
            </a:extLst>
          </a:blip>
          <a:srcRect/>
          <a:stretch/>
        </p:blipFill>
        <p:spPr>
          <a:xfrm>
            <a:off x="5327376" y="4206754"/>
            <a:ext cx="564544" cy="564544"/>
          </a:xfrm>
          <a:prstGeom prst="ellipse">
            <a:avLst/>
          </a:prstGeom>
          <a:ln>
            <a:solidFill>
              <a:schemeClr val="accent4"/>
            </a:solidFill>
          </a:ln>
        </p:spPr>
      </p:pic>
      <p:sp>
        <p:nvSpPr>
          <p:cNvPr id="33" name="TextBox 32">
            <a:extLst>
              <a:ext uri="{FF2B5EF4-FFF2-40B4-BE49-F238E27FC236}">
                <a16:creationId xmlns:a16="http://schemas.microsoft.com/office/drawing/2014/main" id="{8E7B19E4-0714-4A46-BF89-47E598EBB460}"/>
              </a:ext>
            </a:extLst>
          </p:cNvPr>
          <p:cNvSpPr txBox="1"/>
          <p:nvPr/>
        </p:nvSpPr>
        <p:spPr>
          <a:xfrm>
            <a:off x="5209699" y="4776404"/>
            <a:ext cx="799899" cy="646331"/>
          </a:xfrm>
          <a:prstGeom prst="rect">
            <a:avLst/>
          </a:prstGeom>
          <a:noFill/>
        </p:spPr>
        <p:txBody>
          <a:bodyPr wrap="none" lIns="0" tIns="0" rIns="0" bIns="0" rtlCol="0">
            <a:spAutoFit/>
          </a:bodyPr>
          <a:lstStyle/>
          <a:p>
            <a:pPr algn="ctr"/>
            <a:r>
              <a:rPr lang="en-GB" sz="1400" b="1" kern="0"/>
              <a:t>New ways </a:t>
            </a:r>
          </a:p>
          <a:p>
            <a:pPr algn="ctr"/>
            <a:r>
              <a:rPr lang="en-GB" sz="1400" b="1" kern="0"/>
              <a:t>of working</a:t>
            </a:r>
          </a:p>
          <a:p>
            <a:pPr algn="ctr"/>
            <a:r>
              <a:rPr lang="en-GB" sz="1400" kern="0"/>
              <a:t>2020</a:t>
            </a:r>
            <a:r>
              <a:rPr lang="en-GB" sz="1400" kern="0" baseline="30000"/>
              <a:t>4</a:t>
            </a:r>
          </a:p>
        </p:txBody>
      </p:sp>
      <p:sp>
        <p:nvSpPr>
          <p:cNvPr id="34" name="TextBox 33">
            <a:extLst>
              <a:ext uri="{FF2B5EF4-FFF2-40B4-BE49-F238E27FC236}">
                <a16:creationId xmlns:a16="http://schemas.microsoft.com/office/drawing/2014/main" id="{C3F04121-3B03-4ADD-AC32-8E8E85867C61}"/>
              </a:ext>
            </a:extLst>
          </p:cNvPr>
          <p:cNvSpPr txBox="1"/>
          <p:nvPr/>
        </p:nvSpPr>
        <p:spPr>
          <a:xfrm>
            <a:off x="482533" y="1633890"/>
            <a:ext cx="649217" cy="246221"/>
          </a:xfrm>
          <a:prstGeom prst="rect">
            <a:avLst/>
          </a:prstGeom>
          <a:noFill/>
        </p:spPr>
        <p:txBody>
          <a:bodyPr wrap="none" lIns="0" tIns="0" rIns="0" bIns="0" rtlCol="0">
            <a:spAutoFit/>
          </a:bodyPr>
          <a:lstStyle/>
          <a:p>
            <a:pPr algn="l"/>
            <a:r>
              <a:rPr lang="en-GB" sz="1600" b="1" kern="0">
                <a:latin typeface="+mj-lt"/>
              </a:rPr>
              <a:t>Crisis…</a:t>
            </a:r>
          </a:p>
        </p:txBody>
      </p:sp>
      <p:sp>
        <p:nvSpPr>
          <p:cNvPr id="35" name="TextBox 34">
            <a:extLst>
              <a:ext uri="{FF2B5EF4-FFF2-40B4-BE49-F238E27FC236}">
                <a16:creationId xmlns:a16="http://schemas.microsoft.com/office/drawing/2014/main" id="{CA278D42-B2C4-4157-AEA9-B1E99A3AB208}"/>
              </a:ext>
            </a:extLst>
          </p:cNvPr>
          <p:cNvSpPr txBox="1"/>
          <p:nvPr/>
        </p:nvSpPr>
        <p:spPr>
          <a:xfrm>
            <a:off x="482533" y="3804336"/>
            <a:ext cx="1183016" cy="492443"/>
          </a:xfrm>
          <a:prstGeom prst="rect">
            <a:avLst/>
          </a:prstGeom>
          <a:noFill/>
        </p:spPr>
        <p:txBody>
          <a:bodyPr wrap="none" lIns="0" tIns="0" rIns="0" bIns="0" rtlCol="0">
            <a:spAutoFit/>
          </a:bodyPr>
          <a:lstStyle/>
          <a:p>
            <a:pPr algn="l"/>
            <a:r>
              <a:rPr lang="en-GB" sz="1600" b="1" kern="0">
                <a:latin typeface="+mj-lt"/>
              </a:rPr>
              <a:t>…or</a:t>
            </a:r>
          </a:p>
          <a:p>
            <a:pPr algn="l"/>
            <a:r>
              <a:rPr lang="en-GB" sz="1600" b="1" kern="0">
                <a:latin typeface="+mj-lt"/>
              </a:rPr>
              <a:t>Opportunity?</a:t>
            </a:r>
          </a:p>
        </p:txBody>
      </p:sp>
      <p:cxnSp>
        <p:nvCxnSpPr>
          <p:cNvPr id="36" name="Straight Connector 35">
            <a:extLst>
              <a:ext uri="{FF2B5EF4-FFF2-40B4-BE49-F238E27FC236}">
                <a16:creationId xmlns:a16="http://schemas.microsoft.com/office/drawing/2014/main" id="{63BBF71A-4DC7-4F6B-966B-B61106D411BB}"/>
              </a:ext>
            </a:extLst>
          </p:cNvPr>
          <p:cNvCxnSpPr>
            <a:cxnSpLocks/>
          </p:cNvCxnSpPr>
          <p:nvPr/>
        </p:nvCxnSpPr>
        <p:spPr>
          <a:xfrm>
            <a:off x="1786838" y="2174552"/>
            <a:ext cx="0" cy="3752011"/>
          </a:xfrm>
          <a:prstGeom prst="line">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C4E77399-780F-45AA-82AD-322C6C48582B}"/>
              </a:ext>
            </a:extLst>
          </p:cNvPr>
          <p:cNvSpPr txBox="1"/>
          <p:nvPr/>
        </p:nvSpPr>
        <p:spPr>
          <a:xfrm>
            <a:off x="6765646" y="3148916"/>
            <a:ext cx="600617" cy="492443"/>
          </a:xfrm>
          <a:prstGeom prst="rect">
            <a:avLst/>
          </a:prstGeom>
          <a:noFill/>
        </p:spPr>
        <p:txBody>
          <a:bodyPr wrap="square" lIns="0" tIns="0" rIns="0" bIns="0" rtlCol="0">
            <a:spAutoFit/>
          </a:bodyPr>
          <a:lstStyle/>
          <a:p>
            <a:pPr algn="ctr"/>
            <a:r>
              <a:rPr lang="en-GB" sz="3200" b="1" kern="0"/>
              <a:t>?</a:t>
            </a:r>
            <a:endParaRPr lang="en-GB" sz="3200" kern="0"/>
          </a:p>
        </p:txBody>
      </p:sp>
      <p:sp>
        <p:nvSpPr>
          <p:cNvPr id="38" name="TextBox 37">
            <a:extLst>
              <a:ext uri="{FF2B5EF4-FFF2-40B4-BE49-F238E27FC236}">
                <a16:creationId xmlns:a16="http://schemas.microsoft.com/office/drawing/2014/main" id="{76E13319-14DE-4CA3-AC1C-82FE73527360}"/>
              </a:ext>
            </a:extLst>
          </p:cNvPr>
          <p:cNvSpPr txBox="1"/>
          <p:nvPr/>
        </p:nvSpPr>
        <p:spPr>
          <a:xfrm>
            <a:off x="2247422" y="3607978"/>
            <a:ext cx="740587" cy="430887"/>
          </a:xfrm>
          <a:prstGeom prst="rect">
            <a:avLst/>
          </a:prstGeom>
          <a:noFill/>
        </p:spPr>
        <p:txBody>
          <a:bodyPr wrap="square" lIns="0" tIns="0" rIns="0" bIns="0" rtlCol="0">
            <a:spAutoFit/>
          </a:bodyPr>
          <a:lstStyle/>
          <a:p>
            <a:pPr algn="ctr"/>
            <a:r>
              <a:rPr lang="en-GB" sz="1400" b="1" kern="0"/>
              <a:t>Neoprene</a:t>
            </a:r>
          </a:p>
          <a:p>
            <a:pPr algn="ctr"/>
            <a:r>
              <a:rPr lang="en-GB" sz="1400" kern="0"/>
              <a:t>1930</a:t>
            </a:r>
          </a:p>
        </p:txBody>
      </p:sp>
      <p:cxnSp>
        <p:nvCxnSpPr>
          <p:cNvPr id="39" name="Straight Connector 38">
            <a:extLst>
              <a:ext uri="{FF2B5EF4-FFF2-40B4-BE49-F238E27FC236}">
                <a16:creationId xmlns:a16="http://schemas.microsoft.com/office/drawing/2014/main" id="{AD5978E8-0C58-406F-9C20-6BE8F548608F}"/>
              </a:ext>
            </a:extLst>
          </p:cNvPr>
          <p:cNvCxnSpPr>
            <a:cxnSpLocks/>
          </p:cNvCxnSpPr>
          <p:nvPr/>
        </p:nvCxnSpPr>
        <p:spPr>
          <a:xfrm>
            <a:off x="3440864" y="2174552"/>
            <a:ext cx="0" cy="3752011"/>
          </a:xfrm>
          <a:prstGeom prst="line">
            <a:avLst/>
          </a:prstGeom>
          <a:ln w="95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89FC55D-88B8-44D4-A67B-4DB0DF60CFEA}"/>
              </a:ext>
            </a:extLst>
          </p:cNvPr>
          <p:cNvCxnSpPr>
            <a:cxnSpLocks/>
          </p:cNvCxnSpPr>
          <p:nvPr/>
        </p:nvCxnSpPr>
        <p:spPr>
          <a:xfrm>
            <a:off x="4907992" y="2174552"/>
            <a:ext cx="0" cy="3752011"/>
          </a:xfrm>
          <a:prstGeom prst="line">
            <a:avLst/>
          </a:prstGeom>
          <a:ln w="95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C027A0E-BABA-4CB4-AA19-F955E7831BB0}"/>
              </a:ext>
            </a:extLst>
          </p:cNvPr>
          <p:cNvCxnSpPr>
            <a:cxnSpLocks/>
          </p:cNvCxnSpPr>
          <p:nvPr/>
        </p:nvCxnSpPr>
        <p:spPr>
          <a:xfrm>
            <a:off x="6308445" y="2174552"/>
            <a:ext cx="0" cy="3752011"/>
          </a:xfrm>
          <a:prstGeom prst="line">
            <a:avLst/>
          </a:prstGeom>
          <a:ln w="9525">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DD4A3B6C-EA37-4492-81D2-02B365742CC3}"/>
              </a:ext>
            </a:extLst>
          </p:cNvPr>
          <p:cNvPicPr>
            <a:picLocks/>
          </p:cNvPicPr>
          <p:nvPr/>
        </p:nvPicPr>
        <p:blipFill rotWithShape="1">
          <a:blip r:embed="rId17" cstate="screen">
            <a:extLst>
              <a:ext uri="{28A0092B-C50C-407E-A947-70E740481C1C}">
                <a14:useLocalDpi xmlns:a14="http://schemas.microsoft.com/office/drawing/2010/main"/>
              </a:ext>
            </a:extLst>
          </a:blip>
          <a:srcRect/>
          <a:stretch/>
        </p:blipFill>
        <p:spPr>
          <a:xfrm>
            <a:off x="2335443" y="3035080"/>
            <a:ext cx="564544" cy="564544"/>
          </a:xfrm>
          <a:prstGeom prst="ellipse">
            <a:avLst/>
          </a:prstGeom>
          <a:ln>
            <a:solidFill>
              <a:schemeClr val="accent4"/>
            </a:solidFill>
          </a:ln>
        </p:spPr>
      </p:pic>
      <p:sp>
        <p:nvSpPr>
          <p:cNvPr id="56" name="TextBox 55">
            <a:extLst>
              <a:ext uri="{FF2B5EF4-FFF2-40B4-BE49-F238E27FC236}">
                <a16:creationId xmlns:a16="http://schemas.microsoft.com/office/drawing/2014/main" id="{263DA298-0F3D-4969-A2F5-48B1F80A8B46}"/>
              </a:ext>
            </a:extLst>
          </p:cNvPr>
          <p:cNvSpPr txBox="1"/>
          <p:nvPr/>
        </p:nvSpPr>
        <p:spPr>
          <a:xfrm>
            <a:off x="9796580" y="4363798"/>
            <a:ext cx="2042939" cy="1384995"/>
          </a:xfrm>
          <a:prstGeom prst="rect">
            <a:avLst/>
          </a:prstGeom>
          <a:noFill/>
        </p:spPr>
        <p:txBody>
          <a:bodyPr wrap="square" lIns="0">
            <a:spAutoFit/>
          </a:bodyPr>
          <a:lstStyle/>
          <a:p>
            <a:r>
              <a:rPr lang="en-GB" sz="1400" i="1"/>
              <a:t>In the struggle for survival, </a:t>
            </a:r>
            <a:r>
              <a:rPr lang="en-GB" sz="1400" b="1" i="1"/>
              <a:t>the fittest win out at the expense of their rivals </a:t>
            </a:r>
            <a:r>
              <a:rPr lang="en-GB" sz="1400" i="1"/>
              <a:t>because they succeed in </a:t>
            </a:r>
            <a:r>
              <a:rPr lang="en-GB" sz="1400" b="1" i="1"/>
              <a:t>adapting themselves best to their environment</a:t>
            </a:r>
          </a:p>
        </p:txBody>
      </p:sp>
      <p:sp>
        <p:nvSpPr>
          <p:cNvPr id="57" name="Quote">
            <a:extLst>
              <a:ext uri="{FF2B5EF4-FFF2-40B4-BE49-F238E27FC236}">
                <a16:creationId xmlns:a16="http://schemas.microsoft.com/office/drawing/2014/main" id="{A4A760FD-A662-4F57-96A5-D1BF9B0455D9}"/>
              </a:ext>
            </a:extLst>
          </p:cNvPr>
          <p:cNvSpPr>
            <a:spLocks noChangeAspect="1"/>
          </p:cNvSpPr>
          <p:nvPr/>
        </p:nvSpPr>
        <p:spPr>
          <a:xfrm>
            <a:off x="9796580" y="4077110"/>
            <a:ext cx="271417" cy="235762"/>
          </a:xfrm>
          <a:custGeom>
            <a:avLst/>
            <a:gdLst/>
            <a:ahLst/>
            <a:cxnLst/>
            <a:rect l="l" t="t" r="r" b="b"/>
            <a:pathLst>
              <a:path w="852678" h="740664">
                <a:moveTo>
                  <a:pt x="715518" y="0"/>
                </a:moveTo>
                <a:lnTo>
                  <a:pt x="800100" y="0"/>
                </a:lnTo>
                <a:lnTo>
                  <a:pt x="706374" y="388620"/>
                </a:lnTo>
                <a:lnTo>
                  <a:pt x="852678" y="388620"/>
                </a:lnTo>
                <a:lnTo>
                  <a:pt x="852678" y="740664"/>
                </a:lnTo>
                <a:lnTo>
                  <a:pt x="480060" y="740664"/>
                </a:lnTo>
                <a:lnTo>
                  <a:pt x="480060" y="436626"/>
                </a:lnTo>
                <a:close/>
                <a:moveTo>
                  <a:pt x="235458" y="0"/>
                </a:moveTo>
                <a:lnTo>
                  <a:pt x="320040" y="0"/>
                </a:lnTo>
                <a:lnTo>
                  <a:pt x="226314" y="388620"/>
                </a:lnTo>
                <a:lnTo>
                  <a:pt x="372618" y="388620"/>
                </a:lnTo>
                <a:lnTo>
                  <a:pt x="372618" y="740664"/>
                </a:lnTo>
                <a:lnTo>
                  <a:pt x="0" y="740664"/>
                </a:lnTo>
                <a:lnTo>
                  <a:pt x="0" y="436626"/>
                </a:lnTo>
                <a:close/>
              </a:path>
            </a:pathLst>
          </a:custGeom>
          <a:solidFill>
            <a:srgbClr val="00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73152" rIns="73152" bIns="73152" rtlCol="0" anchor="ctr"/>
          <a:lstStyle/>
          <a:p>
            <a:pPr algn="ctr"/>
            <a:endParaRPr lang="en-GB" sz="1200" kern="0">
              <a:solidFill>
                <a:schemeClr val="tx1"/>
              </a:solidFill>
              <a:cs typeface="Calibri" panose="020F0502020204030204" pitchFamily="34" charset="0"/>
            </a:endParaRPr>
          </a:p>
        </p:txBody>
      </p:sp>
      <p:sp>
        <p:nvSpPr>
          <p:cNvPr id="58" name="Quote">
            <a:extLst>
              <a:ext uri="{FF2B5EF4-FFF2-40B4-BE49-F238E27FC236}">
                <a16:creationId xmlns:a16="http://schemas.microsoft.com/office/drawing/2014/main" id="{FFE880BD-C55D-483C-A3DA-B1F5A7F544B2}"/>
              </a:ext>
            </a:extLst>
          </p:cNvPr>
          <p:cNvSpPr>
            <a:spLocks noChangeAspect="1"/>
          </p:cNvSpPr>
          <p:nvPr/>
        </p:nvSpPr>
        <p:spPr>
          <a:xfrm>
            <a:off x="9796580" y="2024400"/>
            <a:ext cx="271417" cy="235762"/>
          </a:xfrm>
          <a:custGeom>
            <a:avLst/>
            <a:gdLst/>
            <a:ahLst/>
            <a:cxnLst/>
            <a:rect l="l" t="t" r="r" b="b"/>
            <a:pathLst>
              <a:path w="852678" h="740664">
                <a:moveTo>
                  <a:pt x="715518" y="0"/>
                </a:moveTo>
                <a:lnTo>
                  <a:pt x="800100" y="0"/>
                </a:lnTo>
                <a:lnTo>
                  <a:pt x="706374" y="388620"/>
                </a:lnTo>
                <a:lnTo>
                  <a:pt x="852678" y="388620"/>
                </a:lnTo>
                <a:lnTo>
                  <a:pt x="852678" y="740664"/>
                </a:lnTo>
                <a:lnTo>
                  <a:pt x="480060" y="740664"/>
                </a:lnTo>
                <a:lnTo>
                  <a:pt x="480060" y="436626"/>
                </a:lnTo>
                <a:close/>
                <a:moveTo>
                  <a:pt x="235458" y="0"/>
                </a:moveTo>
                <a:lnTo>
                  <a:pt x="320040" y="0"/>
                </a:lnTo>
                <a:lnTo>
                  <a:pt x="226314" y="388620"/>
                </a:lnTo>
                <a:lnTo>
                  <a:pt x="372618" y="388620"/>
                </a:lnTo>
                <a:lnTo>
                  <a:pt x="372618" y="740664"/>
                </a:lnTo>
                <a:lnTo>
                  <a:pt x="0" y="740664"/>
                </a:lnTo>
                <a:lnTo>
                  <a:pt x="0" y="436626"/>
                </a:lnTo>
                <a:close/>
              </a:path>
            </a:pathLst>
          </a:custGeom>
          <a:solidFill>
            <a:srgbClr val="00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73152" rIns="73152" bIns="73152" rtlCol="0" anchor="ctr"/>
          <a:lstStyle/>
          <a:p>
            <a:pPr algn="ctr"/>
            <a:endParaRPr lang="en-GB" sz="1200" kern="0">
              <a:solidFill>
                <a:schemeClr val="tx1"/>
              </a:solidFill>
              <a:cs typeface="Calibri" panose="020F0502020204030204" pitchFamily="34" charset="0"/>
            </a:endParaRPr>
          </a:p>
        </p:txBody>
      </p:sp>
      <p:pic>
        <p:nvPicPr>
          <p:cNvPr id="59" name="Picture 58">
            <a:extLst>
              <a:ext uri="{FF2B5EF4-FFF2-40B4-BE49-F238E27FC236}">
                <a16:creationId xmlns:a16="http://schemas.microsoft.com/office/drawing/2014/main" id="{A4935DBC-985B-4ACB-B7DB-3B318522AD3B}"/>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8505803" y="4015493"/>
            <a:ext cx="1090340" cy="1093353"/>
          </a:xfrm>
          <a:prstGeom prst="ellipse">
            <a:avLst/>
          </a:prstGeom>
          <a:ln>
            <a:noFill/>
          </a:ln>
        </p:spPr>
      </p:pic>
      <p:sp>
        <p:nvSpPr>
          <p:cNvPr id="61" name="TextBox 60">
            <a:extLst>
              <a:ext uri="{FF2B5EF4-FFF2-40B4-BE49-F238E27FC236}">
                <a16:creationId xmlns:a16="http://schemas.microsoft.com/office/drawing/2014/main" id="{2D9893F5-9E9F-4B5F-B335-FC9935112CDE}"/>
              </a:ext>
            </a:extLst>
          </p:cNvPr>
          <p:cNvSpPr txBox="1"/>
          <p:nvPr/>
        </p:nvSpPr>
        <p:spPr>
          <a:xfrm>
            <a:off x="8505803" y="5733031"/>
            <a:ext cx="3420100" cy="307777"/>
          </a:xfrm>
          <a:prstGeom prst="rect">
            <a:avLst/>
          </a:prstGeom>
          <a:noFill/>
        </p:spPr>
        <p:txBody>
          <a:bodyPr wrap="square" lIns="0">
            <a:spAutoFit/>
          </a:bodyPr>
          <a:lstStyle/>
          <a:p>
            <a:r>
              <a:rPr lang="en-GB" sz="1400" i="1"/>
              <a:t>Civilization Past and Present, T. W. Wallbank</a:t>
            </a:r>
          </a:p>
        </p:txBody>
      </p:sp>
      <p:sp>
        <p:nvSpPr>
          <p:cNvPr id="70" name="TextBox 69">
            <a:extLst>
              <a:ext uri="{FF2B5EF4-FFF2-40B4-BE49-F238E27FC236}">
                <a16:creationId xmlns:a16="http://schemas.microsoft.com/office/drawing/2014/main" id="{DAE86B00-2958-49B3-8D5D-912CC9F7E598}"/>
              </a:ext>
            </a:extLst>
          </p:cNvPr>
          <p:cNvSpPr txBox="1"/>
          <p:nvPr/>
        </p:nvSpPr>
        <p:spPr>
          <a:xfrm>
            <a:off x="9796580" y="2301549"/>
            <a:ext cx="2066557" cy="523220"/>
          </a:xfrm>
          <a:prstGeom prst="rect">
            <a:avLst/>
          </a:prstGeom>
          <a:noFill/>
        </p:spPr>
        <p:txBody>
          <a:bodyPr wrap="square" lIns="0">
            <a:spAutoFit/>
          </a:bodyPr>
          <a:lstStyle/>
          <a:p>
            <a:r>
              <a:rPr lang="en-GB" sz="1400" i="1"/>
              <a:t>As long as you live, </a:t>
            </a:r>
            <a:r>
              <a:rPr lang="en-GB" sz="1400" b="1" i="1"/>
              <a:t>keep learning how to live</a:t>
            </a:r>
          </a:p>
        </p:txBody>
      </p:sp>
      <p:sp>
        <p:nvSpPr>
          <p:cNvPr id="72" name="TextBox 71">
            <a:extLst>
              <a:ext uri="{FF2B5EF4-FFF2-40B4-BE49-F238E27FC236}">
                <a16:creationId xmlns:a16="http://schemas.microsoft.com/office/drawing/2014/main" id="{385A07BC-A0BB-4500-88A8-68977556871A}"/>
              </a:ext>
            </a:extLst>
          </p:cNvPr>
          <p:cNvSpPr txBox="1"/>
          <p:nvPr/>
        </p:nvSpPr>
        <p:spPr>
          <a:xfrm>
            <a:off x="8505803" y="3057803"/>
            <a:ext cx="3482244" cy="307777"/>
          </a:xfrm>
          <a:prstGeom prst="rect">
            <a:avLst/>
          </a:prstGeom>
          <a:noFill/>
        </p:spPr>
        <p:txBody>
          <a:bodyPr wrap="square" lIns="0">
            <a:spAutoFit/>
          </a:bodyPr>
          <a:lstStyle/>
          <a:p>
            <a:r>
              <a:rPr lang="en-GB" sz="1400" i="1"/>
              <a:t>Lucius Annaeus Seneca</a:t>
            </a:r>
            <a:endParaRPr lang="en-GB" sz="1400"/>
          </a:p>
        </p:txBody>
      </p:sp>
      <p:sp>
        <p:nvSpPr>
          <p:cNvPr id="7" name="Title 6">
            <a:extLst>
              <a:ext uri="{FF2B5EF4-FFF2-40B4-BE49-F238E27FC236}">
                <a16:creationId xmlns:a16="http://schemas.microsoft.com/office/drawing/2014/main" id="{EB24E7E6-0D3D-4CED-8463-D4E764C1713D}"/>
              </a:ext>
            </a:extLst>
          </p:cNvPr>
          <p:cNvSpPr>
            <a:spLocks noGrp="1"/>
          </p:cNvSpPr>
          <p:nvPr>
            <p:ph type="title"/>
          </p:nvPr>
        </p:nvSpPr>
        <p:spPr/>
        <p:txBody>
          <a:bodyPr vert="horz"/>
          <a:lstStyle/>
          <a:p>
            <a:r>
              <a:rPr lang="en-GB"/>
              <a:t>Never let a crisis go to waste by developing a learning and adaptation mindset</a:t>
            </a:r>
          </a:p>
        </p:txBody>
      </p:sp>
      <p:sp>
        <p:nvSpPr>
          <p:cNvPr id="64" name="TextBox 63">
            <a:extLst>
              <a:ext uri="{FF2B5EF4-FFF2-40B4-BE49-F238E27FC236}">
                <a16:creationId xmlns:a16="http://schemas.microsoft.com/office/drawing/2014/main" id="{33C54237-B135-4635-8475-C4B27FE06357}"/>
              </a:ext>
            </a:extLst>
          </p:cNvPr>
          <p:cNvSpPr txBox="1"/>
          <p:nvPr/>
        </p:nvSpPr>
        <p:spPr>
          <a:xfrm>
            <a:off x="8505803" y="1568316"/>
            <a:ext cx="931345" cy="307777"/>
          </a:xfrm>
          <a:prstGeom prst="rect">
            <a:avLst/>
          </a:prstGeom>
          <a:noFill/>
        </p:spPr>
        <p:txBody>
          <a:bodyPr wrap="none" lIns="0" tIns="0" rIns="0" bIns="0" rtlCol="0">
            <a:spAutoFit/>
          </a:bodyPr>
          <a:lstStyle/>
          <a:p>
            <a:pPr algn="l"/>
            <a:r>
              <a:rPr lang="en-GB" sz="2000" b="1" kern="0">
                <a:latin typeface="+mj-lt"/>
              </a:rPr>
              <a:t>Stoicism</a:t>
            </a:r>
          </a:p>
        </p:txBody>
      </p:sp>
      <p:sp>
        <p:nvSpPr>
          <p:cNvPr id="69" name="TextBox 68">
            <a:extLst>
              <a:ext uri="{FF2B5EF4-FFF2-40B4-BE49-F238E27FC236}">
                <a16:creationId xmlns:a16="http://schemas.microsoft.com/office/drawing/2014/main" id="{3E0F342C-B921-4482-9B6F-3CF246AED88A}"/>
              </a:ext>
            </a:extLst>
          </p:cNvPr>
          <p:cNvSpPr txBox="1"/>
          <p:nvPr/>
        </p:nvSpPr>
        <p:spPr>
          <a:xfrm>
            <a:off x="8505803" y="3626753"/>
            <a:ext cx="1146148" cy="307777"/>
          </a:xfrm>
          <a:prstGeom prst="rect">
            <a:avLst/>
          </a:prstGeom>
          <a:noFill/>
        </p:spPr>
        <p:txBody>
          <a:bodyPr wrap="none" lIns="0" tIns="0" rIns="0" bIns="0" rtlCol="0">
            <a:spAutoFit/>
          </a:bodyPr>
          <a:lstStyle/>
          <a:p>
            <a:pPr algn="l"/>
            <a:r>
              <a:rPr lang="en-GB" sz="2000" b="1" kern="0">
                <a:latin typeface="+mj-lt"/>
              </a:rPr>
              <a:t>Darwinism</a:t>
            </a:r>
          </a:p>
        </p:txBody>
      </p:sp>
      <p:sp>
        <p:nvSpPr>
          <p:cNvPr id="48" name="Ghost">
            <a:extLst>
              <a:ext uri="{FF2B5EF4-FFF2-40B4-BE49-F238E27FC236}">
                <a16:creationId xmlns:a16="http://schemas.microsoft.com/office/drawing/2014/main" id="{5BAAE2CC-2C64-413C-A263-E7279D56AAD4}"/>
              </a:ext>
            </a:extLst>
          </p:cNvPr>
          <p:cNvSpPr/>
          <p:nvPr/>
        </p:nvSpPr>
        <p:spPr>
          <a:xfrm>
            <a:off x="457200" y="107385"/>
            <a:ext cx="202138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How to lead in a perma-crisis world</a:t>
            </a:r>
          </a:p>
        </p:txBody>
      </p:sp>
    </p:spTree>
    <p:extLst>
      <p:ext uri="{BB962C8B-B14F-4D97-AF65-F5344CB8AC3E}">
        <p14:creationId xmlns:p14="http://schemas.microsoft.com/office/powerpoint/2010/main" val="3311075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B73735EF-A00C-4FD2-8E7B-64DE94F3C7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6" name="Object 25" hidden="1">
                        <a:extLst>
                          <a:ext uri="{FF2B5EF4-FFF2-40B4-BE49-F238E27FC236}">
                            <a16:creationId xmlns:a16="http://schemas.microsoft.com/office/drawing/2014/main" id="{B73735EF-A00C-4FD2-8E7B-64DE94F3C7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extBox 28">
            <a:extLst>
              <a:ext uri="{FF2B5EF4-FFF2-40B4-BE49-F238E27FC236}">
                <a16:creationId xmlns:a16="http://schemas.microsoft.com/office/drawing/2014/main" id="{1DB7B706-8540-48D9-9780-39803ADEAF16}"/>
              </a:ext>
            </a:extLst>
          </p:cNvPr>
          <p:cNvSpPr txBox="1"/>
          <p:nvPr/>
        </p:nvSpPr>
        <p:spPr>
          <a:xfrm>
            <a:off x="459470" y="2312166"/>
            <a:ext cx="965172" cy="67710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4400" b="1" kern="0">
                <a:solidFill>
                  <a:schemeClr val="accent1"/>
                </a:solidFill>
                <a:latin typeface="MMC Display Condensed"/>
              </a:rPr>
              <a:t>20</a:t>
            </a:r>
            <a:r>
              <a:rPr lang="en-GB" sz="3200" b="1" kern="0">
                <a:solidFill>
                  <a:schemeClr val="accent1"/>
                </a:solidFill>
                <a:latin typeface="MMC Display Condensed"/>
              </a:rPr>
              <a:t>% </a:t>
            </a:r>
          </a:p>
        </p:txBody>
      </p:sp>
      <p:sp>
        <p:nvSpPr>
          <p:cNvPr id="32" name="TextBox 31">
            <a:extLst>
              <a:ext uri="{FF2B5EF4-FFF2-40B4-BE49-F238E27FC236}">
                <a16:creationId xmlns:a16="http://schemas.microsoft.com/office/drawing/2014/main" id="{DD4FA39E-DE57-430B-AB9A-16383BA73ECF}"/>
              </a:ext>
            </a:extLst>
          </p:cNvPr>
          <p:cNvSpPr txBox="1">
            <a:spLocks/>
          </p:cNvSpPr>
          <p:nvPr/>
        </p:nvSpPr>
        <p:spPr>
          <a:xfrm>
            <a:off x="1449563" y="5351211"/>
            <a:ext cx="3265701" cy="49244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0000"/>
                </a:solidFill>
                <a:effectLst/>
                <a:uLnTx/>
                <a:uFillTx/>
                <a:latin typeface="Calibri"/>
                <a:ea typeface="+mn-ea"/>
                <a:cs typeface="+mn-cs"/>
              </a:rPr>
              <a:t>of companies did not survive the </a:t>
            </a:r>
            <a:br>
              <a:rPr kumimoji="0" lang="en-GB" sz="1600" b="0" i="0" u="none" strike="noStrike" kern="0" cap="none" spc="0" normalizeH="0" baseline="0" noProof="0">
                <a:ln>
                  <a:noFill/>
                </a:ln>
                <a:solidFill>
                  <a:srgbClr val="000000"/>
                </a:solidFill>
                <a:effectLst/>
                <a:uLnTx/>
                <a:uFillTx/>
                <a:latin typeface="Calibri"/>
                <a:ea typeface="+mn-ea"/>
                <a:cs typeface="+mn-cs"/>
              </a:rPr>
            </a:br>
            <a:r>
              <a:rPr kumimoji="0" lang="en-GB" sz="1600" b="0" i="0" u="none" strike="noStrike" kern="0" cap="none" spc="0" normalizeH="0" baseline="0" noProof="0">
                <a:ln>
                  <a:noFill/>
                </a:ln>
                <a:solidFill>
                  <a:srgbClr val="000000"/>
                </a:solidFill>
                <a:effectLst/>
                <a:uLnTx/>
                <a:uFillTx/>
                <a:latin typeface="Calibri"/>
                <a:ea typeface="+mn-ea"/>
                <a:cs typeface="+mn-cs"/>
              </a:rPr>
              <a:t>3 recessions between 1980 and 2002</a:t>
            </a:r>
          </a:p>
        </p:txBody>
      </p:sp>
      <p:sp>
        <p:nvSpPr>
          <p:cNvPr id="31" name="TextBox 30">
            <a:extLst>
              <a:ext uri="{FF2B5EF4-FFF2-40B4-BE49-F238E27FC236}">
                <a16:creationId xmlns:a16="http://schemas.microsoft.com/office/drawing/2014/main" id="{75C8F4C4-833D-466C-8FAB-14FD3EDB0382}"/>
              </a:ext>
            </a:extLst>
          </p:cNvPr>
          <p:cNvSpPr txBox="1"/>
          <p:nvPr/>
        </p:nvSpPr>
        <p:spPr>
          <a:xfrm>
            <a:off x="1449563" y="2375932"/>
            <a:ext cx="3265701" cy="49244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0000"/>
                </a:solidFill>
                <a:effectLst/>
                <a:uLnTx/>
                <a:uFillTx/>
                <a:latin typeface="Calibri"/>
                <a:ea typeface="+mn-ea"/>
                <a:cs typeface="+mn-cs"/>
              </a:rPr>
              <a:t>of companies emerged from COVID stronger than before</a:t>
            </a:r>
          </a:p>
        </p:txBody>
      </p:sp>
      <p:sp>
        <p:nvSpPr>
          <p:cNvPr id="36" name="Rectangle 35">
            <a:extLst>
              <a:ext uri="{FF2B5EF4-FFF2-40B4-BE49-F238E27FC236}">
                <a16:creationId xmlns:a16="http://schemas.microsoft.com/office/drawing/2014/main" id="{88E50299-0D16-4863-B568-11BE5E693D4C}"/>
              </a:ext>
            </a:extLst>
          </p:cNvPr>
          <p:cNvSpPr/>
          <p:nvPr/>
        </p:nvSpPr>
        <p:spPr>
          <a:xfrm>
            <a:off x="457200" y="1409968"/>
            <a:ext cx="2199917"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0" cap="none" spc="0" normalizeH="0" baseline="0" noProof="0">
                <a:ln>
                  <a:noFill/>
                </a:ln>
                <a:solidFill>
                  <a:srgbClr val="000000"/>
                </a:solidFill>
                <a:effectLst/>
                <a:uLnTx/>
                <a:uFillTx/>
                <a:latin typeface="Calibri"/>
                <a:ea typeface="+mn-ea"/>
                <a:cs typeface="+mn-cs"/>
              </a:rPr>
              <a:t>Misconceptions</a:t>
            </a:r>
          </a:p>
        </p:txBody>
      </p:sp>
      <p:sp>
        <p:nvSpPr>
          <p:cNvPr id="37" name="TextBox 36">
            <a:extLst>
              <a:ext uri="{FF2B5EF4-FFF2-40B4-BE49-F238E27FC236}">
                <a16:creationId xmlns:a16="http://schemas.microsoft.com/office/drawing/2014/main" id="{AE5A5206-8401-4CFF-9884-4D512D45D417}"/>
              </a:ext>
            </a:extLst>
          </p:cNvPr>
          <p:cNvSpPr txBox="1">
            <a:spLocks/>
          </p:cNvSpPr>
          <p:nvPr/>
        </p:nvSpPr>
        <p:spPr>
          <a:xfrm>
            <a:off x="1449563" y="3841528"/>
            <a:ext cx="3265701" cy="584775"/>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a:ln>
                  <a:noFill/>
                </a:ln>
                <a:solidFill>
                  <a:srgbClr val="000000"/>
                </a:solidFill>
                <a:effectLst/>
                <a:uLnTx/>
                <a:uFillTx/>
                <a:latin typeface="Calibri"/>
                <a:ea typeface="+mn-ea"/>
                <a:cs typeface="+mn-cs"/>
              </a:rPr>
              <a:t>of business leaders say they need improvement in crisis management</a:t>
            </a:r>
          </a:p>
        </p:txBody>
      </p:sp>
      <p:sp>
        <p:nvSpPr>
          <p:cNvPr id="39" name="Rectangle 38">
            <a:extLst>
              <a:ext uri="{FF2B5EF4-FFF2-40B4-BE49-F238E27FC236}">
                <a16:creationId xmlns:a16="http://schemas.microsoft.com/office/drawing/2014/main" id="{79B44958-A6BA-464E-A77D-BCB02D4A23F5}"/>
              </a:ext>
            </a:extLst>
          </p:cNvPr>
          <p:cNvSpPr/>
          <p:nvPr/>
        </p:nvSpPr>
        <p:spPr>
          <a:xfrm>
            <a:off x="459470" y="2025528"/>
            <a:ext cx="5284067"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0" cap="none" spc="0" normalizeH="0" baseline="0" noProof="0">
                <a:ln>
                  <a:noFill/>
                </a:ln>
                <a:solidFill>
                  <a:srgbClr val="000000"/>
                </a:solidFill>
                <a:effectLst/>
                <a:uLnTx/>
                <a:uFillTx/>
                <a:latin typeface="Calibri"/>
                <a:ea typeface="+mn-ea"/>
                <a:cs typeface="+mn-cs"/>
              </a:rPr>
              <a:t>You cannot emerge stronger from a crisis</a:t>
            </a:r>
          </a:p>
        </p:txBody>
      </p:sp>
      <p:sp>
        <p:nvSpPr>
          <p:cNvPr id="40" name="Rectangle 39">
            <a:extLst>
              <a:ext uri="{FF2B5EF4-FFF2-40B4-BE49-F238E27FC236}">
                <a16:creationId xmlns:a16="http://schemas.microsoft.com/office/drawing/2014/main" id="{9152A784-A1D9-411D-9B08-10F9BE8F2CCA}"/>
              </a:ext>
            </a:extLst>
          </p:cNvPr>
          <p:cNvSpPr/>
          <p:nvPr/>
        </p:nvSpPr>
        <p:spPr>
          <a:xfrm>
            <a:off x="459470" y="3517733"/>
            <a:ext cx="4569545"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0" cap="none" spc="0" normalizeH="0" baseline="0" noProof="0">
                <a:ln>
                  <a:noFill/>
                </a:ln>
                <a:solidFill>
                  <a:srgbClr val="000000"/>
                </a:solidFill>
                <a:effectLst/>
                <a:uLnTx/>
                <a:uFillTx/>
                <a:latin typeface="Calibri"/>
                <a:ea typeface="+mn-ea"/>
                <a:cs typeface="+mn-cs"/>
              </a:rPr>
              <a:t>I am ready for the next crisis</a:t>
            </a:r>
          </a:p>
        </p:txBody>
      </p:sp>
      <p:sp>
        <p:nvSpPr>
          <p:cNvPr id="41" name="Rectangle 40">
            <a:extLst>
              <a:ext uri="{FF2B5EF4-FFF2-40B4-BE49-F238E27FC236}">
                <a16:creationId xmlns:a16="http://schemas.microsoft.com/office/drawing/2014/main" id="{980E7710-B7C9-4768-B3B3-4186A435F684}"/>
              </a:ext>
            </a:extLst>
          </p:cNvPr>
          <p:cNvSpPr/>
          <p:nvPr/>
        </p:nvSpPr>
        <p:spPr>
          <a:xfrm>
            <a:off x="459470" y="4984250"/>
            <a:ext cx="5243986"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0" cap="none" spc="0" normalizeH="0" baseline="0" noProof="0">
                <a:ln>
                  <a:noFill/>
                </a:ln>
                <a:solidFill>
                  <a:srgbClr val="000000"/>
                </a:solidFill>
                <a:effectLst/>
                <a:uLnTx/>
                <a:uFillTx/>
                <a:latin typeface="Calibri"/>
                <a:ea typeface="+mn-ea"/>
                <a:cs typeface="+mn-cs"/>
              </a:rPr>
              <a:t>I have survived previous crises, so I can survive the next one</a:t>
            </a:r>
          </a:p>
        </p:txBody>
      </p:sp>
      <p:sp>
        <p:nvSpPr>
          <p:cNvPr id="42" name="Footnote">
            <a:extLst>
              <a:ext uri="{FF2B5EF4-FFF2-40B4-BE49-F238E27FC236}">
                <a16:creationId xmlns:a16="http://schemas.microsoft.com/office/drawing/2014/main" id="{1CA04BB3-92CD-424A-BD7D-C9E1AB4BE617}"/>
              </a:ext>
            </a:extLst>
          </p:cNvPr>
          <p:cNvSpPr/>
          <p:nvPr/>
        </p:nvSpPr>
        <p:spPr>
          <a:xfrm>
            <a:off x="457200" y="6277689"/>
            <a:ext cx="11277600" cy="123111"/>
          </a:xfrm>
          <a:prstGeom prst="rect">
            <a:avLst/>
          </a:prstGeom>
        </p:spPr>
        <p:txBody>
          <a:bodyPr vert="horz" lIns="0" tIns="0" rIns="0" bIns="0" rtlCol="0" anchor="b" anchorCtr="0">
            <a:spAutoFit/>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Calibri"/>
                <a:ea typeface="+mn-ea"/>
                <a:cs typeface="+mn-cs"/>
              </a:rPr>
              <a:t>Sources: PwC Crisis Report 2021, HBS, Oliver Wyman analysis</a:t>
            </a:r>
          </a:p>
        </p:txBody>
      </p:sp>
      <p:sp>
        <p:nvSpPr>
          <p:cNvPr id="24" name="Title 23">
            <a:extLst>
              <a:ext uri="{FF2B5EF4-FFF2-40B4-BE49-F238E27FC236}">
                <a16:creationId xmlns:a16="http://schemas.microsoft.com/office/drawing/2014/main" id="{4CF2F1A6-DFA3-4873-B501-81C6CBAD6FED}"/>
              </a:ext>
            </a:extLst>
          </p:cNvPr>
          <p:cNvSpPr>
            <a:spLocks noGrp="1"/>
          </p:cNvSpPr>
          <p:nvPr>
            <p:ph type="title"/>
          </p:nvPr>
        </p:nvSpPr>
        <p:spPr/>
        <p:txBody>
          <a:bodyPr vert="horz"/>
          <a:lstStyle/>
          <a:p>
            <a:r>
              <a:rPr lang="en-GB"/>
              <a:t>From a resilient to an adaptive firm</a:t>
            </a:r>
          </a:p>
        </p:txBody>
      </p:sp>
      <p:grpSp>
        <p:nvGrpSpPr>
          <p:cNvPr id="2" name="Group 1">
            <a:extLst>
              <a:ext uri="{FF2B5EF4-FFF2-40B4-BE49-F238E27FC236}">
                <a16:creationId xmlns:a16="http://schemas.microsoft.com/office/drawing/2014/main" id="{E1B25DB1-A656-4E48-A611-FB7D58A1BCA2}"/>
              </a:ext>
            </a:extLst>
          </p:cNvPr>
          <p:cNvGrpSpPr/>
          <p:nvPr/>
        </p:nvGrpSpPr>
        <p:grpSpPr>
          <a:xfrm>
            <a:off x="6324600" y="1409968"/>
            <a:ext cx="5702803" cy="4971846"/>
            <a:chOff x="6324600" y="1409968"/>
            <a:chExt cx="5702803" cy="4971846"/>
          </a:xfrm>
        </p:grpSpPr>
        <p:sp>
          <p:nvSpPr>
            <p:cNvPr id="6" name="Freeform: Shape 5">
              <a:extLst>
                <a:ext uri="{FF2B5EF4-FFF2-40B4-BE49-F238E27FC236}">
                  <a16:creationId xmlns:a16="http://schemas.microsoft.com/office/drawing/2014/main" id="{C56E6ECD-D708-238B-B49B-AF6B538B9DB4}"/>
                </a:ext>
              </a:extLst>
            </p:cNvPr>
            <p:cNvSpPr/>
            <p:nvPr/>
          </p:nvSpPr>
          <p:spPr>
            <a:xfrm>
              <a:off x="6613273" y="4196762"/>
              <a:ext cx="2583976" cy="1876416"/>
            </a:xfrm>
            <a:custGeom>
              <a:avLst/>
              <a:gdLst>
                <a:gd name="connsiteX0" fmla="*/ 0 w 2583976"/>
                <a:gd name="connsiteY0" fmla="*/ 0 h 1856096"/>
                <a:gd name="connsiteX1" fmla="*/ 495869 w 2583976"/>
                <a:gd name="connsiteY1" fmla="*/ 213815 h 1856096"/>
                <a:gd name="connsiteX2" fmla="*/ 577755 w 2583976"/>
                <a:gd name="connsiteY2" fmla="*/ 773374 h 1856096"/>
                <a:gd name="connsiteX3" fmla="*/ 709684 w 2583976"/>
                <a:gd name="connsiteY3" fmla="*/ 1128215 h 1856096"/>
                <a:gd name="connsiteX4" fmla="*/ 1000836 w 2583976"/>
                <a:gd name="connsiteY4" fmla="*/ 1255594 h 1856096"/>
                <a:gd name="connsiteX5" fmla="*/ 1414818 w 2583976"/>
                <a:gd name="connsiteY5" fmla="*/ 1219200 h 1856096"/>
                <a:gd name="connsiteX6" fmla="*/ 2083558 w 2583976"/>
                <a:gd name="connsiteY6" fmla="*/ 1246496 h 1856096"/>
                <a:gd name="connsiteX7" fmla="*/ 2429302 w 2583976"/>
                <a:gd name="connsiteY7" fmla="*/ 1396621 h 1856096"/>
                <a:gd name="connsiteX8" fmla="*/ 2583976 w 2583976"/>
                <a:gd name="connsiteY8" fmla="*/ 1856096 h 1856096"/>
                <a:gd name="connsiteX0" fmla="*/ 0 w 2583976"/>
                <a:gd name="connsiteY0" fmla="*/ 0 h 1856096"/>
                <a:gd name="connsiteX1" fmla="*/ 495869 w 2583976"/>
                <a:gd name="connsiteY1" fmla="*/ 213815 h 1856096"/>
                <a:gd name="connsiteX2" fmla="*/ 577755 w 2583976"/>
                <a:gd name="connsiteY2" fmla="*/ 773374 h 1856096"/>
                <a:gd name="connsiteX3" fmla="*/ 709684 w 2583976"/>
                <a:gd name="connsiteY3" fmla="*/ 1128215 h 1856096"/>
                <a:gd name="connsiteX4" fmla="*/ 1000836 w 2583976"/>
                <a:gd name="connsiteY4" fmla="*/ 1255594 h 1856096"/>
                <a:gd name="connsiteX5" fmla="*/ 1414818 w 2583976"/>
                <a:gd name="connsiteY5" fmla="*/ 1219200 h 1856096"/>
                <a:gd name="connsiteX6" fmla="*/ 2083558 w 2583976"/>
                <a:gd name="connsiteY6" fmla="*/ 1246496 h 1856096"/>
                <a:gd name="connsiteX7" fmla="*/ 2429302 w 2583976"/>
                <a:gd name="connsiteY7" fmla="*/ 1396621 h 1856096"/>
                <a:gd name="connsiteX8" fmla="*/ 2583976 w 2583976"/>
                <a:gd name="connsiteY8" fmla="*/ 1856096 h 1856096"/>
                <a:gd name="connsiteX0" fmla="*/ 0 w 2583976"/>
                <a:gd name="connsiteY0" fmla="*/ 0 h 1856096"/>
                <a:gd name="connsiteX1" fmla="*/ 495869 w 2583976"/>
                <a:gd name="connsiteY1" fmla="*/ 213815 h 1856096"/>
                <a:gd name="connsiteX2" fmla="*/ 709684 w 2583976"/>
                <a:gd name="connsiteY2" fmla="*/ 1128215 h 1856096"/>
                <a:gd name="connsiteX3" fmla="*/ 1000836 w 2583976"/>
                <a:gd name="connsiteY3" fmla="*/ 1255594 h 1856096"/>
                <a:gd name="connsiteX4" fmla="*/ 1414818 w 2583976"/>
                <a:gd name="connsiteY4" fmla="*/ 1219200 h 1856096"/>
                <a:gd name="connsiteX5" fmla="*/ 2083558 w 2583976"/>
                <a:gd name="connsiteY5" fmla="*/ 1246496 h 1856096"/>
                <a:gd name="connsiteX6" fmla="*/ 2429302 w 2583976"/>
                <a:gd name="connsiteY6" fmla="*/ 1396621 h 1856096"/>
                <a:gd name="connsiteX7" fmla="*/ 2583976 w 2583976"/>
                <a:gd name="connsiteY7" fmla="*/ 1856096 h 1856096"/>
                <a:gd name="connsiteX0" fmla="*/ 0 w 2583976"/>
                <a:gd name="connsiteY0" fmla="*/ 0 h 1856096"/>
                <a:gd name="connsiteX1" fmla="*/ 495869 w 2583976"/>
                <a:gd name="connsiteY1" fmla="*/ 213815 h 1856096"/>
                <a:gd name="connsiteX2" fmla="*/ 812554 w 2583976"/>
                <a:gd name="connsiteY2" fmla="*/ 1143455 h 1856096"/>
                <a:gd name="connsiteX3" fmla="*/ 1000836 w 2583976"/>
                <a:gd name="connsiteY3" fmla="*/ 1255594 h 1856096"/>
                <a:gd name="connsiteX4" fmla="*/ 1414818 w 2583976"/>
                <a:gd name="connsiteY4" fmla="*/ 1219200 h 1856096"/>
                <a:gd name="connsiteX5" fmla="*/ 2083558 w 2583976"/>
                <a:gd name="connsiteY5" fmla="*/ 1246496 h 1856096"/>
                <a:gd name="connsiteX6" fmla="*/ 2429302 w 2583976"/>
                <a:gd name="connsiteY6" fmla="*/ 1396621 h 1856096"/>
                <a:gd name="connsiteX7" fmla="*/ 2583976 w 2583976"/>
                <a:gd name="connsiteY7" fmla="*/ 1856096 h 1856096"/>
                <a:gd name="connsiteX0" fmla="*/ 0 w 2583976"/>
                <a:gd name="connsiteY0" fmla="*/ 0 h 1856096"/>
                <a:gd name="connsiteX1" fmla="*/ 495869 w 2583976"/>
                <a:gd name="connsiteY1" fmla="*/ 213815 h 1856096"/>
                <a:gd name="connsiteX2" fmla="*/ 812554 w 2583976"/>
                <a:gd name="connsiteY2" fmla="*/ 1143455 h 1856096"/>
                <a:gd name="connsiteX3" fmla="*/ 1414818 w 2583976"/>
                <a:gd name="connsiteY3" fmla="*/ 1219200 h 1856096"/>
                <a:gd name="connsiteX4" fmla="*/ 2083558 w 2583976"/>
                <a:gd name="connsiteY4" fmla="*/ 1246496 h 1856096"/>
                <a:gd name="connsiteX5" fmla="*/ 2429302 w 2583976"/>
                <a:gd name="connsiteY5" fmla="*/ 1396621 h 1856096"/>
                <a:gd name="connsiteX6" fmla="*/ 2583976 w 2583976"/>
                <a:gd name="connsiteY6" fmla="*/ 1856096 h 1856096"/>
                <a:gd name="connsiteX0" fmla="*/ 0 w 2583976"/>
                <a:gd name="connsiteY0" fmla="*/ 0 h 1856096"/>
                <a:gd name="connsiteX1" fmla="*/ 495869 w 2583976"/>
                <a:gd name="connsiteY1" fmla="*/ 213815 h 1856096"/>
                <a:gd name="connsiteX2" fmla="*/ 812554 w 2583976"/>
                <a:gd name="connsiteY2" fmla="*/ 1143455 h 1856096"/>
                <a:gd name="connsiteX3" fmla="*/ 1411008 w 2583976"/>
                <a:gd name="connsiteY3" fmla="*/ 1242060 h 1856096"/>
                <a:gd name="connsiteX4" fmla="*/ 2083558 w 2583976"/>
                <a:gd name="connsiteY4" fmla="*/ 1246496 h 1856096"/>
                <a:gd name="connsiteX5" fmla="*/ 2429302 w 2583976"/>
                <a:gd name="connsiteY5" fmla="*/ 1396621 h 1856096"/>
                <a:gd name="connsiteX6" fmla="*/ 2583976 w 2583976"/>
                <a:gd name="connsiteY6" fmla="*/ 1856096 h 1856096"/>
                <a:gd name="connsiteX0" fmla="*/ 0 w 2583976"/>
                <a:gd name="connsiteY0" fmla="*/ 0 h 1856096"/>
                <a:gd name="connsiteX1" fmla="*/ 495869 w 2583976"/>
                <a:gd name="connsiteY1" fmla="*/ 213815 h 1856096"/>
                <a:gd name="connsiteX2" fmla="*/ 812554 w 2583976"/>
                <a:gd name="connsiteY2" fmla="*/ 1143455 h 1856096"/>
                <a:gd name="connsiteX3" fmla="*/ 2083558 w 2583976"/>
                <a:gd name="connsiteY3" fmla="*/ 1246496 h 1856096"/>
                <a:gd name="connsiteX4" fmla="*/ 2429302 w 2583976"/>
                <a:gd name="connsiteY4" fmla="*/ 1396621 h 1856096"/>
                <a:gd name="connsiteX5" fmla="*/ 2583976 w 2583976"/>
                <a:gd name="connsiteY5" fmla="*/ 1856096 h 1856096"/>
                <a:gd name="connsiteX0" fmla="*/ 0 w 2583976"/>
                <a:gd name="connsiteY0" fmla="*/ 0 h 1856096"/>
                <a:gd name="connsiteX1" fmla="*/ 495869 w 2583976"/>
                <a:gd name="connsiteY1" fmla="*/ 213815 h 1856096"/>
                <a:gd name="connsiteX2" fmla="*/ 858274 w 2583976"/>
                <a:gd name="connsiteY2" fmla="*/ 1154885 h 1856096"/>
                <a:gd name="connsiteX3" fmla="*/ 2083558 w 2583976"/>
                <a:gd name="connsiteY3" fmla="*/ 1246496 h 1856096"/>
                <a:gd name="connsiteX4" fmla="*/ 2429302 w 2583976"/>
                <a:gd name="connsiteY4" fmla="*/ 1396621 h 1856096"/>
                <a:gd name="connsiteX5" fmla="*/ 2583976 w 2583976"/>
                <a:gd name="connsiteY5" fmla="*/ 1856096 h 1856096"/>
                <a:gd name="connsiteX0" fmla="*/ 0 w 2583976"/>
                <a:gd name="connsiteY0" fmla="*/ 0 h 1856096"/>
                <a:gd name="connsiteX1" fmla="*/ 495869 w 2583976"/>
                <a:gd name="connsiteY1" fmla="*/ 213815 h 1856096"/>
                <a:gd name="connsiteX2" fmla="*/ 858274 w 2583976"/>
                <a:gd name="connsiteY2" fmla="*/ 1154885 h 1856096"/>
                <a:gd name="connsiteX3" fmla="*/ 2083558 w 2583976"/>
                <a:gd name="connsiteY3" fmla="*/ 1246496 h 1856096"/>
                <a:gd name="connsiteX4" fmla="*/ 2583976 w 2583976"/>
                <a:gd name="connsiteY4" fmla="*/ 1856096 h 1856096"/>
                <a:gd name="connsiteX0" fmla="*/ 0 w 2583976"/>
                <a:gd name="connsiteY0" fmla="*/ 0 h 1876416"/>
                <a:gd name="connsiteX1" fmla="*/ 495869 w 2583976"/>
                <a:gd name="connsiteY1" fmla="*/ 234135 h 1876416"/>
                <a:gd name="connsiteX2" fmla="*/ 858274 w 2583976"/>
                <a:gd name="connsiteY2" fmla="*/ 1175205 h 1876416"/>
                <a:gd name="connsiteX3" fmla="*/ 2083558 w 2583976"/>
                <a:gd name="connsiteY3" fmla="*/ 1266816 h 1876416"/>
                <a:gd name="connsiteX4" fmla="*/ 2583976 w 2583976"/>
                <a:gd name="connsiteY4" fmla="*/ 1876416 h 1876416"/>
                <a:gd name="connsiteX0" fmla="*/ 0 w 2583976"/>
                <a:gd name="connsiteY0" fmla="*/ 0 h 1876416"/>
                <a:gd name="connsiteX1" fmla="*/ 495869 w 2583976"/>
                <a:gd name="connsiteY1" fmla="*/ 234135 h 1876416"/>
                <a:gd name="connsiteX2" fmla="*/ 858274 w 2583976"/>
                <a:gd name="connsiteY2" fmla="*/ 1175205 h 1876416"/>
                <a:gd name="connsiteX3" fmla="*/ 2083558 w 2583976"/>
                <a:gd name="connsiteY3" fmla="*/ 1266816 h 1876416"/>
                <a:gd name="connsiteX4" fmla="*/ 2583976 w 2583976"/>
                <a:gd name="connsiteY4" fmla="*/ 1876416 h 1876416"/>
                <a:gd name="connsiteX0" fmla="*/ 0 w 2583976"/>
                <a:gd name="connsiteY0" fmla="*/ 0 h 1876416"/>
                <a:gd name="connsiteX1" fmla="*/ 495869 w 2583976"/>
                <a:gd name="connsiteY1" fmla="*/ 234135 h 1876416"/>
                <a:gd name="connsiteX2" fmla="*/ 858274 w 2583976"/>
                <a:gd name="connsiteY2" fmla="*/ 1175205 h 1876416"/>
                <a:gd name="connsiteX3" fmla="*/ 2083558 w 2583976"/>
                <a:gd name="connsiteY3" fmla="*/ 1266816 h 1876416"/>
                <a:gd name="connsiteX4" fmla="*/ 2583976 w 2583976"/>
                <a:gd name="connsiteY4" fmla="*/ 1876416 h 1876416"/>
                <a:gd name="connsiteX0" fmla="*/ 0 w 2583976"/>
                <a:gd name="connsiteY0" fmla="*/ 0 h 1876416"/>
                <a:gd name="connsiteX1" fmla="*/ 495869 w 2583976"/>
                <a:gd name="connsiteY1" fmla="*/ 234135 h 1876416"/>
                <a:gd name="connsiteX2" fmla="*/ 858274 w 2583976"/>
                <a:gd name="connsiteY2" fmla="*/ 1175205 h 1876416"/>
                <a:gd name="connsiteX3" fmla="*/ 2083558 w 2583976"/>
                <a:gd name="connsiteY3" fmla="*/ 1266816 h 1876416"/>
                <a:gd name="connsiteX4" fmla="*/ 2583976 w 2583976"/>
                <a:gd name="connsiteY4" fmla="*/ 1876416 h 1876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976" h="1876416">
                  <a:moveTo>
                    <a:pt x="0" y="0"/>
                  </a:moveTo>
                  <a:cubicBezTo>
                    <a:pt x="204868" y="83099"/>
                    <a:pt x="335043" y="53508"/>
                    <a:pt x="495869" y="234135"/>
                  </a:cubicBezTo>
                  <a:cubicBezTo>
                    <a:pt x="656695" y="414762"/>
                    <a:pt x="593659" y="1003092"/>
                    <a:pt x="858274" y="1175205"/>
                  </a:cubicBezTo>
                  <a:cubicBezTo>
                    <a:pt x="1122889" y="1347318"/>
                    <a:pt x="1795941" y="1149948"/>
                    <a:pt x="2083558" y="1266816"/>
                  </a:cubicBezTo>
                  <a:cubicBezTo>
                    <a:pt x="2371175" y="1383684"/>
                    <a:pt x="2479722" y="1749416"/>
                    <a:pt x="2583976" y="1876416"/>
                  </a:cubicBezTo>
                </a:path>
              </a:pathLst>
            </a:custGeom>
            <a:noFill/>
            <a:ln w="19050">
              <a:solidFill>
                <a:srgbClr val="76D3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5" name="Freeform: Shape 4">
              <a:extLst>
                <a:ext uri="{FF2B5EF4-FFF2-40B4-BE49-F238E27FC236}">
                  <a16:creationId xmlns:a16="http://schemas.microsoft.com/office/drawing/2014/main" id="{C70622F6-1DA1-8266-040C-BEFDAADFC46C}"/>
                </a:ext>
              </a:extLst>
            </p:cNvPr>
            <p:cNvSpPr/>
            <p:nvPr/>
          </p:nvSpPr>
          <p:spPr>
            <a:xfrm>
              <a:off x="6628263" y="4179401"/>
              <a:ext cx="5107846" cy="1043618"/>
            </a:xfrm>
            <a:custGeom>
              <a:avLst/>
              <a:gdLst>
                <a:gd name="connsiteX0" fmla="*/ 0 w 5149756"/>
                <a:gd name="connsiteY0" fmla="*/ 63690 h 1247183"/>
                <a:gd name="connsiteX1" fmla="*/ 454926 w 5149756"/>
                <a:gd name="connsiteY1" fmla="*/ 272956 h 1247183"/>
                <a:gd name="connsiteX2" fmla="*/ 595953 w 5149756"/>
                <a:gd name="connsiteY2" fmla="*/ 805218 h 1247183"/>
                <a:gd name="connsiteX3" fmla="*/ 700586 w 5149756"/>
                <a:gd name="connsiteY3" fmla="*/ 1082723 h 1247183"/>
                <a:gd name="connsiteX4" fmla="*/ 955344 w 5149756"/>
                <a:gd name="connsiteY4" fmla="*/ 1237397 h 1247183"/>
                <a:gd name="connsiteX5" fmla="*/ 1301087 w 5149756"/>
                <a:gd name="connsiteY5" fmla="*/ 1205553 h 1247183"/>
                <a:gd name="connsiteX6" fmla="*/ 1651380 w 5149756"/>
                <a:gd name="connsiteY6" fmla="*/ 996287 h 1247183"/>
                <a:gd name="connsiteX7" fmla="*/ 2015320 w 5149756"/>
                <a:gd name="connsiteY7" fmla="*/ 568657 h 1247183"/>
                <a:gd name="connsiteX8" fmla="*/ 2329218 w 5149756"/>
                <a:gd name="connsiteY8" fmla="*/ 318448 h 1247183"/>
                <a:gd name="connsiteX9" fmla="*/ 2547583 w 5149756"/>
                <a:gd name="connsiteY9" fmla="*/ 454926 h 1247183"/>
                <a:gd name="connsiteX10" fmla="*/ 2825087 w 5149756"/>
                <a:gd name="connsiteY10" fmla="*/ 914400 h 1247183"/>
                <a:gd name="connsiteX11" fmla="*/ 2984311 w 5149756"/>
                <a:gd name="connsiteY11" fmla="*/ 1132765 h 1247183"/>
                <a:gd name="connsiteX12" fmla="*/ 3052550 w 5149756"/>
                <a:gd name="connsiteY12" fmla="*/ 1160060 h 1247183"/>
                <a:gd name="connsiteX13" fmla="*/ 3157183 w 5149756"/>
                <a:gd name="connsiteY13" fmla="*/ 1014484 h 1247183"/>
                <a:gd name="connsiteX14" fmla="*/ 3270914 w 5149756"/>
                <a:gd name="connsiteY14" fmla="*/ 582305 h 1247183"/>
                <a:gd name="connsiteX15" fmla="*/ 3443786 w 5149756"/>
                <a:gd name="connsiteY15" fmla="*/ 259308 h 1247183"/>
                <a:gd name="connsiteX16" fmla="*/ 3739487 w 5149756"/>
                <a:gd name="connsiteY16" fmla="*/ 63690 h 1247183"/>
                <a:gd name="connsiteX17" fmla="*/ 4021541 w 5149756"/>
                <a:gd name="connsiteY17" fmla="*/ 63690 h 1247183"/>
                <a:gd name="connsiteX18" fmla="*/ 4217159 w 5149756"/>
                <a:gd name="connsiteY18" fmla="*/ 245660 h 1247183"/>
                <a:gd name="connsiteX19" fmla="*/ 4390030 w 5149756"/>
                <a:gd name="connsiteY19" fmla="*/ 504968 h 1247183"/>
                <a:gd name="connsiteX20" fmla="*/ 4553803 w 5149756"/>
                <a:gd name="connsiteY20" fmla="*/ 618699 h 1247183"/>
                <a:gd name="connsiteX21" fmla="*/ 4726675 w 5149756"/>
                <a:gd name="connsiteY21" fmla="*/ 591403 h 1247183"/>
                <a:gd name="connsiteX22" fmla="*/ 4867702 w 5149756"/>
                <a:gd name="connsiteY22" fmla="*/ 413982 h 1247183"/>
                <a:gd name="connsiteX23" fmla="*/ 4967786 w 5149756"/>
                <a:gd name="connsiteY23" fmla="*/ 150126 h 1247183"/>
                <a:gd name="connsiteX24" fmla="*/ 5072418 w 5149756"/>
                <a:gd name="connsiteY24" fmla="*/ 31845 h 1247183"/>
                <a:gd name="connsiteX25" fmla="*/ 5149756 w 5149756"/>
                <a:gd name="connsiteY25" fmla="*/ 0 h 1247183"/>
                <a:gd name="connsiteX0" fmla="*/ 0 w 5149756"/>
                <a:gd name="connsiteY0" fmla="*/ 63690 h 1247183"/>
                <a:gd name="connsiteX1" fmla="*/ 454926 w 5149756"/>
                <a:gd name="connsiteY1" fmla="*/ 272956 h 1247183"/>
                <a:gd name="connsiteX2" fmla="*/ 595953 w 5149756"/>
                <a:gd name="connsiteY2" fmla="*/ 805218 h 1247183"/>
                <a:gd name="connsiteX3" fmla="*/ 700586 w 5149756"/>
                <a:gd name="connsiteY3" fmla="*/ 1082723 h 1247183"/>
                <a:gd name="connsiteX4" fmla="*/ 955344 w 5149756"/>
                <a:gd name="connsiteY4" fmla="*/ 1237397 h 1247183"/>
                <a:gd name="connsiteX5" fmla="*/ 1301087 w 5149756"/>
                <a:gd name="connsiteY5" fmla="*/ 1205553 h 1247183"/>
                <a:gd name="connsiteX6" fmla="*/ 1651380 w 5149756"/>
                <a:gd name="connsiteY6" fmla="*/ 996287 h 1247183"/>
                <a:gd name="connsiteX7" fmla="*/ 2015320 w 5149756"/>
                <a:gd name="connsiteY7" fmla="*/ 568657 h 1247183"/>
                <a:gd name="connsiteX8" fmla="*/ 2329218 w 5149756"/>
                <a:gd name="connsiteY8" fmla="*/ 318448 h 1247183"/>
                <a:gd name="connsiteX9" fmla="*/ 2547583 w 5149756"/>
                <a:gd name="connsiteY9" fmla="*/ 454926 h 1247183"/>
                <a:gd name="connsiteX10" fmla="*/ 2825087 w 5149756"/>
                <a:gd name="connsiteY10" fmla="*/ 914400 h 1247183"/>
                <a:gd name="connsiteX11" fmla="*/ 3052550 w 5149756"/>
                <a:gd name="connsiteY11" fmla="*/ 1160060 h 1247183"/>
                <a:gd name="connsiteX12" fmla="*/ 3157183 w 5149756"/>
                <a:gd name="connsiteY12" fmla="*/ 1014484 h 1247183"/>
                <a:gd name="connsiteX13" fmla="*/ 3270914 w 5149756"/>
                <a:gd name="connsiteY13" fmla="*/ 582305 h 1247183"/>
                <a:gd name="connsiteX14" fmla="*/ 3443786 w 5149756"/>
                <a:gd name="connsiteY14" fmla="*/ 259308 h 1247183"/>
                <a:gd name="connsiteX15" fmla="*/ 3739487 w 5149756"/>
                <a:gd name="connsiteY15" fmla="*/ 63690 h 1247183"/>
                <a:gd name="connsiteX16" fmla="*/ 4021541 w 5149756"/>
                <a:gd name="connsiteY16" fmla="*/ 63690 h 1247183"/>
                <a:gd name="connsiteX17" fmla="*/ 4217159 w 5149756"/>
                <a:gd name="connsiteY17" fmla="*/ 245660 h 1247183"/>
                <a:gd name="connsiteX18" fmla="*/ 4390030 w 5149756"/>
                <a:gd name="connsiteY18" fmla="*/ 504968 h 1247183"/>
                <a:gd name="connsiteX19" fmla="*/ 4553803 w 5149756"/>
                <a:gd name="connsiteY19" fmla="*/ 618699 h 1247183"/>
                <a:gd name="connsiteX20" fmla="*/ 4726675 w 5149756"/>
                <a:gd name="connsiteY20" fmla="*/ 591403 h 1247183"/>
                <a:gd name="connsiteX21" fmla="*/ 4867702 w 5149756"/>
                <a:gd name="connsiteY21" fmla="*/ 413982 h 1247183"/>
                <a:gd name="connsiteX22" fmla="*/ 4967786 w 5149756"/>
                <a:gd name="connsiteY22" fmla="*/ 150126 h 1247183"/>
                <a:gd name="connsiteX23" fmla="*/ 5072418 w 5149756"/>
                <a:gd name="connsiteY23" fmla="*/ 31845 h 1247183"/>
                <a:gd name="connsiteX24" fmla="*/ 5149756 w 5149756"/>
                <a:gd name="connsiteY24" fmla="*/ 0 h 1247183"/>
                <a:gd name="connsiteX0" fmla="*/ 0 w 5149756"/>
                <a:gd name="connsiteY0" fmla="*/ 63690 h 1247183"/>
                <a:gd name="connsiteX1" fmla="*/ 454926 w 5149756"/>
                <a:gd name="connsiteY1" fmla="*/ 272956 h 1247183"/>
                <a:gd name="connsiteX2" fmla="*/ 595953 w 5149756"/>
                <a:gd name="connsiteY2" fmla="*/ 805218 h 1247183"/>
                <a:gd name="connsiteX3" fmla="*/ 700586 w 5149756"/>
                <a:gd name="connsiteY3" fmla="*/ 1082723 h 1247183"/>
                <a:gd name="connsiteX4" fmla="*/ 955344 w 5149756"/>
                <a:gd name="connsiteY4" fmla="*/ 1237397 h 1247183"/>
                <a:gd name="connsiteX5" fmla="*/ 1301087 w 5149756"/>
                <a:gd name="connsiteY5" fmla="*/ 1205553 h 1247183"/>
                <a:gd name="connsiteX6" fmla="*/ 1651380 w 5149756"/>
                <a:gd name="connsiteY6" fmla="*/ 996287 h 1247183"/>
                <a:gd name="connsiteX7" fmla="*/ 2015320 w 5149756"/>
                <a:gd name="connsiteY7" fmla="*/ 568657 h 1247183"/>
                <a:gd name="connsiteX8" fmla="*/ 2329218 w 5149756"/>
                <a:gd name="connsiteY8" fmla="*/ 318448 h 1247183"/>
                <a:gd name="connsiteX9" fmla="*/ 2547583 w 5149756"/>
                <a:gd name="connsiteY9" fmla="*/ 454926 h 1247183"/>
                <a:gd name="connsiteX10" fmla="*/ 2825087 w 5149756"/>
                <a:gd name="connsiteY10" fmla="*/ 914400 h 1247183"/>
                <a:gd name="connsiteX11" fmla="*/ 3025254 w 5149756"/>
                <a:gd name="connsiteY11" fmla="*/ 1160060 h 1247183"/>
                <a:gd name="connsiteX12" fmla="*/ 3157183 w 5149756"/>
                <a:gd name="connsiteY12" fmla="*/ 1014484 h 1247183"/>
                <a:gd name="connsiteX13" fmla="*/ 3270914 w 5149756"/>
                <a:gd name="connsiteY13" fmla="*/ 582305 h 1247183"/>
                <a:gd name="connsiteX14" fmla="*/ 3443786 w 5149756"/>
                <a:gd name="connsiteY14" fmla="*/ 259308 h 1247183"/>
                <a:gd name="connsiteX15" fmla="*/ 3739487 w 5149756"/>
                <a:gd name="connsiteY15" fmla="*/ 63690 h 1247183"/>
                <a:gd name="connsiteX16" fmla="*/ 4021541 w 5149756"/>
                <a:gd name="connsiteY16" fmla="*/ 63690 h 1247183"/>
                <a:gd name="connsiteX17" fmla="*/ 4217159 w 5149756"/>
                <a:gd name="connsiteY17" fmla="*/ 245660 h 1247183"/>
                <a:gd name="connsiteX18" fmla="*/ 4390030 w 5149756"/>
                <a:gd name="connsiteY18" fmla="*/ 504968 h 1247183"/>
                <a:gd name="connsiteX19" fmla="*/ 4553803 w 5149756"/>
                <a:gd name="connsiteY19" fmla="*/ 618699 h 1247183"/>
                <a:gd name="connsiteX20" fmla="*/ 4726675 w 5149756"/>
                <a:gd name="connsiteY20" fmla="*/ 591403 h 1247183"/>
                <a:gd name="connsiteX21" fmla="*/ 4867702 w 5149756"/>
                <a:gd name="connsiteY21" fmla="*/ 413982 h 1247183"/>
                <a:gd name="connsiteX22" fmla="*/ 4967786 w 5149756"/>
                <a:gd name="connsiteY22" fmla="*/ 150126 h 1247183"/>
                <a:gd name="connsiteX23" fmla="*/ 5072418 w 5149756"/>
                <a:gd name="connsiteY23" fmla="*/ 31845 h 1247183"/>
                <a:gd name="connsiteX24" fmla="*/ 5149756 w 5149756"/>
                <a:gd name="connsiteY24" fmla="*/ 0 h 1247183"/>
                <a:gd name="connsiteX0" fmla="*/ 0 w 5149756"/>
                <a:gd name="connsiteY0" fmla="*/ 63690 h 1247183"/>
                <a:gd name="connsiteX1" fmla="*/ 454926 w 5149756"/>
                <a:gd name="connsiteY1" fmla="*/ 272956 h 1247183"/>
                <a:gd name="connsiteX2" fmla="*/ 700586 w 5149756"/>
                <a:gd name="connsiteY2" fmla="*/ 1082723 h 1247183"/>
                <a:gd name="connsiteX3" fmla="*/ 955344 w 5149756"/>
                <a:gd name="connsiteY3" fmla="*/ 1237397 h 1247183"/>
                <a:gd name="connsiteX4" fmla="*/ 1301087 w 5149756"/>
                <a:gd name="connsiteY4" fmla="*/ 1205553 h 1247183"/>
                <a:gd name="connsiteX5" fmla="*/ 1651380 w 5149756"/>
                <a:gd name="connsiteY5" fmla="*/ 996287 h 1247183"/>
                <a:gd name="connsiteX6" fmla="*/ 2015320 w 5149756"/>
                <a:gd name="connsiteY6" fmla="*/ 568657 h 1247183"/>
                <a:gd name="connsiteX7" fmla="*/ 2329218 w 5149756"/>
                <a:gd name="connsiteY7" fmla="*/ 318448 h 1247183"/>
                <a:gd name="connsiteX8" fmla="*/ 2547583 w 5149756"/>
                <a:gd name="connsiteY8" fmla="*/ 454926 h 1247183"/>
                <a:gd name="connsiteX9" fmla="*/ 2825087 w 5149756"/>
                <a:gd name="connsiteY9" fmla="*/ 914400 h 1247183"/>
                <a:gd name="connsiteX10" fmla="*/ 3025254 w 5149756"/>
                <a:gd name="connsiteY10" fmla="*/ 1160060 h 1247183"/>
                <a:gd name="connsiteX11" fmla="*/ 3157183 w 5149756"/>
                <a:gd name="connsiteY11" fmla="*/ 1014484 h 1247183"/>
                <a:gd name="connsiteX12" fmla="*/ 3270914 w 5149756"/>
                <a:gd name="connsiteY12" fmla="*/ 582305 h 1247183"/>
                <a:gd name="connsiteX13" fmla="*/ 3443786 w 5149756"/>
                <a:gd name="connsiteY13" fmla="*/ 259308 h 1247183"/>
                <a:gd name="connsiteX14" fmla="*/ 3739487 w 5149756"/>
                <a:gd name="connsiteY14" fmla="*/ 63690 h 1247183"/>
                <a:gd name="connsiteX15" fmla="*/ 4021541 w 5149756"/>
                <a:gd name="connsiteY15" fmla="*/ 63690 h 1247183"/>
                <a:gd name="connsiteX16" fmla="*/ 4217159 w 5149756"/>
                <a:gd name="connsiteY16" fmla="*/ 245660 h 1247183"/>
                <a:gd name="connsiteX17" fmla="*/ 4390030 w 5149756"/>
                <a:gd name="connsiteY17" fmla="*/ 504968 h 1247183"/>
                <a:gd name="connsiteX18" fmla="*/ 4553803 w 5149756"/>
                <a:gd name="connsiteY18" fmla="*/ 618699 h 1247183"/>
                <a:gd name="connsiteX19" fmla="*/ 4726675 w 5149756"/>
                <a:gd name="connsiteY19" fmla="*/ 591403 h 1247183"/>
                <a:gd name="connsiteX20" fmla="*/ 4867702 w 5149756"/>
                <a:gd name="connsiteY20" fmla="*/ 413982 h 1247183"/>
                <a:gd name="connsiteX21" fmla="*/ 4967786 w 5149756"/>
                <a:gd name="connsiteY21" fmla="*/ 150126 h 1247183"/>
                <a:gd name="connsiteX22" fmla="*/ 5072418 w 5149756"/>
                <a:gd name="connsiteY22" fmla="*/ 31845 h 1247183"/>
                <a:gd name="connsiteX23" fmla="*/ 5149756 w 5149756"/>
                <a:gd name="connsiteY23" fmla="*/ 0 h 1247183"/>
                <a:gd name="connsiteX0" fmla="*/ 0 w 5149756"/>
                <a:gd name="connsiteY0" fmla="*/ 63690 h 1252259"/>
                <a:gd name="connsiteX1" fmla="*/ 454926 w 5149756"/>
                <a:gd name="connsiteY1" fmla="*/ 272956 h 1252259"/>
                <a:gd name="connsiteX2" fmla="*/ 795836 w 5149756"/>
                <a:gd name="connsiteY2" fmla="*/ 1014143 h 1252259"/>
                <a:gd name="connsiteX3" fmla="*/ 955344 w 5149756"/>
                <a:gd name="connsiteY3" fmla="*/ 1237397 h 1252259"/>
                <a:gd name="connsiteX4" fmla="*/ 1301087 w 5149756"/>
                <a:gd name="connsiteY4" fmla="*/ 1205553 h 1252259"/>
                <a:gd name="connsiteX5" fmla="*/ 1651380 w 5149756"/>
                <a:gd name="connsiteY5" fmla="*/ 996287 h 1252259"/>
                <a:gd name="connsiteX6" fmla="*/ 2015320 w 5149756"/>
                <a:gd name="connsiteY6" fmla="*/ 568657 h 1252259"/>
                <a:gd name="connsiteX7" fmla="*/ 2329218 w 5149756"/>
                <a:gd name="connsiteY7" fmla="*/ 318448 h 1252259"/>
                <a:gd name="connsiteX8" fmla="*/ 2547583 w 5149756"/>
                <a:gd name="connsiteY8" fmla="*/ 454926 h 1252259"/>
                <a:gd name="connsiteX9" fmla="*/ 2825087 w 5149756"/>
                <a:gd name="connsiteY9" fmla="*/ 914400 h 1252259"/>
                <a:gd name="connsiteX10" fmla="*/ 3025254 w 5149756"/>
                <a:gd name="connsiteY10" fmla="*/ 1160060 h 1252259"/>
                <a:gd name="connsiteX11" fmla="*/ 3157183 w 5149756"/>
                <a:gd name="connsiteY11" fmla="*/ 1014484 h 1252259"/>
                <a:gd name="connsiteX12" fmla="*/ 3270914 w 5149756"/>
                <a:gd name="connsiteY12" fmla="*/ 582305 h 1252259"/>
                <a:gd name="connsiteX13" fmla="*/ 3443786 w 5149756"/>
                <a:gd name="connsiteY13" fmla="*/ 259308 h 1252259"/>
                <a:gd name="connsiteX14" fmla="*/ 3739487 w 5149756"/>
                <a:gd name="connsiteY14" fmla="*/ 63690 h 1252259"/>
                <a:gd name="connsiteX15" fmla="*/ 4021541 w 5149756"/>
                <a:gd name="connsiteY15" fmla="*/ 63690 h 1252259"/>
                <a:gd name="connsiteX16" fmla="*/ 4217159 w 5149756"/>
                <a:gd name="connsiteY16" fmla="*/ 245660 h 1252259"/>
                <a:gd name="connsiteX17" fmla="*/ 4390030 w 5149756"/>
                <a:gd name="connsiteY17" fmla="*/ 504968 h 1252259"/>
                <a:gd name="connsiteX18" fmla="*/ 4553803 w 5149756"/>
                <a:gd name="connsiteY18" fmla="*/ 618699 h 1252259"/>
                <a:gd name="connsiteX19" fmla="*/ 4726675 w 5149756"/>
                <a:gd name="connsiteY19" fmla="*/ 591403 h 1252259"/>
                <a:gd name="connsiteX20" fmla="*/ 4867702 w 5149756"/>
                <a:gd name="connsiteY20" fmla="*/ 413982 h 1252259"/>
                <a:gd name="connsiteX21" fmla="*/ 4967786 w 5149756"/>
                <a:gd name="connsiteY21" fmla="*/ 150126 h 1252259"/>
                <a:gd name="connsiteX22" fmla="*/ 5072418 w 5149756"/>
                <a:gd name="connsiteY22" fmla="*/ 31845 h 1252259"/>
                <a:gd name="connsiteX23" fmla="*/ 5149756 w 5149756"/>
                <a:gd name="connsiteY23" fmla="*/ 0 h 1252259"/>
                <a:gd name="connsiteX0" fmla="*/ 0 w 5149756"/>
                <a:gd name="connsiteY0" fmla="*/ 63690 h 1252259"/>
                <a:gd name="connsiteX1" fmla="*/ 481596 w 5149756"/>
                <a:gd name="connsiteY1" fmla="*/ 246286 h 1252259"/>
                <a:gd name="connsiteX2" fmla="*/ 795836 w 5149756"/>
                <a:gd name="connsiteY2" fmla="*/ 1014143 h 1252259"/>
                <a:gd name="connsiteX3" fmla="*/ 955344 w 5149756"/>
                <a:gd name="connsiteY3" fmla="*/ 1237397 h 1252259"/>
                <a:gd name="connsiteX4" fmla="*/ 1301087 w 5149756"/>
                <a:gd name="connsiteY4" fmla="*/ 1205553 h 1252259"/>
                <a:gd name="connsiteX5" fmla="*/ 1651380 w 5149756"/>
                <a:gd name="connsiteY5" fmla="*/ 996287 h 1252259"/>
                <a:gd name="connsiteX6" fmla="*/ 2015320 w 5149756"/>
                <a:gd name="connsiteY6" fmla="*/ 568657 h 1252259"/>
                <a:gd name="connsiteX7" fmla="*/ 2329218 w 5149756"/>
                <a:gd name="connsiteY7" fmla="*/ 318448 h 1252259"/>
                <a:gd name="connsiteX8" fmla="*/ 2547583 w 5149756"/>
                <a:gd name="connsiteY8" fmla="*/ 454926 h 1252259"/>
                <a:gd name="connsiteX9" fmla="*/ 2825087 w 5149756"/>
                <a:gd name="connsiteY9" fmla="*/ 914400 h 1252259"/>
                <a:gd name="connsiteX10" fmla="*/ 3025254 w 5149756"/>
                <a:gd name="connsiteY10" fmla="*/ 1160060 h 1252259"/>
                <a:gd name="connsiteX11" fmla="*/ 3157183 w 5149756"/>
                <a:gd name="connsiteY11" fmla="*/ 1014484 h 1252259"/>
                <a:gd name="connsiteX12" fmla="*/ 3270914 w 5149756"/>
                <a:gd name="connsiteY12" fmla="*/ 582305 h 1252259"/>
                <a:gd name="connsiteX13" fmla="*/ 3443786 w 5149756"/>
                <a:gd name="connsiteY13" fmla="*/ 259308 h 1252259"/>
                <a:gd name="connsiteX14" fmla="*/ 3739487 w 5149756"/>
                <a:gd name="connsiteY14" fmla="*/ 63690 h 1252259"/>
                <a:gd name="connsiteX15" fmla="*/ 4021541 w 5149756"/>
                <a:gd name="connsiteY15" fmla="*/ 63690 h 1252259"/>
                <a:gd name="connsiteX16" fmla="*/ 4217159 w 5149756"/>
                <a:gd name="connsiteY16" fmla="*/ 245660 h 1252259"/>
                <a:gd name="connsiteX17" fmla="*/ 4390030 w 5149756"/>
                <a:gd name="connsiteY17" fmla="*/ 504968 h 1252259"/>
                <a:gd name="connsiteX18" fmla="*/ 4553803 w 5149756"/>
                <a:gd name="connsiteY18" fmla="*/ 618699 h 1252259"/>
                <a:gd name="connsiteX19" fmla="*/ 4726675 w 5149756"/>
                <a:gd name="connsiteY19" fmla="*/ 591403 h 1252259"/>
                <a:gd name="connsiteX20" fmla="*/ 4867702 w 5149756"/>
                <a:gd name="connsiteY20" fmla="*/ 413982 h 1252259"/>
                <a:gd name="connsiteX21" fmla="*/ 4967786 w 5149756"/>
                <a:gd name="connsiteY21" fmla="*/ 150126 h 1252259"/>
                <a:gd name="connsiteX22" fmla="*/ 5072418 w 5149756"/>
                <a:gd name="connsiteY22" fmla="*/ 31845 h 1252259"/>
                <a:gd name="connsiteX23" fmla="*/ 5149756 w 5149756"/>
                <a:gd name="connsiteY23" fmla="*/ 0 h 1252259"/>
                <a:gd name="connsiteX0" fmla="*/ 0 w 5149756"/>
                <a:gd name="connsiteY0" fmla="*/ 63690 h 1252259"/>
                <a:gd name="connsiteX1" fmla="*/ 489216 w 5149756"/>
                <a:gd name="connsiteY1" fmla="*/ 272956 h 1252259"/>
                <a:gd name="connsiteX2" fmla="*/ 795836 w 5149756"/>
                <a:gd name="connsiteY2" fmla="*/ 1014143 h 1252259"/>
                <a:gd name="connsiteX3" fmla="*/ 955344 w 5149756"/>
                <a:gd name="connsiteY3" fmla="*/ 1237397 h 1252259"/>
                <a:gd name="connsiteX4" fmla="*/ 1301087 w 5149756"/>
                <a:gd name="connsiteY4" fmla="*/ 1205553 h 1252259"/>
                <a:gd name="connsiteX5" fmla="*/ 1651380 w 5149756"/>
                <a:gd name="connsiteY5" fmla="*/ 996287 h 1252259"/>
                <a:gd name="connsiteX6" fmla="*/ 2015320 w 5149756"/>
                <a:gd name="connsiteY6" fmla="*/ 568657 h 1252259"/>
                <a:gd name="connsiteX7" fmla="*/ 2329218 w 5149756"/>
                <a:gd name="connsiteY7" fmla="*/ 318448 h 1252259"/>
                <a:gd name="connsiteX8" fmla="*/ 2547583 w 5149756"/>
                <a:gd name="connsiteY8" fmla="*/ 454926 h 1252259"/>
                <a:gd name="connsiteX9" fmla="*/ 2825087 w 5149756"/>
                <a:gd name="connsiteY9" fmla="*/ 914400 h 1252259"/>
                <a:gd name="connsiteX10" fmla="*/ 3025254 w 5149756"/>
                <a:gd name="connsiteY10" fmla="*/ 1160060 h 1252259"/>
                <a:gd name="connsiteX11" fmla="*/ 3157183 w 5149756"/>
                <a:gd name="connsiteY11" fmla="*/ 1014484 h 1252259"/>
                <a:gd name="connsiteX12" fmla="*/ 3270914 w 5149756"/>
                <a:gd name="connsiteY12" fmla="*/ 582305 h 1252259"/>
                <a:gd name="connsiteX13" fmla="*/ 3443786 w 5149756"/>
                <a:gd name="connsiteY13" fmla="*/ 259308 h 1252259"/>
                <a:gd name="connsiteX14" fmla="*/ 3739487 w 5149756"/>
                <a:gd name="connsiteY14" fmla="*/ 63690 h 1252259"/>
                <a:gd name="connsiteX15" fmla="*/ 4021541 w 5149756"/>
                <a:gd name="connsiteY15" fmla="*/ 63690 h 1252259"/>
                <a:gd name="connsiteX16" fmla="*/ 4217159 w 5149756"/>
                <a:gd name="connsiteY16" fmla="*/ 245660 h 1252259"/>
                <a:gd name="connsiteX17" fmla="*/ 4390030 w 5149756"/>
                <a:gd name="connsiteY17" fmla="*/ 504968 h 1252259"/>
                <a:gd name="connsiteX18" fmla="*/ 4553803 w 5149756"/>
                <a:gd name="connsiteY18" fmla="*/ 618699 h 1252259"/>
                <a:gd name="connsiteX19" fmla="*/ 4726675 w 5149756"/>
                <a:gd name="connsiteY19" fmla="*/ 591403 h 1252259"/>
                <a:gd name="connsiteX20" fmla="*/ 4867702 w 5149756"/>
                <a:gd name="connsiteY20" fmla="*/ 413982 h 1252259"/>
                <a:gd name="connsiteX21" fmla="*/ 4967786 w 5149756"/>
                <a:gd name="connsiteY21" fmla="*/ 150126 h 1252259"/>
                <a:gd name="connsiteX22" fmla="*/ 5072418 w 5149756"/>
                <a:gd name="connsiteY22" fmla="*/ 31845 h 1252259"/>
                <a:gd name="connsiteX23" fmla="*/ 5149756 w 5149756"/>
                <a:gd name="connsiteY23" fmla="*/ 0 h 1252259"/>
                <a:gd name="connsiteX0" fmla="*/ 0 w 5149756"/>
                <a:gd name="connsiteY0" fmla="*/ 63690 h 1252259"/>
                <a:gd name="connsiteX1" fmla="*/ 489216 w 5149756"/>
                <a:gd name="connsiteY1" fmla="*/ 276766 h 1252259"/>
                <a:gd name="connsiteX2" fmla="*/ 795836 w 5149756"/>
                <a:gd name="connsiteY2" fmla="*/ 1014143 h 1252259"/>
                <a:gd name="connsiteX3" fmla="*/ 955344 w 5149756"/>
                <a:gd name="connsiteY3" fmla="*/ 1237397 h 1252259"/>
                <a:gd name="connsiteX4" fmla="*/ 1301087 w 5149756"/>
                <a:gd name="connsiteY4" fmla="*/ 1205553 h 1252259"/>
                <a:gd name="connsiteX5" fmla="*/ 1651380 w 5149756"/>
                <a:gd name="connsiteY5" fmla="*/ 996287 h 1252259"/>
                <a:gd name="connsiteX6" fmla="*/ 2015320 w 5149756"/>
                <a:gd name="connsiteY6" fmla="*/ 568657 h 1252259"/>
                <a:gd name="connsiteX7" fmla="*/ 2329218 w 5149756"/>
                <a:gd name="connsiteY7" fmla="*/ 318448 h 1252259"/>
                <a:gd name="connsiteX8" fmla="*/ 2547583 w 5149756"/>
                <a:gd name="connsiteY8" fmla="*/ 454926 h 1252259"/>
                <a:gd name="connsiteX9" fmla="*/ 2825087 w 5149756"/>
                <a:gd name="connsiteY9" fmla="*/ 914400 h 1252259"/>
                <a:gd name="connsiteX10" fmla="*/ 3025254 w 5149756"/>
                <a:gd name="connsiteY10" fmla="*/ 1160060 h 1252259"/>
                <a:gd name="connsiteX11" fmla="*/ 3157183 w 5149756"/>
                <a:gd name="connsiteY11" fmla="*/ 1014484 h 1252259"/>
                <a:gd name="connsiteX12" fmla="*/ 3270914 w 5149756"/>
                <a:gd name="connsiteY12" fmla="*/ 582305 h 1252259"/>
                <a:gd name="connsiteX13" fmla="*/ 3443786 w 5149756"/>
                <a:gd name="connsiteY13" fmla="*/ 259308 h 1252259"/>
                <a:gd name="connsiteX14" fmla="*/ 3739487 w 5149756"/>
                <a:gd name="connsiteY14" fmla="*/ 63690 h 1252259"/>
                <a:gd name="connsiteX15" fmla="*/ 4021541 w 5149756"/>
                <a:gd name="connsiteY15" fmla="*/ 63690 h 1252259"/>
                <a:gd name="connsiteX16" fmla="*/ 4217159 w 5149756"/>
                <a:gd name="connsiteY16" fmla="*/ 245660 h 1252259"/>
                <a:gd name="connsiteX17" fmla="*/ 4390030 w 5149756"/>
                <a:gd name="connsiteY17" fmla="*/ 504968 h 1252259"/>
                <a:gd name="connsiteX18" fmla="*/ 4553803 w 5149756"/>
                <a:gd name="connsiteY18" fmla="*/ 618699 h 1252259"/>
                <a:gd name="connsiteX19" fmla="*/ 4726675 w 5149756"/>
                <a:gd name="connsiteY19" fmla="*/ 591403 h 1252259"/>
                <a:gd name="connsiteX20" fmla="*/ 4867702 w 5149756"/>
                <a:gd name="connsiteY20" fmla="*/ 413982 h 1252259"/>
                <a:gd name="connsiteX21" fmla="*/ 4967786 w 5149756"/>
                <a:gd name="connsiteY21" fmla="*/ 150126 h 1252259"/>
                <a:gd name="connsiteX22" fmla="*/ 5072418 w 5149756"/>
                <a:gd name="connsiteY22" fmla="*/ 31845 h 1252259"/>
                <a:gd name="connsiteX23" fmla="*/ 5149756 w 5149756"/>
                <a:gd name="connsiteY23" fmla="*/ 0 h 1252259"/>
                <a:gd name="connsiteX0" fmla="*/ 0 w 5149756"/>
                <a:gd name="connsiteY0" fmla="*/ 63690 h 1259312"/>
                <a:gd name="connsiteX1" fmla="*/ 489216 w 5149756"/>
                <a:gd name="connsiteY1" fmla="*/ 276766 h 1259312"/>
                <a:gd name="connsiteX2" fmla="*/ 757736 w 5149756"/>
                <a:gd name="connsiteY2" fmla="*/ 918893 h 1259312"/>
                <a:gd name="connsiteX3" fmla="*/ 955344 w 5149756"/>
                <a:gd name="connsiteY3" fmla="*/ 1237397 h 1259312"/>
                <a:gd name="connsiteX4" fmla="*/ 1301087 w 5149756"/>
                <a:gd name="connsiteY4" fmla="*/ 1205553 h 1259312"/>
                <a:gd name="connsiteX5" fmla="*/ 1651380 w 5149756"/>
                <a:gd name="connsiteY5" fmla="*/ 996287 h 1259312"/>
                <a:gd name="connsiteX6" fmla="*/ 2015320 w 5149756"/>
                <a:gd name="connsiteY6" fmla="*/ 568657 h 1259312"/>
                <a:gd name="connsiteX7" fmla="*/ 2329218 w 5149756"/>
                <a:gd name="connsiteY7" fmla="*/ 318448 h 1259312"/>
                <a:gd name="connsiteX8" fmla="*/ 2547583 w 5149756"/>
                <a:gd name="connsiteY8" fmla="*/ 454926 h 1259312"/>
                <a:gd name="connsiteX9" fmla="*/ 2825087 w 5149756"/>
                <a:gd name="connsiteY9" fmla="*/ 914400 h 1259312"/>
                <a:gd name="connsiteX10" fmla="*/ 3025254 w 5149756"/>
                <a:gd name="connsiteY10" fmla="*/ 1160060 h 1259312"/>
                <a:gd name="connsiteX11" fmla="*/ 3157183 w 5149756"/>
                <a:gd name="connsiteY11" fmla="*/ 1014484 h 1259312"/>
                <a:gd name="connsiteX12" fmla="*/ 3270914 w 5149756"/>
                <a:gd name="connsiteY12" fmla="*/ 582305 h 1259312"/>
                <a:gd name="connsiteX13" fmla="*/ 3443786 w 5149756"/>
                <a:gd name="connsiteY13" fmla="*/ 259308 h 1259312"/>
                <a:gd name="connsiteX14" fmla="*/ 3739487 w 5149756"/>
                <a:gd name="connsiteY14" fmla="*/ 63690 h 1259312"/>
                <a:gd name="connsiteX15" fmla="*/ 4021541 w 5149756"/>
                <a:gd name="connsiteY15" fmla="*/ 63690 h 1259312"/>
                <a:gd name="connsiteX16" fmla="*/ 4217159 w 5149756"/>
                <a:gd name="connsiteY16" fmla="*/ 245660 h 1259312"/>
                <a:gd name="connsiteX17" fmla="*/ 4390030 w 5149756"/>
                <a:gd name="connsiteY17" fmla="*/ 504968 h 1259312"/>
                <a:gd name="connsiteX18" fmla="*/ 4553803 w 5149756"/>
                <a:gd name="connsiteY18" fmla="*/ 618699 h 1259312"/>
                <a:gd name="connsiteX19" fmla="*/ 4726675 w 5149756"/>
                <a:gd name="connsiteY19" fmla="*/ 591403 h 1259312"/>
                <a:gd name="connsiteX20" fmla="*/ 4867702 w 5149756"/>
                <a:gd name="connsiteY20" fmla="*/ 413982 h 1259312"/>
                <a:gd name="connsiteX21" fmla="*/ 4967786 w 5149756"/>
                <a:gd name="connsiteY21" fmla="*/ 150126 h 1259312"/>
                <a:gd name="connsiteX22" fmla="*/ 5072418 w 5149756"/>
                <a:gd name="connsiteY22" fmla="*/ 31845 h 1259312"/>
                <a:gd name="connsiteX23" fmla="*/ 5149756 w 5149756"/>
                <a:gd name="connsiteY23" fmla="*/ 0 h 1259312"/>
                <a:gd name="connsiteX0" fmla="*/ 0 w 5149756"/>
                <a:gd name="connsiteY0" fmla="*/ 63690 h 1259312"/>
                <a:gd name="connsiteX1" fmla="*/ 489216 w 5149756"/>
                <a:gd name="connsiteY1" fmla="*/ 276766 h 1259312"/>
                <a:gd name="connsiteX2" fmla="*/ 757736 w 5149756"/>
                <a:gd name="connsiteY2" fmla="*/ 918893 h 1259312"/>
                <a:gd name="connsiteX3" fmla="*/ 955344 w 5149756"/>
                <a:gd name="connsiteY3" fmla="*/ 1237397 h 1259312"/>
                <a:gd name="connsiteX4" fmla="*/ 1301087 w 5149756"/>
                <a:gd name="connsiteY4" fmla="*/ 1205553 h 1259312"/>
                <a:gd name="connsiteX5" fmla="*/ 1651380 w 5149756"/>
                <a:gd name="connsiteY5" fmla="*/ 996287 h 1259312"/>
                <a:gd name="connsiteX6" fmla="*/ 2015320 w 5149756"/>
                <a:gd name="connsiteY6" fmla="*/ 568657 h 1259312"/>
                <a:gd name="connsiteX7" fmla="*/ 2329218 w 5149756"/>
                <a:gd name="connsiteY7" fmla="*/ 318448 h 1259312"/>
                <a:gd name="connsiteX8" fmla="*/ 2547583 w 5149756"/>
                <a:gd name="connsiteY8" fmla="*/ 454926 h 1259312"/>
                <a:gd name="connsiteX9" fmla="*/ 2825087 w 5149756"/>
                <a:gd name="connsiteY9" fmla="*/ 914400 h 1259312"/>
                <a:gd name="connsiteX10" fmla="*/ 3025254 w 5149756"/>
                <a:gd name="connsiteY10" fmla="*/ 1160060 h 1259312"/>
                <a:gd name="connsiteX11" fmla="*/ 3157183 w 5149756"/>
                <a:gd name="connsiteY11" fmla="*/ 1014484 h 1259312"/>
                <a:gd name="connsiteX12" fmla="*/ 3270914 w 5149756"/>
                <a:gd name="connsiteY12" fmla="*/ 582305 h 1259312"/>
                <a:gd name="connsiteX13" fmla="*/ 3443786 w 5149756"/>
                <a:gd name="connsiteY13" fmla="*/ 259308 h 1259312"/>
                <a:gd name="connsiteX14" fmla="*/ 3739487 w 5149756"/>
                <a:gd name="connsiteY14" fmla="*/ 63690 h 1259312"/>
                <a:gd name="connsiteX15" fmla="*/ 4021541 w 5149756"/>
                <a:gd name="connsiteY15" fmla="*/ 63690 h 1259312"/>
                <a:gd name="connsiteX16" fmla="*/ 4217159 w 5149756"/>
                <a:gd name="connsiteY16" fmla="*/ 245660 h 1259312"/>
                <a:gd name="connsiteX17" fmla="*/ 4390030 w 5149756"/>
                <a:gd name="connsiteY17" fmla="*/ 504968 h 1259312"/>
                <a:gd name="connsiteX18" fmla="*/ 4553803 w 5149756"/>
                <a:gd name="connsiteY18" fmla="*/ 618699 h 1259312"/>
                <a:gd name="connsiteX19" fmla="*/ 4726675 w 5149756"/>
                <a:gd name="connsiteY19" fmla="*/ 591403 h 1259312"/>
                <a:gd name="connsiteX20" fmla="*/ 4867702 w 5149756"/>
                <a:gd name="connsiteY20" fmla="*/ 413982 h 1259312"/>
                <a:gd name="connsiteX21" fmla="*/ 4967786 w 5149756"/>
                <a:gd name="connsiteY21" fmla="*/ 150126 h 1259312"/>
                <a:gd name="connsiteX22" fmla="*/ 5072418 w 5149756"/>
                <a:gd name="connsiteY22" fmla="*/ 31845 h 1259312"/>
                <a:gd name="connsiteX23" fmla="*/ 5149756 w 5149756"/>
                <a:gd name="connsiteY23" fmla="*/ 0 h 1259312"/>
                <a:gd name="connsiteX0" fmla="*/ 0 w 5149756"/>
                <a:gd name="connsiteY0" fmla="*/ 63690 h 1306872"/>
                <a:gd name="connsiteX1" fmla="*/ 489216 w 5149756"/>
                <a:gd name="connsiteY1" fmla="*/ 276766 h 1306872"/>
                <a:gd name="connsiteX2" fmla="*/ 955344 w 5149756"/>
                <a:gd name="connsiteY2" fmla="*/ 1237397 h 1306872"/>
                <a:gd name="connsiteX3" fmla="*/ 1301087 w 5149756"/>
                <a:gd name="connsiteY3" fmla="*/ 1205553 h 1306872"/>
                <a:gd name="connsiteX4" fmla="*/ 1651380 w 5149756"/>
                <a:gd name="connsiteY4" fmla="*/ 996287 h 1306872"/>
                <a:gd name="connsiteX5" fmla="*/ 2015320 w 5149756"/>
                <a:gd name="connsiteY5" fmla="*/ 568657 h 1306872"/>
                <a:gd name="connsiteX6" fmla="*/ 2329218 w 5149756"/>
                <a:gd name="connsiteY6" fmla="*/ 318448 h 1306872"/>
                <a:gd name="connsiteX7" fmla="*/ 2547583 w 5149756"/>
                <a:gd name="connsiteY7" fmla="*/ 454926 h 1306872"/>
                <a:gd name="connsiteX8" fmla="*/ 2825087 w 5149756"/>
                <a:gd name="connsiteY8" fmla="*/ 914400 h 1306872"/>
                <a:gd name="connsiteX9" fmla="*/ 3025254 w 5149756"/>
                <a:gd name="connsiteY9" fmla="*/ 1160060 h 1306872"/>
                <a:gd name="connsiteX10" fmla="*/ 3157183 w 5149756"/>
                <a:gd name="connsiteY10" fmla="*/ 1014484 h 1306872"/>
                <a:gd name="connsiteX11" fmla="*/ 3270914 w 5149756"/>
                <a:gd name="connsiteY11" fmla="*/ 582305 h 1306872"/>
                <a:gd name="connsiteX12" fmla="*/ 3443786 w 5149756"/>
                <a:gd name="connsiteY12" fmla="*/ 259308 h 1306872"/>
                <a:gd name="connsiteX13" fmla="*/ 3739487 w 5149756"/>
                <a:gd name="connsiteY13" fmla="*/ 63690 h 1306872"/>
                <a:gd name="connsiteX14" fmla="*/ 4021541 w 5149756"/>
                <a:gd name="connsiteY14" fmla="*/ 63690 h 1306872"/>
                <a:gd name="connsiteX15" fmla="*/ 4217159 w 5149756"/>
                <a:gd name="connsiteY15" fmla="*/ 245660 h 1306872"/>
                <a:gd name="connsiteX16" fmla="*/ 4390030 w 5149756"/>
                <a:gd name="connsiteY16" fmla="*/ 504968 h 1306872"/>
                <a:gd name="connsiteX17" fmla="*/ 4553803 w 5149756"/>
                <a:gd name="connsiteY17" fmla="*/ 618699 h 1306872"/>
                <a:gd name="connsiteX18" fmla="*/ 4726675 w 5149756"/>
                <a:gd name="connsiteY18" fmla="*/ 591403 h 1306872"/>
                <a:gd name="connsiteX19" fmla="*/ 4867702 w 5149756"/>
                <a:gd name="connsiteY19" fmla="*/ 413982 h 1306872"/>
                <a:gd name="connsiteX20" fmla="*/ 4967786 w 5149756"/>
                <a:gd name="connsiteY20" fmla="*/ 150126 h 1306872"/>
                <a:gd name="connsiteX21" fmla="*/ 5072418 w 5149756"/>
                <a:gd name="connsiteY21" fmla="*/ 31845 h 1306872"/>
                <a:gd name="connsiteX22" fmla="*/ 5149756 w 5149756"/>
                <a:gd name="connsiteY22" fmla="*/ 0 h 1306872"/>
                <a:gd name="connsiteX0" fmla="*/ 0 w 5149756"/>
                <a:gd name="connsiteY0" fmla="*/ 63690 h 1205554"/>
                <a:gd name="connsiteX1" fmla="*/ 489216 w 5149756"/>
                <a:gd name="connsiteY1" fmla="*/ 276766 h 1205554"/>
                <a:gd name="connsiteX2" fmla="*/ 898194 w 5149756"/>
                <a:gd name="connsiteY2" fmla="*/ 993557 h 1205554"/>
                <a:gd name="connsiteX3" fmla="*/ 1301087 w 5149756"/>
                <a:gd name="connsiteY3" fmla="*/ 1205553 h 1205554"/>
                <a:gd name="connsiteX4" fmla="*/ 1651380 w 5149756"/>
                <a:gd name="connsiteY4" fmla="*/ 996287 h 1205554"/>
                <a:gd name="connsiteX5" fmla="*/ 2015320 w 5149756"/>
                <a:gd name="connsiteY5" fmla="*/ 568657 h 1205554"/>
                <a:gd name="connsiteX6" fmla="*/ 2329218 w 5149756"/>
                <a:gd name="connsiteY6" fmla="*/ 318448 h 1205554"/>
                <a:gd name="connsiteX7" fmla="*/ 2547583 w 5149756"/>
                <a:gd name="connsiteY7" fmla="*/ 454926 h 1205554"/>
                <a:gd name="connsiteX8" fmla="*/ 2825087 w 5149756"/>
                <a:gd name="connsiteY8" fmla="*/ 914400 h 1205554"/>
                <a:gd name="connsiteX9" fmla="*/ 3025254 w 5149756"/>
                <a:gd name="connsiteY9" fmla="*/ 1160060 h 1205554"/>
                <a:gd name="connsiteX10" fmla="*/ 3157183 w 5149756"/>
                <a:gd name="connsiteY10" fmla="*/ 1014484 h 1205554"/>
                <a:gd name="connsiteX11" fmla="*/ 3270914 w 5149756"/>
                <a:gd name="connsiteY11" fmla="*/ 582305 h 1205554"/>
                <a:gd name="connsiteX12" fmla="*/ 3443786 w 5149756"/>
                <a:gd name="connsiteY12" fmla="*/ 259308 h 1205554"/>
                <a:gd name="connsiteX13" fmla="*/ 3739487 w 5149756"/>
                <a:gd name="connsiteY13" fmla="*/ 63690 h 1205554"/>
                <a:gd name="connsiteX14" fmla="*/ 4021541 w 5149756"/>
                <a:gd name="connsiteY14" fmla="*/ 63690 h 1205554"/>
                <a:gd name="connsiteX15" fmla="*/ 4217159 w 5149756"/>
                <a:gd name="connsiteY15" fmla="*/ 245660 h 1205554"/>
                <a:gd name="connsiteX16" fmla="*/ 4390030 w 5149756"/>
                <a:gd name="connsiteY16" fmla="*/ 504968 h 1205554"/>
                <a:gd name="connsiteX17" fmla="*/ 4553803 w 5149756"/>
                <a:gd name="connsiteY17" fmla="*/ 618699 h 1205554"/>
                <a:gd name="connsiteX18" fmla="*/ 4726675 w 5149756"/>
                <a:gd name="connsiteY18" fmla="*/ 591403 h 1205554"/>
                <a:gd name="connsiteX19" fmla="*/ 4867702 w 5149756"/>
                <a:gd name="connsiteY19" fmla="*/ 413982 h 1205554"/>
                <a:gd name="connsiteX20" fmla="*/ 4967786 w 5149756"/>
                <a:gd name="connsiteY20" fmla="*/ 150126 h 1205554"/>
                <a:gd name="connsiteX21" fmla="*/ 5072418 w 5149756"/>
                <a:gd name="connsiteY21" fmla="*/ 31845 h 1205554"/>
                <a:gd name="connsiteX22" fmla="*/ 5149756 w 5149756"/>
                <a:gd name="connsiteY22" fmla="*/ 0 h 1205554"/>
                <a:gd name="connsiteX0" fmla="*/ 0 w 5149756"/>
                <a:gd name="connsiteY0" fmla="*/ 63690 h 1205554"/>
                <a:gd name="connsiteX1" fmla="*/ 489216 w 5149756"/>
                <a:gd name="connsiteY1" fmla="*/ 276766 h 1205554"/>
                <a:gd name="connsiteX2" fmla="*/ 898194 w 5149756"/>
                <a:gd name="connsiteY2" fmla="*/ 993557 h 1205554"/>
                <a:gd name="connsiteX3" fmla="*/ 1301087 w 5149756"/>
                <a:gd name="connsiteY3" fmla="*/ 1205553 h 1205554"/>
                <a:gd name="connsiteX4" fmla="*/ 1651380 w 5149756"/>
                <a:gd name="connsiteY4" fmla="*/ 996287 h 1205554"/>
                <a:gd name="connsiteX5" fmla="*/ 2015320 w 5149756"/>
                <a:gd name="connsiteY5" fmla="*/ 568657 h 1205554"/>
                <a:gd name="connsiteX6" fmla="*/ 2329218 w 5149756"/>
                <a:gd name="connsiteY6" fmla="*/ 318448 h 1205554"/>
                <a:gd name="connsiteX7" fmla="*/ 2547583 w 5149756"/>
                <a:gd name="connsiteY7" fmla="*/ 454926 h 1205554"/>
                <a:gd name="connsiteX8" fmla="*/ 2825087 w 5149756"/>
                <a:gd name="connsiteY8" fmla="*/ 914400 h 1205554"/>
                <a:gd name="connsiteX9" fmla="*/ 3025254 w 5149756"/>
                <a:gd name="connsiteY9" fmla="*/ 1160060 h 1205554"/>
                <a:gd name="connsiteX10" fmla="*/ 3157183 w 5149756"/>
                <a:gd name="connsiteY10" fmla="*/ 1014484 h 1205554"/>
                <a:gd name="connsiteX11" fmla="*/ 3270914 w 5149756"/>
                <a:gd name="connsiteY11" fmla="*/ 582305 h 1205554"/>
                <a:gd name="connsiteX12" fmla="*/ 3443786 w 5149756"/>
                <a:gd name="connsiteY12" fmla="*/ 259308 h 1205554"/>
                <a:gd name="connsiteX13" fmla="*/ 3739487 w 5149756"/>
                <a:gd name="connsiteY13" fmla="*/ 63690 h 1205554"/>
                <a:gd name="connsiteX14" fmla="*/ 4021541 w 5149756"/>
                <a:gd name="connsiteY14" fmla="*/ 63690 h 1205554"/>
                <a:gd name="connsiteX15" fmla="*/ 4217159 w 5149756"/>
                <a:gd name="connsiteY15" fmla="*/ 245660 h 1205554"/>
                <a:gd name="connsiteX16" fmla="*/ 4390030 w 5149756"/>
                <a:gd name="connsiteY16" fmla="*/ 504968 h 1205554"/>
                <a:gd name="connsiteX17" fmla="*/ 4553803 w 5149756"/>
                <a:gd name="connsiteY17" fmla="*/ 618699 h 1205554"/>
                <a:gd name="connsiteX18" fmla="*/ 4726675 w 5149756"/>
                <a:gd name="connsiteY18" fmla="*/ 591403 h 1205554"/>
                <a:gd name="connsiteX19" fmla="*/ 4867702 w 5149756"/>
                <a:gd name="connsiteY19" fmla="*/ 413982 h 1205554"/>
                <a:gd name="connsiteX20" fmla="*/ 4967786 w 5149756"/>
                <a:gd name="connsiteY20" fmla="*/ 150126 h 1205554"/>
                <a:gd name="connsiteX21" fmla="*/ 5072418 w 5149756"/>
                <a:gd name="connsiteY21" fmla="*/ 31845 h 1205554"/>
                <a:gd name="connsiteX22" fmla="*/ 5149756 w 5149756"/>
                <a:gd name="connsiteY22" fmla="*/ 0 h 1205554"/>
                <a:gd name="connsiteX0" fmla="*/ 0 w 5149756"/>
                <a:gd name="connsiteY0" fmla="*/ 63690 h 1162641"/>
                <a:gd name="connsiteX1" fmla="*/ 489216 w 5149756"/>
                <a:gd name="connsiteY1" fmla="*/ 276766 h 1162641"/>
                <a:gd name="connsiteX2" fmla="*/ 898194 w 5149756"/>
                <a:gd name="connsiteY2" fmla="*/ 993557 h 1162641"/>
                <a:gd name="connsiteX3" fmla="*/ 1651380 w 5149756"/>
                <a:gd name="connsiteY3" fmla="*/ 996287 h 1162641"/>
                <a:gd name="connsiteX4" fmla="*/ 2015320 w 5149756"/>
                <a:gd name="connsiteY4" fmla="*/ 568657 h 1162641"/>
                <a:gd name="connsiteX5" fmla="*/ 2329218 w 5149756"/>
                <a:gd name="connsiteY5" fmla="*/ 318448 h 1162641"/>
                <a:gd name="connsiteX6" fmla="*/ 2547583 w 5149756"/>
                <a:gd name="connsiteY6" fmla="*/ 454926 h 1162641"/>
                <a:gd name="connsiteX7" fmla="*/ 2825087 w 5149756"/>
                <a:gd name="connsiteY7" fmla="*/ 914400 h 1162641"/>
                <a:gd name="connsiteX8" fmla="*/ 3025254 w 5149756"/>
                <a:gd name="connsiteY8" fmla="*/ 1160060 h 1162641"/>
                <a:gd name="connsiteX9" fmla="*/ 3157183 w 5149756"/>
                <a:gd name="connsiteY9" fmla="*/ 1014484 h 1162641"/>
                <a:gd name="connsiteX10" fmla="*/ 3270914 w 5149756"/>
                <a:gd name="connsiteY10" fmla="*/ 582305 h 1162641"/>
                <a:gd name="connsiteX11" fmla="*/ 3443786 w 5149756"/>
                <a:gd name="connsiteY11" fmla="*/ 259308 h 1162641"/>
                <a:gd name="connsiteX12" fmla="*/ 3739487 w 5149756"/>
                <a:gd name="connsiteY12" fmla="*/ 63690 h 1162641"/>
                <a:gd name="connsiteX13" fmla="*/ 4021541 w 5149756"/>
                <a:gd name="connsiteY13" fmla="*/ 63690 h 1162641"/>
                <a:gd name="connsiteX14" fmla="*/ 4217159 w 5149756"/>
                <a:gd name="connsiteY14" fmla="*/ 245660 h 1162641"/>
                <a:gd name="connsiteX15" fmla="*/ 4390030 w 5149756"/>
                <a:gd name="connsiteY15" fmla="*/ 504968 h 1162641"/>
                <a:gd name="connsiteX16" fmla="*/ 4553803 w 5149756"/>
                <a:gd name="connsiteY16" fmla="*/ 618699 h 1162641"/>
                <a:gd name="connsiteX17" fmla="*/ 4726675 w 5149756"/>
                <a:gd name="connsiteY17" fmla="*/ 591403 h 1162641"/>
                <a:gd name="connsiteX18" fmla="*/ 4867702 w 5149756"/>
                <a:gd name="connsiteY18" fmla="*/ 413982 h 1162641"/>
                <a:gd name="connsiteX19" fmla="*/ 4967786 w 5149756"/>
                <a:gd name="connsiteY19" fmla="*/ 150126 h 1162641"/>
                <a:gd name="connsiteX20" fmla="*/ 5072418 w 5149756"/>
                <a:gd name="connsiteY20" fmla="*/ 31845 h 1162641"/>
                <a:gd name="connsiteX21" fmla="*/ 5149756 w 5149756"/>
                <a:gd name="connsiteY21" fmla="*/ 0 h 1162641"/>
                <a:gd name="connsiteX0" fmla="*/ 0 w 5149756"/>
                <a:gd name="connsiteY0" fmla="*/ 63690 h 1162641"/>
                <a:gd name="connsiteX1" fmla="*/ 489216 w 5149756"/>
                <a:gd name="connsiteY1" fmla="*/ 276766 h 1162641"/>
                <a:gd name="connsiteX2" fmla="*/ 898194 w 5149756"/>
                <a:gd name="connsiteY2" fmla="*/ 993557 h 1162641"/>
                <a:gd name="connsiteX3" fmla="*/ 1441830 w 5149756"/>
                <a:gd name="connsiteY3" fmla="*/ 931517 h 1162641"/>
                <a:gd name="connsiteX4" fmla="*/ 2015320 w 5149756"/>
                <a:gd name="connsiteY4" fmla="*/ 568657 h 1162641"/>
                <a:gd name="connsiteX5" fmla="*/ 2329218 w 5149756"/>
                <a:gd name="connsiteY5" fmla="*/ 318448 h 1162641"/>
                <a:gd name="connsiteX6" fmla="*/ 2547583 w 5149756"/>
                <a:gd name="connsiteY6" fmla="*/ 454926 h 1162641"/>
                <a:gd name="connsiteX7" fmla="*/ 2825087 w 5149756"/>
                <a:gd name="connsiteY7" fmla="*/ 914400 h 1162641"/>
                <a:gd name="connsiteX8" fmla="*/ 3025254 w 5149756"/>
                <a:gd name="connsiteY8" fmla="*/ 1160060 h 1162641"/>
                <a:gd name="connsiteX9" fmla="*/ 3157183 w 5149756"/>
                <a:gd name="connsiteY9" fmla="*/ 1014484 h 1162641"/>
                <a:gd name="connsiteX10" fmla="*/ 3270914 w 5149756"/>
                <a:gd name="connsiteY10" fmla="*/ 582305 h 1162641"/>
                <a:gd name="connsiteX11" fmla="*/ 3443786 w 5149756"/>
                <a:gd name="connsiteY11" fmla="*/ 259308 h 1162641"/>
                <a:gd name="connsiteX12" fmla="*/ 3739487 w 5149756"/>
                <a:gd name="connsiteY12" fmla="*/ 63690 h 1162641"/>
                <a:gd name="connsiteX13" fmla="*/ 4021541 w 5149756"/>
                <a:gd name="connsiteY13" fmla="*/ 63690 h 1162641"/>
                <a:gd name="connsiteX14" fmla="*/ 4217159 w 5149756"/>
                <a:gd name="connsiteY14" fmla="*/ 245660 h 1162641"/>
                <a:gd name="connsiteX15" fmla="*/ 4390030 w 5149756"/>
                <a:gd name="connsiteY15" fmla="*/ 504968 h 1162641"/>
                <a:gd name="connsiteX16" fmla="*/ 4553803 w 5149756"/>
                <a:gd name="connsiteY16" fmla="*/ 618699 h 1162641"/>
                <a:gd name="connsiteX17" fmla="*/ 4726675 w 5149756"/>
                <a:gd name="connsiteY17" fmla="*/ 591403 h 1162641"/>
                <a:gd name="connsiteX18" fmla="*/ 4867702 w 5149756"/>
                <a:gd name="connsiteY18" fmla="*/ 413982 h 1162641"/>
                <a:gd name="connsiteX19" fmla="*/ 4967786 w 5149756"/>
                <a:gd name="connsiteY19" fmla="*/ 150126 h 1162641"/>
                <a:gd name="connsiteX20" fmla="*/ 5072418 w 5149756"/>
                <a:gd name="connsiteY20" fmla="*/ 31845 h 1162641"/>
                <a:gd name="connsiteX21" fmla="*/ 5149756 w 5149756"/>
                <a:gd name="connsiteY21" fmla="*/ 0 h 1162641"/>
                <a:gd name="connsiteX0" fmla="*/ 0 w 5149756"/>
                <a:gd name="connsiteY0" fmla="*/ 63690 h 1162641"/>
                <a:gd name="connsiteX1" fmla="*/ 489216 w 5149756"/>
                <a:gd name="connsiteY1" fmla="*/ 276766 h 1162641"/>
                <a:gd name="connsiteX2" fmla="*/ 898194 w 5149756"/>
                <a:gd name="connsiteY2" fmla="*/ 993557 h 1162641"/>
                <a:gd name="connsiteX3" fmla="*/ 1441830 w 5149756"/>
                <a:gd name="connsiteY3" fmla="*/ 931517 h 1162641"/>
                <a:gd name="connsiteX4" fmla="*/ 2015320 w 5149756"/>
                <a:gd name="connsiteY4" fmla="*/ 568657 h 1162641"/>
                <a:gd name="connsiteX5" fmla="*/ 2329218 w 5149756"/>
                <a:gd name="connsiteY5" fmla="*/ 318448 h 1162641"/>
                <a:gd name="connsiteX6" fmla="*/ 2547583 w 5149756"/>
                <a:gd name="connsiteY6" fmla="*/ 454926 h 1162641"/>
                <a:gd name="connsiteX7" fmla="*/ 2825087 w 5149756"/>
                <a:gd name="connsiteY7" fmla="*/ 914400 h 1162641"/>
                <a:gd name="connsiteX8" fmla="*/ 3025254 w 5149756"/>
                <a:gd name="connsiteY8" fmla="*/ 1160060 h 1162641"/>
                <a:gd name="connsiteX9" fmla="*/ 3157183 w 5149756"/>
                <a:gd name="connsiteY9" fmla="*/ 1014484 h 1162641"/>
                <a:gd name="connsiteX10" fmla="*/ 3270914 w 5149756"/>
                <a:gd name="connsiteY10" fmla="*/ 582305 h 1162641"/>
                <a:gd name="connsiteX11" fmla="*/ 3443786 w 5149756"/>
                <a:gd name="connsiteY11" fmla="*/ 259308 h 1162641"/>
                <a:gd name="connsiteX12" fmla="*/ 3739487 w 5149756"/>
                <a:gd name="connsiteY12" fmla="*/ 63690 h 1162641"/>
                <a:gd name="connsiteX13" fmla="*/ 4021541 w 5149756"/>
                <a:gd name="connsiteY13" fmla="*/ 63690 h 1162641"/>
                <a:gd name="connsiteX14" fmla="*/ 4217159 w 5149756"/>
                <a:gd name="connsiteY14" fmla="*/ 245660 h 1162641"/>
                <a:gd name="connsiteX15" fmla="*/ 4390030 w 5149756"/>
                <a:gd name="connsiteY15" fmla="*/ 504968 h 1162641"/>
                <a:gd name="connsiteX16" fmla="*/ 4553803 w 5149756"/>
                <a:gd name="connsiteY16" fmla="*/ 618699 h 1162641"/>
                <a:gd name="connsiteX17" fmla="*/ 4726675 w 5149756"/>
                <a:gd name="connsiteY17" fmla="*/ 591403 h 1162641"/>
                <a:gd name="connsiteX18" fmla="*/ 4867702 w 5149756"/>
                <a:gd name="connsiteY18" fmla="*/ 413982 h 1162641"/>
                <a:gd name="connsiteX19" fmla="*/ 4967786 w 5149756"/>
                <a:gd name="connsiteY19" fmla="*/ 150126 h 1162641"/>
                <a:gd name="connsiteX20" fmla="*/ 5072418 w 5149756"/>
                <a:gd name="connsiteY20" fmla="*/ 31845 h 1162641"/>
                <a:gd name="connsiteX21" fmla="*/ 5149756 w 5149756"/>
                <a:gd name="connsiteY21" fmla="*/ 0 h 1162641"/>
                <a:gd name="connsiteX0" fmla="*/ 0 w 5149756"/>
                <a:gd name="connsiteY0" fmla="*/ 63690 h 1162641"/>
                <a:gd name="connsiteX1" fmla="*/ 489216 w 5149756"/>
                <a:gd name="connsiteY1" fmla="*/ 276766 h 1162641"/>
                <a:gd name="connsiteX2" fmla="*/ 898194 w 5149756"/>
                <a:gd name="connsiteY2" fmla="*/ 993557 h 1162641"/>
                <a:gd name="connsiteX3" fmla="*/ 1441830 w 5149756"/>
                <a:gd name="connsiteY3" fmla="*/ 931517 h 1162641"/>
                <a:gd name="connsiteX4" fmla="*/ 2015320 w 5149756"/>
                <a:gd name="connsiteY4" fmla="*/ 568657 h 1162641"/>
                <a:gd name="connsiteX5" fmla="*/ 2329218 w 5149756"/>
                <a:gd name="connsiteY5" fmla="*/ 318448 h 1162641"/>
                <a:gd name="connsiteX6" fmla="*/ 2547583 w 5149756"/>
                <a:gd name="connsiteY6" fmla="*/ 454926 h 1162641"/>
                <a:gd name="connsiteX7" fmla="*/ 2825087 w 5149756"/>
                <a:gd name="connsiteY7" fmla="*/ 914400 h 1162641"/>
                <a:gd name="connsiteX8" fmla="*/ 3025254 w 5149756"/>
                <a:gd name="connsiteY8" fmla="*/ 1160060 h 1162641"/>
                <a:gd name="connsiteX9" fmla="*/ 3157183 w 5149756"/>
                <a:gd name="connsiteY9" fmla="*/ 1014484 h 1162641"/>
                <a:gd name="connsiteX10" fmla="*/ 3270914 w 5149756"/>
                <a:gd name="connsiteY10" fmla="*/ 582305 h 1162641"/>
                <a:gd name="connsiteX11" fmla="*/ 3443786 w 5149756"/>
                <a:gd name="connsiteY11" fmla="*/ 259308 h 1162641"/>
                <a:gd name="connsiteX12" fmla="*/ 3739487 w 5149756"/>
                <a:gd name="connsiteY12" fmla="*/ 63690 h 1162641"/>
                <a:gd name="connsiteX13" fmla="*/ 4021541 w 5149756"/>
                <a:gd name="connsiteY13" fmla="*/ 63690 h 1162641"/>
                <a:gd name="connsiteX14" fmla="*/ 4217159 w 5149756"/>
                <a:gd name="connsiteY14" fmla="*/ 245660 h 1162641"/>
                <a:gd name="connsiteX15" fmla="*/ 4390030 w 5149756"/>
                <a:gd name="connsiteY15" fmla="*/ 504968 h 1162641"/>
                <a:gd name="connsiteX16" fmla="*/ 4553803 w 5149756"/>
                <a:gd name="connsiteY16" fmla="*/ 618699 h 1162641"/>
                <a:gd name="connsiteX17" fmla="*/ 4726675 w 5149756"/>
                <a:gd name="connsiteY17" fmla="*/ 591403 h 1162641"/>
                <a:gd name="connsiteX18" fmla="*/ 4867702 w 5149756"/>
                <a:gd name="connsiteY18" fmla="*/ 413982 h 1162641"/>
                <a:gd name="connsiteX19" fmla="*/ 4967786 w 5149756"/>
                <a:gd name="connsiteY19" fmla="*/ 150126 h 1162641"/>
                <a:gd name="connsiteX20" fmla="*/ 5072418 w 5149756"/>
                <a:gd name="connsiteY20" fmla="*/ 31845 h 1162641"/>
                <a:gd name="connsiteX21" fmla="*/ 5149756 w 5149756"/>
                <a:gd name="connsiteY21" fmla="*/ 0 h 1162641"/>
                <a:gd name="connsiteX0" fmla="*/ 0 w 5149756"/>
                <a:gd name="connsiteY0" fmla="*/ 63690 h 1162641"/>
                <a:gd name="connsiteX1" fmla="*/ 489216 w 5149756"/>
                <a:gd name="connsiteY1" fmla="*/ 276766 h 1162641"/>
                <a:gd name="connsiteX2" fmla="*/ 898194 w 5149756"/>
                <a:gd name="connsiteY2" fmla="*/ 993557 h 1162641"/>
                <a:gd name="connsiteX3" fmla="*/ 1495170 w 5149756"/>
                <a:gd name="connsiteY3" fmla="*/ 981047 h 1162641"/>
                <a:gd name="connsiteX4" fmla="*/ 2015320 w 5149756"/>
                <a:gd name="connsiteY4" fmla="*/ 568657 h 1162641"/>
                <a:gd name="connsiteX5" fmla="*/ 2329218 w 5149756"/>
                <a:gd name="connsiteY5" fmla="*/ 318448 h 1162641"/>
                <a:gd name="connsiteX6" fmla="*/ 2547583 w 5149756"/>
                <a:gd name="connsiteY6" fmla="*/ 454926 h 1162641"/>
                <a:gd name="connsiteX7" fmla="*/ 2825087 w 5149756"/>
                <a:gd name="connsiteY7" fmla="*/ 914400 h 1162641"/>
                <a:gd name="connsiteX8" fmla="*/ 3025254 w 5149756"/>
                <a:gd name="connsiteY8" fmla="*/ 1160060 h 1162641"/>
                <a:gd name="connsiteX9" fmla="*/ 3157183 w 5149756"/>
                <a:gd name="connsiteY9" fmla="*/ 1014484 h 1162641"/>
                <a:gd name="connsiteX10" fmla="*/ 3270914 w 5149756"/>
                <a:gd name="connsiteY10" fmla="*/ 582305 h 1162641"/>
                <a:gd name="connsiteX11" fmla="*/ 3443786 w 5149756"/>
                <a:gd name="connsiteY11" fmla="*/ 259308 h 1162641"/>
                <a:gd name="connsiteX12" fmla="*/ 3739487 w 5149756"/>
                <a:gd name="connsiteY12" fmla="*/ 63690 h 1162641"/>
                <a:gd name="connsiteX13" fmla="*/ 4021541 w 5149756"/>
                <a:gd name="connsiteY13" fmla="*/ 63690 h 1162641"/>
                <a:gd name="connsiteX14" fmla="*/ 4217159 w 5149756"/>
                <a:gd name="connsiteY14" fmla="*/ 245660 h 1162641"/>
                <a:gd name="connsiteX15" fmla="*/ 4390030 w 5149756"/>
                <a:gd name="connsiteY15" fmla="*/ 504968 h 1162641"/>
                <a:gd name="connsiteX16" fmla="*/ 4553803 w 5149756"/>
                <a:gd name="connsiteY16" fmla="*/ 618699 h 1162641"/>
                <a:gd name="connsiteX17" fmla="*/ 4726675 w 5149756"/>
                <a:gd name="connsiteY17" fmla="*/ 591403 h 1162641"/>
                <a:gd name="connsiteX18" fmla="*/ 4867702 w 5149756"/>
                <a:gd name="connsiteY18" fmla="*/ 413982 h 1162641"/>
                <a:gd name="connsiteX19" fmla="*/ 4967786 w 5149756"/>
                <a:gd name="connsiteY19" fmla="*/ 150126 h 1162641"/>
                <a:gd name="connsiteX20" fmla="*/ 5072418 w 5149756"/>
                <a:gd name="connsiteY20" fmla="*/ 31845 h 1162641"/>
                <a:gd name="connsiteX21" fmla="*/ 5149756 w 5149756"/>
                <a:gd name="connsiteY21" fmla="*/ 0 h 1162641"/>
                <a:gd name="connsiteX0" fmla="*/ 0 w 5149756"/>
                <a:gd name="connsiteY0" fmla="*/ 63690 h 1162641"/>
                <a:gd name="connsiteX1" fmla="*/ 489216 w 5149756"/>
                <a:gd name="connsiteY1" fmla="*/ 276766 h 1162641"/>
                <a:gd name="connsiteX2" fmla="*/ 898194 w 5149756"/>
                <a:gd name="connsiteY2" fmla="*/ 993557 h 1162641"/>
                <a:gd name="connsiteX3" fmla="*/ 1495170 w 5149756"/>
                <a:gd name="connsiteY3" fmla="*/ 981047 h 1162641"/>
                <a:gd name="connsiteX4" fmla="*/ 2015320 w 5149756"/>
                <a:gd name="connsiteY4" fmla="*/ 568657 h 1162641"/>
                <a:gd name="connsiteX5" fmla="*/ 2329218 w 5149756"/>
                <a:gd name="connsiteY5" fmla="*/ 318448 h 1162641"/>
                <a:gd name="connsiteX6" fmla="*/ 2547583 w 5149756"/>
                <a:gd name="connsiteY6" fmla="*/ 454926 h 1162641"/>
                <a:gd name="connsiteX7" fmla="*/ 2825087 w 5149756"/>
                <a:gd name="connsiteY7" fmla="*/ 914400 h 1162641"/>
                <a:gd name="connsiteX8" fmla="*/ 3025254 w 5149756"/>
                <a:gd name="connsiteY8" fmla="*/ 1160060 h 1162641"/>
                <a:gd name="connsiteX9" fmla="*/ 3157183 w 5149756"/>
                <a:gd name="connsiteY9" fmla="*/ 1014484 h 1162641"/>
                <a:gd name="connsiteX10" fmla="*/ 3270914 w 5149756"/>
                <a:gd name="connsiteY10" fmla="*/ 582305 h 1162641"/>
                <a:gd name="connsiteX11" fmla="*/ 3443786 w 5149756"/>
                <a:gd name="connsiteY11" fmla="*/ 259308 h 1162641"/>
                <a:gd name="connsiteX12" fmla="*/ 3739487 w 5149756"/>
                <a:gd name="connsiteY12" fmla="*/ 63690 h 1162641"/>
                <a:gd name="connsiteX13" fmla="*/ 4021541 w 5149756"/>
                <a:gd name="connsiteY13" fmla="*/ 63690 h 1162641"/>
                <a:gd name="connsiteX14" fmla="*/ 4217159 w 5149756"/>
                <a:gd name="connsiteY14" fmla="*/ 245660 h 1162641"/>
                <a:gd name="connsiteX15" fmla="*/ 4390030 w 5149756"/>
                <a:gd name="connsiteY15" fmla="*/ 504968 h 1162641"/>
                <a:gd name="connsiteX16" fmla="*/ 4553803 w 5149756"/>
                <a:gd name="connsiteY16" fmla="*/ 618699 h 1162641"/>
                <a:gd name="connsiteX17" fmla="*/ 4726675 w 5149756"/>
                <a:gd name="connsiteY17" fmla="*/ 591403 h 1162641"/>
                <a:gd name="connsiteX18" fmla="*/ 4867702 w 5149756"/>
                <a:gd name="connsiteY18" fmla="*/ 413982 h 1162641"/>
                <a:gd name="connsiteX19" fmla="*/ 4967786 w 5149756"/>
                <a:gd name="connsiteY19" fmla="*/ 150126 h 1162641"/>
                <a:gd name="connsiteX20" fmla="*/ 5072418 w 5149756"/>
                <a:gd name="connsiteY20" fmla="*/ 31845 h 1162641"/>
                <a:gd name="connsiteX21" fmla="*/ 5149756 w 5149756"/>
                <a:gd name="connsiteY21" fmla="*/ 0 h 1162641"/>
                <a:gd name="connsiteX0" fmla="*/ 0 w 5149756"/>
                <a:gd name="connsiteY0" fmla="*/ 63690 h 1162641"/>
                <a:gd name="connsiteX1" fmla="*/ 489216 w 5149756"/>
                <a:gd name="connsiteY1" fmla="*/ 276766 h 1162641"/>
                <a:gd name="connsiteX2" fmla="*/ 898194 w 5149756"/>
                <a:gd name="connsiteY2" fmla="*/ 993557 h 1162641"/>
                <a:gd name="connsiteX3" fmla="*/ 1495170 w 5149756"/>
                <a:gd name="connsiteY3" fmla="*/ 981047 h 1162641"/>
                <a:gd name="connsiteX4" fmla="*/ 2329218 w 5149756"/>
                <a:gd name="connsiteY4" fmla="*/ 318448 h 1162641"/>
                <a:gd name="connsiteX5" fmla="*/ 2547583 w 5149756"/>
                <a:gd name="connsiteY5" fmla="*/ 454926 h 1162641"/>
                <a:gd name="connsiteX6" fmla="*/ 2825087 w 5149756"/>
                <a:gd name="connsiteY6" fmla="*/ 914400 h 1162641"/>
                <a:gd name="connsiteX7" fmla="*/ 3025254 w 5149756"/>
                <a:gd name="connsiteY7" fmla="*/ 1160060 h 1162641"/>
                <a:gd name="connsiteX8" fmla="*/ 3157183 w 5149756"/>
                <a:gd name="connsiteY8" fmla="*/ 1014484 h 1162641"/>
                <a:gd name="connsiteX9" fmla="*/ 3270914 w 5149756"/>
                <a:gd name="connsiteY9" fmla="*/ 582305 h 1162641"/>
                <a:gd name="connsiteX10" fmla="*/ 3443786 w 5149756"/>
                <a:gd name="connsiteY10" fmla="*/ 259308 h 1162641"/>
                <a:gd name="connsiteX11" fmla="*/ 3739487 w 5149756"/>
                <a:gd name="connsiteY11" fmla="*/ 63690 h 1162641"/>
                <a:gd name="connsiteX12" fmla="*/ 4021541 w 5149756"/>
                <a:gd name="connsiteY12" fmla="*/ 63690 h 1162641"/>
                <a:gd name="connsiteX13" fmla="*/ 4217159 w 5149756"/>
                <a:gd name="connsiteY13" fmla="*/ 245660 h 1162641"/>
                <a:gd name="connsiteX14" fmla="*/ 4390030 w 5149756"/>
                <a:gd name="connsiteY14" fmla="*/ 504968 h 1162641"/>
                <a:gd name="connsiteX15" fmla="*/ 4553803 w 5149756"/>
                <a:gd name="connsiteY15" fmla="*/ 618699 h 1162641"/>
                <a:gd name="connsiteX16" fmla="*/ 4726675 w 5149756"/>
                <a:gd name="connsiteY16" fmla="*/ 591403 h 1162641"/>
                <a:gd name="connsiteX17" fmla="*/ 4867702 w 5149756"/>
                <a:gd name="connsiteY17" fmla="*/ 413982 h 1162641"/>
                <a:gd name="connsiteX18" fmla="*/ 4967786 w 5149756"/>
                <a:gd name="connsiteY18" fmla="*/ 150126 h 1162641"/>
                <a:gd name="connsiteX19" fmla="*/ 5072418 w 5149756"/>
                <a:gd name="connsiteY19" fmla="*/ 31845 h 1162641"/>
                <a:gd name="connsiteX20" fmla="*/ 5149756 w 5149756"/>
                <a:gd name="connsiteY20" fmla="*/ 0 h 1162641"/>
                <a:gd name="connsiteX0" fmla="*/ 0 w 5149756"/>
                <a:gd name="connsiteY0" fmla="*/ 63690 h 1162641"/>
                <a:gd name="connsiteX1" fmla="*/ 489216 w 5149756"/>
                <a:gd name="connsiteY1" fmla="*/ 276766 h 1162641"/>
                <a:gd name="connsiteX2" fmla="*/ 898194 w 5149756"/>
                <a:gd name="connsiteY2" fmla="*/ 993557 h 1162641"/>
                <a:gd name="connsiteX3" fmla="*/ 1495170 w 5149756"/>
                <a:gd name="connsiteY3" fmla="*/ 981047 h 1162641"/>
                <a:gd name="connsiteX4" fmla="*/ 2321598 w 5149756"/>
                <a:gd name="connsiteY4" fmla="*/ 314638 h 1162641"/>
                <a:gd name="connsiteX5" fmla="*/ 2547583 w 5149756"/>
                <a:gd name="connsiteY5" fmla="*/ 454926 h 1162641"/>
                <a:gd name="connsiteX6" fmla="*/ 2825087 w 5149756"/>
                <a:gd name="connsiteY6" fmla="*/ 914400 h 1162641"/>
                <a:gd name="connsiteX7" fmla="*/ 3025254 w 5149756"/>
                <a:gd name="connsiteY7" fmla="*/ 1160060 h 1162641"/>
                <a:gd name="connsiteX8" fmla="*/ 3157183 w 5149756"/>
                <a:gd name="connsiteY8" fmla="*/ 1014484 h 1162641"/>
                <a:gd name="connsiteX9" fmla="*/ 3270914 w 5149756"/>
                <a:gd name="connsiteY9" fmla="*/ 582305 h 1162641"/>
                <a:gd name="connsiteX10" fmla="*/ 3443786 w 5149756"/>
                <a:gd name="connsiteY10" fmla="*/ 259308 h 1162641"/>
                <a:gd name="connsiteX11" fmla="*/ 3739487 w 5149756"/>
                <a:gd name="connsiteY11" fmla="*/ 63690 h 1162641"/>
                <a:gd name="connsiteX12" fmla="*/ 4021541 w 5149756"/>
                <a:gd name="connsiteY12" fmla="*/ 63690 h 1162641"/>
                <a:gd name="connsiteX13" fmla="*/ 4217159 w 5149756"/>
                <a:gd name="connsiteY13" fmla="*/ 245660 h 1162641"/>
                <a:gd name="connsiteX14" fmla="*/ 4390030 w 5149756"/>
                <a:gd name="connsiteY14" fmla="*/ 504968 h 1162641"/>
                <a:gd name="connsiteX15" fmla="*/ 4553803 w 5149756"/>
                <a:gd name="connsiteY15" fmla="*/ 618699 h 1162641"/>
                <a:gd name="connsiteX16" fmla="*/ 4726675 w 5149756"/>
                <a:gd name="connsiteY16" fmla="*/ 591403 h 1162641"/>
                <a:gd name="connsiteX17" fmla="*/ 4867702 w 5149756"/>
                <a:gd name="connsiteY17" fmla="*/ 413982 h 1162641"/>
                <a:gd name="connsiteX18" fmla="*/ 4967786 w 5149756"/>
                <a:gd name="connsiteY18" fmla="*/ 150126 h 1162641"/>
                <a:gd name="connsiteX19" fmla="*/ 5072418 w 5149756"/>
                <a:gd name="connsiteY19" fmla="*/ 31845 h 1162641"/>
                <a:gd name="connsiteX20" fmla="*/ 5149756 w 5149756"/>
                <a:gd name="connsiteY20" fmla="*/ 0 h 1162641"/>
                <a:gd name="connsiteX0" fmla="*/ 0 w 5149756"/>
                <a:gd name="connsiteY0" fmla="*/ 63690 h 1162641"/>
                <a:gd name="connsiteX1" fmla="*/ 489216 w 5149756"/>
                <a:gd name="connsiteY1" fmla="*/ 276766 h 1162641"/>
                <a:gd name="connsiteX2" fmla="*/ 898194 w 5149756"/>
                <a:gd name="connsiteY2" fmla="*/ 993557 h 1162641"/>
                <a:gd name="connsiteX3" fmla="*/ 1495170 w 5149756"/>
                <a:gd name="connsiteY3" fmla="*/ 981047 h 1162641"/>
                <a:gd name="connsiteX4" fmla="*/ 2321598 w 5149756"/>
                <a:gd name="connsiteY4" fmla="*/ 314638 h 1162641"/>
                <a:gd name="connsiteX5" fmla="*/ 2825087 w 5149756"/>
                <a:gd name="connsiteY5" fmla="*/ 914400 h 1162641"/>
                <a:gd name="connsiteX6" fmla="*/ 3025254 w 5149756"/>
                <a:gd name="connsiteY6" fmla="*/ 1160060 h 1162641"/>
                <a:gd name="connsiteX7" fmla="*/ 3157183 w 5149756"/>
                <a:gd name="connsiteY7" fmla="*/ 1014484 h 1162641"/>
                <a:gd name="connsiteX8" fmla="*/ 3270914 w 5149756"/>
                <a:gd name="connsiteY8" fmla="*/ 582305 h 1162641"/>
                <a:gd name="connsiteX9" fmla="*/ 3443786 w 5149756"/>
                <a:gd name="connsiteY9" fmla="*/ 259308 h 1162641"/>
                <a:gd name="connsiteX10" fmla="*/ 3739487 w 5149756"/>
                <a:gd name="connsiteY10" fmla="*/ 63690 h 1162641"/>
                <a:gd name="connsiteX11" fmla="*/ 4021541 w 5149756"/>
                <a:gd name="connsiteY11" fmla="*/ 63690 h 1162641"/>
                <a:gd name="connsiteX12" fmla="*/ 4217159 w 5149756"/>
                <a:gd name="connsiteY12" fmla="*/ 245660 h 1162641"/>
                <a:gd name="connsiteX13" fmla="*/ 4390030 w 5149756"/>
                <a:gd name="connsiteY13" fmla="*/ 504968 h 1162641"/>
                <a:gd name="connsiteX14" fmla="*/ 4553803 w 5149756"/>
                <a:gd name="connsiteY14" fmla="*/ 618699 h 1162641"/>
                <a:gd name="connsiteX15" fmla="*/ 4726675 w 5149756"/>
                <a:gd name="connsiteY15" fmla="*/ 591403 h 1162641"/>
                <a:gd name="connsiteX16" fmla="*/ 4867702 w 5149756"/>
                <a:gd name="connsiteY16" fmla="*/ 413982 h 1162641"/>
                <a:gd name="connsiteX17" fmla="*/ 4967786 w 5149756"/>
                <a:gd name="connsiteY17" fmla="*/ 150126 h 1162641"/>
                <a:gd name="connsiteX18" fmla="*/ 5072418 w 5149756"/>
                <a:gd name="connsiteY18" fmla="*/ 31845 h 1162641"/>
                <a:gd name="connsiteX19" fmla="*/ 5149756 w 5149756"/>
                <a:gd name="connsiteY19" fmla="*/ 0 h 1162641"/>
                <a:gd name="connsiteX0" fmla="*/ 0 w 5149756"/>
                <a:gd name="connsiteY0" fmla="*/ 63690 h 1200089"/>
                <a:gd name="connsiteX1" fmla="*/ 489216 w 5149756"/>
                <a:gd name="connsiteY1" fmla="*/ 276766 h 1200089"/>
                <a:gd name="connsiteX2" fmla="*/ 898194 w 5149756"/>
                <a:gd name="connsiteY2" fmla="*/ 993557 h 1200089"/>
                <a:gd name="connsiteX3" fmla="*/ 1495170 w 5149756"/>
                <a:gd name="connsiteY3" fmla="*/ 981047 h 1200089"/>
                <a:gd name="connsiteX4" fmla="*/ 2321598 w 5149756"/>
                <a:gd name="connsiteY4" fmla="*/ 314638 h 1200089"/>
                <a:gd name="connsiteX5" fmla="*/ 3025254 w 5149756"/>
                <a:gd name="connsiteY5" fmla="*/ 1160060 h 1200089"/>
                <a:gd name="connsiteX6" fmla="*/ 3157183 w 5149756"/>
                <a:gd name="connsiteY6" fmla="*/ 1014484 h 1200089"/>
                <a:gd name="connsiteX7" fmla="*/ 3270914 w 5149756"/>
                <a:gd name="connsiteY7" fmla="*/ 582305 h 1200089"/>
                <a:gd name="connsiteX8" fmla="*/ 3443786 w 5149756"/>
                <a:gd name="connsiteY8" fmla="*/ 259308 h 1200089"/>
                <a:gd name="connsiteX9" fmla="*/ 3739487 w 5149756"/>
                <a:gd name="connsiteY9" fmla="*/ 63690 h 1200089"/>
                <a:gd name="connsiteX10" fmla="*/ 4021541 w 5149756"/>
                <a:gd name="connsiteY10" fmla="*/ 63690 h 1200089"/>
                <a:gd name="connsiteX11" fmla="*/ 4217159 w 5149756"/>
                <a:gd name="connsiteY11" fmla="*/ 245660 h 1200089"/>
                <a:gd name="connsiteX12" fmla="*/ 4390030 w 5149756"/>
                <a:gd name="connsiteY12" fmla="*/ 504968 h 1200089"/>
                <a:gd name="connsiteX13" fmla="*/ 4553803 w 5149756"/>
                <a:gd name="connsiteY13" fmla="*/ 618699 h 1200089"/>
                <a:gd name="connsiteX14" fmla="*/ 4726675 w 5149756"/>
                <a:gd name="connsiteY14" fmla="*/ 591403 h 1200089"/>
                <a:gd name="connsiteX15" fmla="*/ 4867702 w 5149756"/>
                <a:gd name="connsiteY15" fmla="*/ 413982 h 1200089"/>
                <a:gd name="connsiteX16" fmla="*/ 4967786 w 5149756"/>
                <a:gd name="connsiteY16" fmla="*/ 150126 h 1200089"/>
                <a:gd name="connsiteX17" fmla="*/ 5072418 w 5149756"/>
                <a:gd name="connsiteY17" fmla="*/ 31845 h 1200089"/>
                <a:gd name="connsiteX18" fmla="*/ 5149756 w 5149756"/>
                <a:gd name="connsiteY18" fmla="*/ 0 h 1200089"/>
                <a:gd name="connsiteX0" fmla="*/ 0 w 5149756"/>
                <a:gd name="connsiteY0" fmla="*/ 63690 h 1163019"/>
                <a:gd name="connsiteX1" fmla="*/ 489216 w 5149756"/>
                <a:gd name="connsiteY1" fmla="*/ 276766 h 1163019"/>
                <a:gd name="connsiteX2" fmla="*/ 898194 w 5149756"/>
                <a:gd name="connsiteY2" fmla="*/ 993557 h 1163019"/>
                <a:gd name="connsiteX3" fmla="*/ 1495170 w 5149756"/>
                <a:gd name="connsiteY3" fmla="*/ 981047 h 1163019"/>
                <a:gd name="connsiteX4" fmla="*/ 2321598 w 5149756"/>
                <a:gd name="connsiteY4" fmla="*/ 314638 h 1163019"/>
                <a:gd name="connsiteX5" fmla="*/ 3025254 w 5149756"/>
                <a:gd name="connsiteY5" fmla="*/ 1160060 h 1163019"/>
                <a:gd name="connsiteX6" fmla="*/ 3270914 w 5149756"/>
                <a:gd name="connsiteY6" fmla="*/ 582305 h 1163019"/>
                <a:gd name="connsiteX7" fmla="*/ 3443786 w 5149756"/>
                <a:gd name="connsiteY7" fmla="*/ 259308 h 1163019"/>
                <a:gd name="connsiteX8" fmla="*/ 3739487 w 5149756"/>
                <a:gd name="connsiteY8" fmla="*/ 63690 h 1163019"/>
                <a:gd name="connsiteX9" fmla="*/ 4021541 w 5149756"/>
                <a:gd name="connsiteY9" fmla="*/ 63690 h 1163019"/>
                <a:gd name="connsiteX10" fmla="*/ 4217159 w 5149756"/>
                <a:gd name="connsiteY10" fmla="*/ 245660 h 1163019"/>
                <a:gd name="connsiteX11" fmla="*/ 4390030 w 5149756"/>
                <a:gd name="connsiteY11" fmla="*/ 504968 h 1163019"/>
                <a:gd name="connsiteX12" fmla="*/ 4553803 w 5149756"/>
                <a:gd name="connsiteY12" fmla="*/ 618699 h 1163019"/>
                <a:gd name="connsiteX13" fmla="*/ 4726675 w 5149756"/>
                <a:gd name="connsiteY13" fmla="*/ 591403 h 1163019"/>
                <a:gd name="connsiteX14" fmla="*/ 4867702 w 5149756"/>
                <a:gd name="connsiteY14" fmla="*/ 413982 h 1163019"/>
                <a:gd name="connsiteX15" fmla="*/ 4967786 w 5149756"/>
                <a:gd name="connsiteY15" fmla="*/ 150126 h 1163019"/>
                <a:gd name="connsiteX16" fmla="*/ 5072418 w 5149756"/>
                <a:gd name="connsiteY16" fmla="*/ 31845 h 1163019"/>
                <a:gd name="connsiteX17" fmla="*/ 5149756 w 5149756"/>
                <a:gd name="connsiteY17" fmla="*/ 0 h 1163019"/>
                <a:gd name="connsiteX0" fmla="*/ 0 w 5149756"/>
                <a:gd name="connsiteY0" fmla="*/ 63690 h 1160136"/>
                <a:gd name="connsiteX1" fmla="*/ 489216 w 5149756"/>
                <a:gd name="connsiteY1" fmla="*/ 276766 h 1160136"/>
                <a:gd name="connsiteX2" fmla="*/ 898194 w 5149756"/>
                <a:gd name="connsiteY2" fmla="*/ 993557 h 1160136"/>
                <a:gd name="connsiteX3" fmla="*/ 1495170 w 5149756"/>
                <a:gd name="connsiteY3" fmla="*/ 981047 h 1160136"/>
                <a:gd name="connsiteX4" fmla="*/ 2321598 w 5149756"/>
                <a:gd name="connsiteY4" fmla="*/ 314638 h 1160136"/>
                <a:gd name="connsiteX5" fmla="*/ 3025254 w 5149756"/>
                <a:gd name="connsiteY5" fmla="*/ 1160060 h 1160136"/>
                <a:gd name="connsiteX6" fmla="*/ 3443786 w 5149756"/>
                <a:gd name="connsiteY6" fmla="*/ 259308 h 1160136"/>
                <a:gd name="connsiteX7" fmla="*/ 3739487 w 5149756"/>
                <a:gd name="connsiteY7" fmla="*/ 63690 h 1160136"/>
                <a:gd name="connsiteX8" fmla="*/ 4021541 w 5149756"/>
                <a:gd name="connsiteY8" fmla="*/ 63690 h 1160136"/>
                <a:gd name="connsiteX9" fmla="*/ 4217159 w 5149756"/>
                <a:gd name="connsiteY9" fmla="*/ 245660 h 1160136"/>
                <a:gd name="connsiteX10" fmla="*/ 4390030 w 5149756"/>
                <a:gd name="connsiteY10" fmla="*/ 504968 h 1160136"/>
                <a:gd name="connsiteX11" fmla="*/ 4553803 w 5149756"/>
                <a:gd name="connsiteY11" fmla="*/ 618699 h 1160136"/>
                <a:gd name="connsiteX12" fmla="*/ 4726675 w 5149756"/>
                <a:gd name="connsiteY12" fmla="*/ 591403 h 1160136"/>
                <a:gd name="connsiteX13" fmla="*/ 4867702 w 5149756"/>
                <a:gd name="connsiteY13" fmla="*/ 413982 h 1160136"/>
                <a:gd name="connsiteX14" fmla="*/ 4967786 w 5149756"/>
                <a:gd name="connsiteY14" fmla="*/ 150126 h 1160136"/>
                <a:gd name="connsiteX15" fmla="*/ 5072418 w 5149756"/>
                <a:gd name="connsiteY15" fmla="*/ 31845 h 1160136"/>
                <a:gd name="connsiteX16" fmla="*/ 5149756 w 5149756"/>
                <a:gd name="connsiteY16" fmla="*/ 0 h 1160136"/>
                <a:gd name="connsiteX0" fmla="*/ 0 w 5149756"/>
                <a:gd name="connsiteY0" fmla="*/ 63690 h 1163465"/>
                <a:gd name="connsiteX1" fmla="*/ 489216 w 5149756"/>
                <a:gd name="connsiteY1" fmla="*/ 276766 h 1163465"/>
                <a:gd name="connsiteX2" fmla="*/ 898194 w 5149756"/>
                <a:gd name="connsiteY2" fmla="*/ 993557 h 1163465"/>
                <a:gd name="connsiteX3" fmla="*/ 1495170 w 5149756"/>
                <a:gd name="connsiteY3" fmla="*/ 981047 h 1163465"/>
                <a:gd name="connsiteX4" fmla="*/ 2321598 w 5149756"/>
                <a:gd name="connsiteY4" fmla="*/ 314638 h 1163465"/>
                <a:gd name="connsiteX5" fmla="*/ 3025254 w 5149756"/>
                <a:gd name="connsiteY5" fmla="*/ 1160060 h 1163465"/>
                <a:gd name="connsiteX6" fmla="*/ 3337106 w 5149756"/>
                <a:gd name="connsiteY6" fmla="*/ 590778 h 1163465"/>
                <a:gd name="connsiteX7" fmla="*/ 3739487 w 5149756"/>
                <a:gd name="connsiteY7" fmla="*/ 63690 h 1163465"/>
                <a:gd name="connsiteX8" fmla="*/ 4021541 w 5149756"/>
                <a:gd name="connsiteY8" fmla="*/ 63690 h 1163465"/>
                <a:gd name="connsiteX9" fmla="*/ 4217159 w 5149756"/>
                <a:gd name="connsiteY9" fmla="*/ 245660 h 1163465"/>
                <a:gd name="connsiteX10" fmla="*/ 4390030 w 5149756"/>
                <a:gd name="connsiteY10" fmla="*/ 504968 h 1163465"/>
                <a:gd name="connsiteX11" fmla="*/ 4553803 w 5149756"/>
                <a:gd name="connsiteY11" fmla="*/ 618699 h 1163465"/>
                <a:gd name="connsiteX12" fmla="*/ 4726675 w 5149756"/>
                <a:gd name="connsiteY12" fmla="*/ 591403 h 1163465"/>
                <a:gd name="connsiteX13" fmla="*/ 4867702 w 5149756"/>
                <a:gd name="connsiteY13" fmla="*/ 413982 h 1163465"/>
                <a:gd name="connsiteX14" fmla="*/ 4967786 w 5149756"/>
                <a:gd name="connsiteY14" fmla="*/ 150126 h 1163465"/>
                <a:gd name="connsiteX15" fmla="*/ 5072418 w 5149756"/>
                <a:gd name="connsiteY15" fmla="*/ 31845 h 1163465"/>
                <a:gd name="connsiteX16" fmla="*/ 5149756 w 5149756"/>
                <a:gd name="connsiteY16" fmla="*/ 0 h 1163465"/>
                <a:gd name="connsiteX0" fmla="*/ 0 w 5149756"/>
                <a:gd name="connsiteY0" fmla="*/ 63690 h 1163465"/>
                <a:gd name="connsiteX1" fmla="*/ 489216 w 5149756"/>
                <a:gd name="connsiteY1" fmla="*/ 276766 h 1163465"/>
                <a:gd name="connsiteX2" fmla="*/ 898194 w 5149756"/>
                <a:gd name="connsiteY2" fmla="*/ 993557 h 1163465"/>
                <a:gd name="connsiteX3" fmla="*/ 1495170 w 5149756"/>
                <a:gd name="connsiteY3" fmla="*/ 981047 h 1163465"/>
                <a:gd name="connsiteX4" fmla="*/ 2321598 w 5149756"/>
                <a:gd name="connsiteY4" fmla="*/ 314638 h 1163465"/>
                <a:gd name="connsiteX5" fmla="*/ 3025254 w 5149756"/>
                <a:gd name="connsiteY5" fmla="*/ 1160060 h 1163465"/>
                <a:gd name="connsiteX6" fmla="*/ 3337106 w 5149756"/>
                <a:gd name="connsiteY6" fmla="*/ 590778 h 1163465"/>
                <a:gd name="connsiteX7" fmla="*/ 4021541 w 5149756"/>
                <a:gd name="connsiteY7" fmla="*/ 63690 h 1163465"/>
                <a:gd name="connsiteX8" fmla="*/ 4217159 w 5149756"/>
                <a:gd name="connsiteY8" fmla="*/ 245660 h 1163465"/>
                <a:gd name="connsiteX9" fmla="*/ 4390030 w 5149756"/>
                <a:gd name="connsiteY9" fmla="*/ 504968 h 1163465"/>
                <a:gd name="connsiteX10" fmla="*/ 4553803 w 5149756"/>
                <a:gd name="connsiteY10" fmla="*/ 618699 h 1163465"/>
                <a:gd name="connsiteX11" fmla="*/ 4726675 w 5149756"/>
                <a:gd name="connsiteY11" fmla="*/ 591403 h 1163465"/>
                <a:gd name="connsiteX12" fmla="*/ 4867702 w 5149756"/>
                <a:gd name="connsiteY12" fmla="*/ 413982 h 1163465"/>
                <a:gd name="connsiteX13" fmla="*/ 4967786 w 5149756"/>
                <a:gd name="connsiteY13" fmla="*/ 150126 h 1163465"/>
                <a:gd name="connsiteX14" fmla="*/ 5072418 w 5149756"/>
                <a:gd name="connsiteY14" fmla="*/ 31845 h 1163465"/>
                <a:gd name="connsiteX15" fmla="*/ 5149756 w 5149756"/>
                <a:gd name="connsiteY15" fmla="*/ 0 h 1163465"/>
                <a:gd name="connsiteX0" fmla="*/ 0 w 5149756"/>
                <a:gd name="connsiteY0" fmla="*/ 63690 h 1163478"/>
                <a:gd name="connsiteX1" fmla="*/ 489216 w 5149756"/>
                <a:gd name="connsiteY1" fmla="*/ 276766 h 1163478"/>
                <a:gd name="connsiteX2" fmla="*/ 898194 w 5149756"/>
                <a:gd name="connsiteY2" fmla="*/ 993557 h 1163478"/>
                <a:gd name="connsiteX3" fmla="*/ 1495170 w 5149756"/>
                <a:gd name="connsiteY3" fmla="*/ 981047 h 1163478"/>
                <a:gd name="connsiteX4" fmla="*/ 2321598 w 5149756"/>
                <a:gd name="connsiteY4" fmla="*/ 314638 h 1163478"/>
                <a:gd name="connsiteX5" fmla="*/ 3025254 w 5149756"/>
                <a:gd name="connsiteY5" fmla="*/ 1160060 h 1163478"/>
                <a:gd name="connsiteX6" fmla="*/ 3337106 w 5149756"/>
                <a:gd name="connsiteY6" fmla="*/ 590778 h 1163478"/>
                <a:gd name="connsiteX7" fmla="*/ 4143461 w 5149756"/>
                <a:gd name="connsiteY7" fmla="*/ 52260 h 1163478"/>
                <a:gd name="connsiteX8" fmla="*/ 4217159 w 5149756"/>
                <a:gd name="connsiteY8" fmla="*/ 245660 h 1163478"/>
                <a:gd name="connsiteX9" fmla="*/ 4390030 w 5149756"/>
                <a:gd name="connsiteY9" fmla="*/ 504968 h 1163478"/>
                <a:gd name="connsiteX10" fmla="*/ 4553803 w 5149756"/>
                <a:gd name="connsiteY10" fmla="*/ 618699 h 1163478"/>
                <a:gd name="connsiteX11" fmla="*/ 4726675 w 5149756"/>
                <a:gd name="connsiteY11" fmla="*/ 591403 h 1163478"/>
                <a:gd name="connsiteX12" fmla="*/ 4867702 w 5149756"/>
                <a:gd name="connsiteY12" fmla="*/ 413982 h 1163478"/>
                <a:gd name="connsiteX13" fmla="*/ 4967786 w 5149756"/>
                <a:gd name="connsiteY13" fmla="*/ 150126 h 1163478"/>
                <a:gd name="connsiteX14" fmla="*/ 5072418 w 5149756"/>
                <a:gd name="connsiteY14" fmla="*/ 31845 h 1163478"/>
                <a:gd name="connsiteX15" fmla="*/ 5149756 w 5149756"/>
                <a:gd name="connsiteY15" fmla="*/ 0 h 1163478"/>
                <a:gd name="connsiteX0" fmla="*/ 0 w 5149756"/>
                <a:gd name="connsiteY0" fmla="*/ 63690 h 1163478"/>
                <a:gd name="connsiteX1" fmla="*/ 489216 w 5149756"/>
                <a:gd name="connsiteY1" fmla="*/ 276766 h 1163478"/>
                <a:gd name="connsiteX2" fmla="*/ 898194 w 5149756"/>
                <a:gd name="connsiteY2" fmla="*/ 993557 h 1163478"/>
                <a:gd name="connsiteX3" fmla="*/ 1495170 w 5149756"/>
                <a:gd name="connsiteY3" fmla="*/ 981047 h 1163478"/>
                <a:gd name="connsiteX4" fmla="*/ 2321598 w 5149756"/>
                <a:gd name="connsiteY4" fmla="*/ 314638 h 1163478"/>
                <a:gd name="connsiteX5" fmla="*/ 3025254 w 5149756"/>
                <a:gd name="connsiteY5" fmla="*/ 1160060 h 1163478"/>
                <a:gd name="connsiteX6" fmla="*/ 3337106 w 5149756"/>
                <a:gd name="connsiteY6" fmla="*/ 590778 h 1163478"/>
                <a:gd name="connsiteX7" fmla="*/ 4143461 w 5149756"/>
                <a:gd name="connsiteY7" fmla="*/ 52260 h 1163478"/>
                <a:gd name="connsiteX8" fmla="*/ 4232399 w 5149756"/>
                <a:gd name="connsiteY8" fmla="*/ 245660 h 1163478"/>
                <a:gd name="connsiteX9" fmla="*/ 4390030 w 5149756"/>
                <a:gd name="connsiteY9" fmla="*/ 504968 h 1163478"/>
                <a:gd name="connsiteX10" fmla="*/ 4553803 w 5149756"/>
                <a:gd name="connsiteY10" fmla="*/ 618699 h 1163478"/>
                <a:gd name="connsiteX11" fmla="*/ 4726675 w 5149756"/>
                <a:gd name="connsiteY11" fmla="*/ 591403 h 1163478"/>
                <a:gd name="connsiteX12" fmla="*/ 4867702 w 5149756"/>
                <a:gd name="connsiteY12" fmla="*/ 413982 h 1163478"/>
                <a:gd name="connsiteX13" fmla="*/ 4967786 w 5149756"/>
                <a:gd name="connsiteY13" fmla="*/ 150126 h 1163478"/>
                <a:gd name="connsiteX14" fmla="*/ 5072418 w 5149756"/>
                <a:gd name="connsiteY14" fmla="*/ 31845 h 1163478"/>
                <a:gd name="connsiteX15" fmla="*/ 5149756 w 5149756"/>
                <a:gd name="connsiteY15" fmla="*/ 0 h 1163478"/>
                <a:gd name="connsiteX0" fmla="*/ 0 w 5149756"/>
                <a:gd name="connsiteY0" fmla="*/ 63690 h 1163478"/>
                <a:gd name="connsiteX1" fmla="*/ 489216 w 5149756"/>
                <a:gd name="connsiteY1" fmla="*/ 276766 h 1163478"/>
                <a:gd name="connsiteX2" fmla="*/ 898194 w 5149756"/>
                <a:gd name="connsiteY2" fmla="*/ 993557 h 1163478"/>
                <a:gd name="connsiteX3" fmla="*/ 1495170 w 5149756"/>
                <a:gd name="connsiteY3" fmla="*/ 981047 h 1163478"/>
                <a:gd name="connsiteX4" fmla="*/ 2321598 w 5149756"/>
                <a:gd name="connsiteY4" fmla="*/ 314638 h 1163478"/>
                <a:gd name="connsiteX5" fmla="*/ 3025254 w 5149756"/>
                <a:gd name="connsiteY5" fmla="*/ 1160060 h 1163478"/>
                <a:gd name="connsiteX6" fmla="*/ 3337106 w 5149756"/>
                <a:gd name="connsiteY6" fmla="*/ 590778 h 1163478"/>
                <a:gd name="connsiteX7" fmla="*/ 4143461 w 5149756"/>
                <a:gd name="connsiteY7" fmla="*/ 52260 h 1163478"/>
                <a:gd name="connsiteX8" fmla="*/ 4390030 w 5149756"/>
                <a:gd name="connsiteY8" fmla="*/ 504968 h 1163478"/>
                <a:gd name="connsiteX9" fmla="*/ 4553803 w 5149756"/>
                <a:gd name="connsiteY9" fmla="*/ 618699 h 1163478"/>
                <a:gd name="connsiteX10" fmla="*/ 4726675 w 5149756"/>
                <a:gd name="connsiteY10" fmla="*/ 591403 h 1163478"/>
                <a:gd name="connsiteX11" fmla="*/ 4867702 w 5149756"/>
                <a:gd name="connsiteY11" fmla="*/ 413982 h 1163478"/>
                <a:gd name="connsiteX12" fmla="*/ 4967786 w 5149756"/>
                <a:gd name="connsiteY12" fmla="*/ 150126 h 1163478"/>
                <a:gd name="connsiteX13" fmla="*/ 5072418 w 5149756"/>
                <a:gd name="connsiteY13" fmla="*/ 31845 h 1163478"/>
                <a:gd name="connsiteX14" fmla="*/ 5149756 w 5149756"/>
                <a:gd name="connsiteY14" fmla="*/ 0 h 1163478"/>
                <a:gd name="connsiteX0" fmla="*/ 0 w 5149756"/>
                <a:gd name="connsiteY0" fmla="*/ 63690 h 1163478"/>
                <a:gd name="connsiteX1" fmla="*/ 489216 w 5149756"/>
                <a:gd name="connsiteY1" fmla="*/ 276766 h 1163478"/>
                <a:gd name="connsiteX2" fmla="*/ 898194 w 5149756"/>
                <a:gd name="connsiteY2" fmla="*/ 993557 h 1163478"/>
                <a:gd name="connsiteX3" fmla="*/ 1495170 w 5149756"/>
                <a:gd name="connsiteY3" fmla="*/ 981047 h 1163478"/>
                <a:gd name="connsiteX4" fmla="*/ 2321598 w 5149756"/>
                <a:gd name="connsiteY4" fmla="*/ 314638 h 1163478"/>
                <a:gd name="connsiteX5" fmla="*/ 3025254 w 5149756"/>
                <a:gd name="connsiteY5" fmla="*/ 1160060 h 1163478"/>
                <a:gd name="connsiteX6" fmla="*/ 3337106 w 5149756"/>
                <a:gd name="connsiteY6" fmla="*/ 590778 h 1163478"/>
                <a:gd name="connsiteX7" fmla="*/ 4143461 w 5149756"/>
                <a:gd name="connsiteY7" fmla="*/ 52260 h 1163478"/>
                <a:gd name="connsiteX8" fmla="*/ 4553803 w 5149756"/>
                <a:gd name="connsiteY8" fmla="*/ 618699 h 1163478"/>
                <a:gd name="connsiteX9" fmla="*/ 4726675 w 5149756"/>
                <a:gd name="connsiteY9" fmla="*/ 591403 h 1163478"/>
                <a:gd name="connsiteX10" fmla="*/ 4867702 w 5149756"/>
                <a:gd name="connsiteY10" fmla="*/ 413982 h 1163478"/>
                <a:gd name="connsiteX11" fmla="*/ 4967786 w 5149756"/>
                <a:gd name="connsiteY11" fmla="*/ 150126 h 1163478"/>
                <a:gd name="connsiteX12" fmla="*/ 5072418 w 5149756"/>
                <a:gd name="connsiteY12" fmla="*/ 31845 h 1163478"/>
                <a:gd name="connsiteX13" fmla="*/ 5149756 w 5149756"/>
                <a:gd name="connsiteY13" fmla="*/ 0 h 1163478"/>
                <a:gd name="connsiteX0" fmla="*/ 0 w 5149756"/>
                <a:gd name="connsiteY0" fmla="*/ 63690 h 1163478"/>
                <a:gd name="connsiteX1" fmla="*/ 489216 w 5149756"/>
                <a:gd name="connsiteY1" fmla="*/ 276766 h 1163478"/>
                <a:gd name="connsiteX2" fmla="*/ 898194 w 5149756"/>
                <a:gd name="connsiteY2" fmla="*/ 993557 h 1163478"/>
                <a:gd name="connsiteX3" fmla="*/ 1495170 w 5149756"/>
                <a:gd name="connsiteY3" fmla="*/ 981047 h 1163478"/>
                <a:gd name="connsiteX4" fmla="*/ 2321598 w 5149756"/>
                <a:gd name="connsiteY4" fmla="*/ 314638 h 1163478"/>
                <a:gd name="connsiteX5" fmla="*/ 3025254 w 5149756"/>
                <a:gd name="connsiteY5" fmla="*/ 1160060 h 1163478"/>
                <a:gd name="connsiteX6" fmla="*/ 3337106 w 5149756"/>
                <a:gd name="connsiteY6" fmla="*/ 590778 h 1163478"/>
                <a:gd name="connsiteX7" fmla="*/ 4143461 w 5149756"/>
                <a:gd name="connsiteY7" fmla="*/ 52260 h 1163478"/>
                <a:gd name="connsiteX8" fmla="*/ 4553803 w 5149756"/>
                <a:gd name="connsiteY8" fmla="*/ 618699 h 1163478"/>
                <a:gd name="connsiteX9" fmla="*/ 4867702 w 5149756"/>
                <a:gd name="connsiteY9" fmla="*/ 413982 h 1163478"/>
                <a:gd name="connsiteX10" fmla="*/ 4967786 w 5149756"/>
                <a:gd name="connsiteY10" fmla="*/ 150126 h 1163478"/>
                <a:gd name="connsiteX11" fmla="*/ 5072418 w 5149756"/>
                <a:gd name="connsiteY11" fmla="*/ 31845 h 1163478"/>
                <a:gd name="connsiteX12" fmla="*/ 5149756 w 5149756"/>
                <a:gd name="connsiteY12" fmla="*/ 0 h 1163478"/>
                <a:gd name="connsiteX0" fmla="*/ 0 w 5149756"/>
                <a:gd name="connsiteY0" fmla="*/ 63690 h 1163478"/>
                <a:gd name="connsiteX1" fmla="*/ 489216 w 5149756"/>
                <a:gd name="connsiteY1" fmla="*/ 276766 h 1163478"/>
                <a:gd name="connsiteX2" fmla="*/ 898194 w 5149756"/>
                <a:gd name="connsiteY2" fmla="*/ 993557 h 1163478"/>
                <a:gd name="connsiteX3" fmla="*/ 1495170 w 5149756"/>
                <a:gd name="connsiteY3" fmla="*/ 981047 h 1163478"/>
                <a:gd name="connsiteX4" fmla="*/ 2321598 w 5149756"/>
                <a:gd name="connsiteY4" fmla="*/ 314638 h 1163478"/>
                <a:gd name="connsiteX5" fmla="*/ 3025254 w 5149756"/>
                <a:gd name="connsiteY5" fmla="*/ 1160060 h 1163478"/>
                <a:gd name="connsiteX6" fmla="*/ 3337106 w 5149756"/>
                <a:gd name="connsiteY6" fmla="*/ 590778 h 1163478"/>
                <a:gd name="connsiteX7" fmla="*/ 4143461 w 5149756"/>
                <a:gd name="connsiteY7" fmla="*/ 52260 h 1163478"/>
                <a:gd name="connsiteX8" fmla="*/ 4553803 w 5149756"/>
                <a:gd name="connsiteY8" fmla="*/ 618699 h 1163478"/>
                <a:gd name="connsiteX9" fmla="*/ 4967786 w 5149756"/>
                <a:gd name="connsiteY9" fmla="*/ 150126 h 1163478"/>
                <a:gd name="connsiteX10" fmla="*/ 5072418 w 5149756"/>
                <a:gd name="connsiteY10" fmla="*/ 31845 h 1163478"/>
                <a:gd name="connsiteX11" fmla="*/ 5149756 w 5149756"/>
                <a:gd name="connsiteY11" fmla="*/ 0 h 1163478"/>
                <a:gd name="connsiteX0" fmla="*/ 0 w 5149756"/>
                <a:gd name="connsiteY0" fmla="*/ 63690 h 1163478"/>
                <a:gd name="connsiteX1" fmla="*/ 489216 w 5149756"/>
                <a:gd name="connsiteY1" fmla="*/ 276766 h 1163478"/>
                <a:gd name="connsiteX2" fmla="*/ 898194 w 5149756"/>
                <a:gd name="connsiteY2" fmla="*/ 993557 h 1163478"/>
                <a:gd name="connsiteX3" fmla="*/ 1495170 w 5149756"/>
                <a:gd name="connsiteY3" fmla="*/ 981047 h 1163478"/>
                <a:gd name="connsiteX4" fmla="*/ 2321598 w 5149756"/>
                <a:gd name="connsiteY4" fmla="*/ 314638 h 1163478"/>
                <a:gd name="connsiteX5" fmla="*/ 3025254 w 5149756"/>
                <a:gd name="connsiteY5" fmla="*/ 1160060 h 1163478"/>
                <a:gd name="connsiteX6" fmla="*/ 3337106 w 5149756"/>
                <a:gd name="connsiteY6" fmla="*/ 590778 h 1163478"/>
                <a:gd name="connsiteX7" fmla="*/ 4143461 w 5149756"/>
                <a:gd name="connsiteY7" fmla="*/ 52260 h 1163478"/>
                <a:gd name="connsiteX8" fmla="*/ 4553803 w 5149756"/>
                <a:gd name="connsiteY8" fmla="*/ 618699 h 1163478"/>
                <a:gd name="connsiteX9" fmla="*/ 5072418 w 5149756"/>
                <a:gd name="connsiteY9" fmla="*/ 31845 h 1163478"/>
                <a:gd name="connsiteX10" fmla="*/ 5149756 w 5149756"/>
                <a:gd name="connsiteY10" fmla="*/ 0 h 1163478"/>
                <a:gd name="connsiteX0" fmla="*/ 0 w 5149756"/>
                <a:gd name="connsiteY0" fmla="*/ 63690 h 1163478"/>
                <a:gd name="connsiteX1" fmla="*/ 489216 w 5149756"/>
                <a:gd name="connsiteY1" fmla="*/ 276766 h 1163478"/>
                <a:gd name="connsiteX2" fmla="*/ 898194 w 5149756"/>
                <a:gd name="connsiteY2" fmla="*/ 993557 h 1163478"/>
                <a:gd name="connsiteX3" fmla="*/ 1495170 w 5149756"/>
                <a:gd name="connsiteY3" fmla="*/ 981047 h 1163478"/>
                <a:gd name="connsiteX4" fmla="*/ 2321598 w 5149756"/>
                <a:gd name="connsiteY4" fmla="*/ 314638 h 1163478"/>
                <a:gd name="connsiteX5" fmla="*/ 3025254 w 5149756"/>
                <a:gd name="connsiteY5" fmla="*/ 1160060 h 1163478"/>
                <a:gd name="connsiteX6" fmla="*/ 3337106 w 5149756"/>
                <a:gd name="connsiteY6" fmla="*/ 590778 h 1163478"/>
                <a:gd name="connsiteX7" fmla="*/ 4143461 w 5149756"/>
                <a:gd name="connsiteY7" fmla="*/ 52260 h 1163478"/>
                <a:gd name="connsiteX8" fmla="*/ 4553803 w 5149756"/>
                <a:gd name="connsiteY8" fmla="*/ 618699 h 1163478"/>
                <a:gd name="connsiteX9" fmla="*/ 5149756 w 5149756"/>
                <a:gd name="connsiteY9" fmla="*/ 0 h 1163478"/>
                <a:gd name="connsiteX0" fmla="*/ 0 w 5119276"/>
                <a:gd name="connsiteY0" fmla="*/ 29400 h 1129188"/>
                <a:gd name="connsiteX1" fmla="*/ 489216 w 5119276"/>
                <a:gd name="connsiteY1" fmla="*/ 242476 h 1129188"/>
                <a:gd name="connsiteX2" fmla="*/ 898194 w 5119276"/>
                <a:gd name="connsiteY2" fmla="*/ 959267 h 1129188"/>
                <a:gd name="connsiteX3" fmla="*/ 1495170 w 5119276"/>
                <a:gd name="connsiteY3" fmla="*/ 946757 h 1129188"/>
                <a:gd name="connsiteX4" fmla="*/ 2321598 w 5119276"/>
                <a:gd name="connsiteY4" fmla="*/ 280348 h 1129188"/>
                <a:gd name="connsiteX5" fmla="*/ 3025254 w 5119276"/>
                <a:gd name="connsiteY5" fmla="*/ 1125770 h 1129188"/>
                <a:gd name="connsiteX6" fmla="*/ 3337106 w 5119276"/>
                <a:gd name="connsiteY6" fmla="*/ 556488 h 1129188"/>
                <a:gd name="connsiteX7" fmla="*/ 4143461 w 5119276"/>
                <a:gd name="connsiteY7" fmla="*/ 17970 h 1129188"/>
                <a:gd name="connsiteX8" fmla="*/ 4553803 w 5119276"/>
                <a:gd name="connsiteY8" fmla="*/ 584409 h 1129188"/>
                <a:gd name="connsiteX9" fmla="*/ 5119276 w 5119276"/>
                <a:gd name="connsiteY9" fmla="*/ 0 h 1129188"/>
                <a:gd name="connsiteX0" fmla="*/ 0 w 5115466"/>
                <a:gd name="connsiteY0" fmla="*/ 11475 h 1111263"/>
                <a:gd name="connsiteX1" fmla="*/ 489216 w 5115466"/>
                <a:gd name="connsiteY1" fmla="*/ 224551 h 1111263"/>
                <a:gd name="connsiteX2" fmla="*/ 898194 w 5115466"/>
                <a:gd name="connsiteY2" fmla="*/ 941342 h 1111263"/>
                <a:gd name="connsiteX3" fmla="*/ 1495170 w 5115466"/>
                <a:gd name="connsiteY3" fmla="*/ 928832 h 1111263"/>
                <a:gd name="connsiteX4" fmla="*/ 2321598 w 5115466"/>
                <a:gd name="connsiteY4" fmla="*/ 262423 h 1111263"/>
                <a:gd name="connsiteX5" fmla="*/ 3025254 w 5115466"/>
                <a:gd name="connsiteY5" fmla="*/ 1107845 h 1111263"/>
                <a:gd name="connsiteX6" fmla="*/ 3337106 w 5115466"/>
                <a:gd name="connsiteY6" fmla="*/ 538563 h 1111263"/>
                <a:gd name="connsiteX7" fmla="*/ 4143461 w 5115466"/>
                <a:gd name="connsiteY7" fmla="*/ 45 h 1111263"/>
                <a:gd name="connsiteX8" fmla="*/ 4553803 w 5115466"/>
                <a:gd name="connsiteY8" fmla="*/ 566484 h 1111263"/>
                <a:gd name="connsiteX9" fmla="*/ 5115466 w 5115466"/>
                <a:gd name="connsiteY9" fmla="*/ 4935 h 1111263"/>
                <a:gd name="connsiteX0" fmla="*/ 0 w 5115466"/>
                <a:gd name="connsiteY0" fmla="*/ 11475 h 1111263"/>
                <a:gd name="connsiteX1" fmla="*/ 489216 w 5115466"/>
                <a:gd name="connsiteY1" fmla="*/ 224551 h 1111263"/>
                <a:gd name="connsiteX2" fmla="*/ 898194 w 5115466"/>
                <a:gd name="connsiteY2" fmla="*/ 941342 h 1111263"/>
                <a:gd name="connsiteX3" fmla="*/ 1495170 w 5115466"/>
                <a:gd name="connsiteY3" fmla="*/ 928832 h 1111263"/>
                <a:gd name="connsiteX4" fmla="*/ 2321598 w 5115466"/>
                <a:gd name="connsiteY4" fmla="*/ 262423 h 1111263"/>
                <a:gd name="connsiteX5" fmla="*/ 3025254 w 5115466"/>
                <a:gd name="connsiteY5" fmla="*/ 1107845 h 1111263"/>
                <a:gd name="connsiteX6" fmla="*/ 3337106 w 5115466"/>
                <a:gd name="connsiteY6" fmla="*/ 538563 h 1111263"/>
                <a:gd name="connsiteX7" fmla="*/ 4143461 w 5115466"/>
                <a:gd name="connsiteY7" fmla="*/ 45 h 1111263"/>
                <a:gd name="connsiteX8" fmla="*/ 4553803 w 5115466"/>
                <a:gd name="connsiteY8" fmla="*/ 566484 h 1111263"/>
                <a:gd name="connsiteX9" fmla="*/ 5115466 w 5115466"/>
                <a:gd name="connsiteY9" fmla="*/ 4935 h 1111263"/>
                <a:gd name="connsiteX0" fmla="*/ 0 w 5115466"/>
                <a:gd name="connsiteY0" fmla="*/ 11442 h 1112801"/>
                <a:gd name="connsiteX1" fmla="*/ 489216 w 5115466"/>
                <a:gd name="connsiteY1" fmla="*/ 224518 h 1112801"/>
                <a:gd name="connsiteX2" fmla="*/ 898194 w 5115466"/>
                <a:gd name="connsiteY2" fmla="*/ 941309 h 1112801"/>
                <a:gd name="connsiteX3" fmla="*/ 1495170 w 5115466"/>
                <a:gd name="connsiteY3" fmla="*/ 928799 h 1112801"/>
                <a:gd name="connsiteX4" fmla="*/ 2321598 w 5115466"/>
                <a:gd name="connsiteY4" fmla="*/ 262390 h 1112801"/>
                <a:gd name="connsiteX5" fmla="*/ 3025254 w 5115466"/>
                <a:gd name="connsiteY5" fmla="*/ 1107812 h 1112801"/>
                <a:gd name="connsiteX6" fmla="*/ 3546656 w 5115466"/>
                <a:gd name="connsiteY6" fmla="*/ 584250 h 1112801"/>
                <a:gd name="connsiteX7" fmla="*/ 4143461 w 5115466"/>
                <a:gd name="connsiteY7" fmla="*/ 12 h 1112801"/>
                <a:gd name="connsiteX8" fmla="*/ 4553803 w 5115466"/>
                <a:gd name="connsiteY8" fmla="*/ 566451 h 1112801"/>
                <a:gd name="connsiteX9" fmla="*/ 5115466 w 5115466"/>
                <a:gd name="connsiteY9" fmla="*/ 4902 h 1112801"/>
                <a:gd name="connsiteX0" fmla="*/ 0 w 5115466"/>
                <a:gd name="connsiteY0" fmla="*/ 11442 h 1021850"/>
                <a:gd name="connsiteX1" fmla="*/ 489216 w 5115466"/>
                <a:gd name="connsiteY1" fmla="*/ 224518 h 1021850"/>
                <a:gd name="connsiteX2" fmla="*/ 898194 w 5115466"/>
                <a:gd name="connsiteY2" fmla="*/ 941309 h 1021850"/>
                <a:gd name="connsiteX3" fmla="*/ 1495170 w 5115466"/>
                <a:gd name="connsiteY3" fmla="*/ 928799 h 1021850"/>
                <a:gd name="connsiteX4" fmla="*/ 2321598 w 5115466"/>
                <a:gd name="connsiteY4" fmla="*/ 262390 h 1021850"/>
                <a:gd name="connsiteX5" fmla="*/ 3025254 w 5115466"/>
                <a:gd name="connsiteY5" fmla="*/ 814442 h 1021850"/>
                <a:gd name="connsiteX6" fmla="*/ 3546656 w 5115466"/>
                <a:gd name="connsiteY6" fmla="*/ 584250 h 1021850"/>
                <a:gd name="connsiteX7" fmla="*/ 4143461 w 5115466"/>
                <a:gd name="connsiteY7" fmla="*/ 12 h 1021850"/>
                <a:gd name="connsiteX8" fmla="*/ 4553803 w 5115466"/>
                <a:gd name="connsiteY8" fmla="*/ 566451 h 1021850"/>
                <a:gd name="connsiteX9" fmla="*/ 5115466 w 5115466"/>
                <a:gd name="connsiteY9" fmla="*/ 4902 h 1021850"/>
                <a:gd name="connsiteX0" fmla="*/ 0 w 5107846"/>
                <a:gd name="connsiteY0" fmla="*/ 33210 h 1043618"/>
                <a:gd name="connsiteX1" fmla="*/ 489216 w 5107846"/>
                <a:gd name="connsiteY1" fmla="*/ 246286 h 1043618"/>
                <a:gd name="connsiteX2" fmla="*/ 898194 w 5107846"/>
                <a:gd name="connsiteY2" fmla="*/ 963077 h 1043618"/>
                <a:gd name="connsiteX3" fmla="*/ 1495170 w 5107846"/>
                <a:gd name="connsiteY3" fmla="*/ 950567 h 1043618"/>
                <a:gd name="connsiteX4" fmla="*/ 2321598 w 5107846"/>
                <a:gd name="connsiteY4" fmla="*/ 284158 h 1043618"/>
                <a:gd name="connsiteX5" fmla="*/ 3025254 w 5107846"/>
                <a:gd name="connsiteY5" fmla="*/ 836210 h 1043618"/>
                <a:gd name="connsiteX6" fmla="*/ 3546656 w 5107846"/>
                <a:gd name="connsiteY6" fmla="*/ 606018 h 1043618"/>
                <a:gd name="connsiteX7" fmla="*/ 4143461 w 5107846"/>
                <a:gd name="connsiteY7" fmla="*/ 21780 h 1043618"/>
                <a:gd name="connsiteX8" fmla="*/ 4553803 w 5107846"/>
                <a:gd name="connsiteY8" fmla="*/ 588219 h 1043618"/>
                <a:gd name="connsiteX9" fmla="*/ 5107846 w 5107846"/>
                <a:gd name="connsiteY9" fmla="*/ 0 h 1043618"/>
                <a:gd name="connsiteX0" fmla="*/ 0 w 5107846"/>
                <a:gd name="connsiteY0" fmla="*/ 33210 h 1043618"/>
                <a:gd name="connsiteX1" fmla="*/ 489216 w 5107846"/>
                <a:gd name="connsiteY1" fmla="*/ 246286 h 1043618"/>
                <a:gd name="connsiteX2" fmla="*/ 898194 w 5107846"/>
                <a:gd name="connsiteY2" fmla="*/ 963077 h 1043618"/>
                <a:gd name="connsiteX3" fmla="*/ 1495170 w 5107846"/>
                <a:gd name="connsiteY3" fmla="*/ 950567 h 1043618"/>
                <a:gd name="connsiteX4" fmla="*/ 2321598 w 5107846"/>
                <a:gd name="connsiteY4" fmla="*/ 284158 h 1043618"/>
                <a:gd name="connsiteX5" fmla="*/ 3025254 w 5107846"/>
                <a:gd name="connsiteY5" fmla="*/ 836210 h 1043618"/>
                <a:gd name="connsiteX6" fmla="*/ 3546656 w 5107846"/>
                <a:gd name="connsiteY6" fmla="*/ 606018 h 1043618"/>
                <a:gd name="connsiteX7" fmla="*/ 4143461 w 5107846"/>
                <a:gd name="connsiteY7" fmla="*/ 21780 h 1043618"/>
                <a:gd name="connsiteX8" fmla="*/ 4549993 w 5107846"/>
                <a:gd name="connsiteY8" fmla="*/ 451059 h 1043618"/>
                <a:gd name="connsiteX9" fmla="*/ 5107846 w 5107846"/>
                <a:gd name="connsiteY9" fmla="*/ 0 h 1043618"/>
                <a:gd name="connsiteX0" fmla="*/ 0 w 5107846"/>
                <a:gd name="connsiteY0" fmla="*/ 33210 h 1043618"/>
                <a:gd name="connsiteX1" fmla="*/ 489216 w 5107846"/>
                <a:gd name="connsiteY1" fmla="*/ 246286 h 1043618"/>
                <a:gd name="connsiteX2" fmla="*/ 898194 w 5107846"/>
                <a:gd name="connsiteY2" fmla="*/ 963077 h 1043618"/>
                <a:gd name="connsiteX3" fmla="*/ 1495170 w 5107846"/>
                <a:gd name="connsiteY3" fmla="*/ 950567 h 1043618"/>
                <a:gd name="connsiteX4" fmla="*/ 2321598 w 5107846"/>
                <a:gd name="connsiteY4" fmla="*/ 284158 h 1043618"/>
                <a:gd name="connsiteX5" fmla="*/ 3025254 w 5107846"/>
                <a:gd name="connsiteY5" fmla="*/ 836210 h 1043618"/>
                <a:gd name="connsiteX6" fmla="*/ 3607616 w 5107846"/>
                <a:gd name="connsiteY6" fmla="*/ 472668 h 1043618"/>
                <a:gd name="connsiteX7" fmla="*/ 4143461 w 5107846"/>
                <a:gd name="connsiteY7" fmla="*/ 21780 h 1043618"/>
                <a:gd name="connsiteX8" fmla="*/ 4549993 w 5107846"/>
                <a:gd name="connsiteY8" fmla="*/ 451059 h 1043618"/>
                <a:gd name="connsiteX9" fmla="*/ 5107846 w 5107846"/>
                <a:gd name="connsiteY9" fmla="*/ 0 h 1043618"/>
                <a:gd name="connsiteX0" fmla="*/ 0 w 5107846"/>
                <a:gd name="connsiteY0" fmla="*/ 33210 h 1043618"/>
                <a:gd name="connsiteX1" fmla="*/ 489216 w 5107846"/>
                <a:gd name="connsiteY1" fmla="*/ 246286 h 1043618"/>
                <a:gd name="connsiteX2" fmla="*/ 898194 w 5107846"/>
                <a:gd name="connsiteY2" fmla="*/ 963077 h 1043618"/>
                <a:gd name="connsiteX3" fmla="*/ 1495170 w 5107846"/>
                <a:gd name="connsiteY3" fmla="*/ 950567 h 1043618"/>
                <a:gd name="connsiteX4" fmla="*/ 2321598 w 5107846"/>
                <a:gd name="connsiteY4" fmla="*/ 284158 h 1043618"/>
                <a:gd name="connsiteX5" fmla="*/ 3025254 w 5107846"/>
                <a:gd name="connsiteY5" fmla="*/ 836210 h 1043618"/>
                <a:gd name="connsiteX6" fmla="*/ 3607616 w 5107846"/>
                <a:gd name="connsiteY6" fmla="*/ 472668 h 1043618"/>
                <a:gd name="connsiteX7" fmla="*/ 4143461 w 5107846"/>
                <a:gd name="connsiteY7" fmla="*/ 21780 h 1043618"/>
                <a:gd name="connsiteX8" fmla="*/ 4549993 w 5107846"/>
                <a:gd name="connsiteY8" fmla="*/ 451059 h 1043618"/>
                <a:gd name="connsiteX9" fmla="*/ 5107846 w 5107846"/>
                <a:gd name="connsiteY9" fmla="*/ 0 h 104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07846" h="1043618">
                  <a:moveTo>
                    <a:pt x="0" y="33210"/>
                  </a:moveTo>
                  <a:cubicBezTo>
                    <a:pt x="177800" y="76049"/>
                    <a:pt x="339517" y="91308"/>
                    <a:pt x="489216" y="246286"/>
                  </a:cubicBezTo>
                  <a:cubicBezTo>
                    <a:pt x="638915" y="401264"/>
                    <a:pt x="730535" y="845697"/>
                    <a:pt x="898194" y="963077"/>
                  </a:cubicBezTo>
                  <a:cubicBezTo>
                    <a:pt x="1065853" y="1080457"/>
                    <a:pt x="1257936" y="1063720"/>
                    <a:pt x="1495170" y="950567"/>
                  </a:cubicBezTo>
                  <a:cubicBezTo>
                    <a:pt x="1732404" y="837414"/>
                    <a:pt x="2066584" y="303217"/>
                    <a:pt x="2321598" y="284158"/>
                  </a:cubicBezTo>
                  <a:cubicBezTo>
                    <a:pt x="2576612" y="265099"/>
                    <a:pt x="2810918" y="804792"/>
                    <a:pt x="3025254" y="836210"/>
                  </a:cubicBezTo>
                  <a:cubicBezTo>
                    <a:pt x="3239590" y="867628"/>
                    <a:pt x="3367908" y="703656"/>
                    <a:pt x="3607616" y="472668"/>
                  </a:cubicBezTo>
                  <a:cubicBezTo>
                    <a:pt x="3847324" y="241680"/>
                    <a:pt x="3986398" y="25382"/>
                    <a:pt x="4143461" y="21780"/>
                  </a:cubicBezTo>
                  <a:cubicBezTo>
                    <a:pt x="4300524" y="18179"/>
                    <a:pt x="4389262" y="454689"/>
                    <a:pt x="4549993" y="451059"/>
                  </a:cubicBezTo>
                  <a:cubicBezTo>
                    <a:pt x="4710724" y="447429"/>
                    <a:pt x="4945589" y="208906"/>
                    <a:pt x="5107846" y="0"/>
                  </a:cubicBezTo>
                </a:path>
              </a:pathLst>
            </a:custGeom>
            <a:noFill/>
            <a:ln w="1905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B8D83C0F-1ED1-DC01-0BA4-A84ECCCA5EB5}"/>
                </a:ext>
              </a:extLst>
            </p:cNvPr>
            <p:cNvSpPr/>
            <p:nvPr/>
          </p:nvSpPr>
          <p:spPr>
            <a:xfrm>
              <a:off x="6622738" y="2385059"/>
              <a:ext cx="5100320" cy="2460021"/>
            </a:xfrm>
            <a:custGeom>
              <a:avLst/>
              <a:gdLst>
                <a:gd name="connsiteX0" fmla="*/ 0 w 5105400"/>
                <a:gd name="connsiteY0" fmla="*/ 2162175 h 2970099"/>
                <a:gd name="connsiteX1" fmla="*/ 628650 w 5105400"/>
                <a:gd name="connsiteY1" fmla="*/ 2428875 h 2970099"/>
                <a:gd name="connsiteX2" fmla="*/ 828675 w 5105400"/>
                <a:gd name="connsiteY2" fmla="*/ 2924175 h 2970099"/>
                <a:gd name="connsiteX3" fmla="*/ 1266825 w 5105400"/>
                <a:gd name="connsiteY3" fmla="*/ 2790825 h 2970099"/>
                <a:gd name="connsiteX4" fmla="*/ 1743075 w 5105400"/>
                <a:gd name="connsiteY4" fmla="*/ 1533525 h 2970099"/>
                <a:gd name="connsiteX5" fmla="*/ 2305050 w 5105400"/>
                <a:gd name="connsiteY5" fmla="*/ 1143000 h 2970099"/>
                <a:gd name="connsiteX6" fmla="*/ 2943225 w 5105400"/>
                <a:gd name="connsiteY6" fmla="*/ 1371600 h 2970099"/>
                <a:gd name="connsiteX7" fmla="*/ 3248025 w 5105400"/>
                <a:gd name="connsiteY7" fmla="*/ 1171575 h 2970099"/>
                <a:gd name="connsiteX8" fmla="*/ 3524250 w 5105400"/>
                <a:gd name="connsiteY8" fmla="*/ 400050 h 2970099"/>
                <a:gd name="connsiteX9" fmla="*/ 3952875 w 5105400"/>
                <a:gd name="connsiteY9" fmla="*/ 142875 h 2970099"/>
                <a:gd name="connsiteX10" fmla="*/ 4076700 w 5105400"/>
                <a:gd name="connsiteY10" fmla="*/ 323850 h 2970099"/>
                <a:gd name="connsiteX11" fmla="*/ 4152900 w 5105400"/>
                <a:gd name="connsiteY11" fmla="*/ 752475 h 2970099"/>
                <a:gd name="connsiteX12" fmla="*/ 4371975 w 5105400"/>
                <a:gd name="connsiteY12" fmla="*/ 904875 h 2970099"/>
                <a:gd name="connsiteX13" fmla="*/ 4781550 w 5105400"/>
                <a:gd name="connsiteY13" fmla="*/ 457200 h 2970099"/>
                <a:gd name="connsiteX14" fmla="*/ 5105400 w 5105400"/>
                <a:gd name="connsiteY14" fmla="*/ 0 h 2970099"/>
                <a:gd name="connsiteX0" fmla="*/ 0 w 5105400"/>
                <a:gd name="connsiteY0" fmla="*/ 2162175 h 2970099"/>
                <a:gd name="connsiteX1" fmla="*/ 628650 w 5105400"/>
                <a:gd name="connsiteY1" fmla="*/ 2428875 h 2970099"/>
                <a:gd name="connsiteX2" fmla="*/ 828675 w 5105400"/>
                <a:gd name="connsiteY2" fmla="*/ 2924175 h 2970099"/>
                <a:gd name="connsiteX3" fmla="*/ 1266825 w 5105400"/>
                <a:gd name="connsiteY3" fmla="*/ 2790825 h 2970099"/>
                <a:gd name="connsiteX4" fmla="*/ 1743075 w 5105400"/>
                <a:gd name="connsiteY4" fmla="*/ 1533525 h 2970099"/>
                <a:gd name="connsiteX5" fmla="*/ 2305050 w 5105400"/>
                <a:gd name="connsiteY5" fmla="*/ 1143000 h 2970099"/>
                <a:gd name="connsiteX6" fmla="*/ 2943225 w 5105400"/>
                <a:gd name="connsiteY6" fmla="*/ 1371600 h 2970099"/>
                <a:gd name="connsiteX7" fmla="*/ 3248025 w 5105400"/>
                <a:gd name="connsiteY7" fmla="*/ 1171575 h 2970099"/>
                <a:gd name="connsiteX8" fmla="*/ 3524250 w 5105400"/>
                <a:gd name="connsiteY8" fmla="*/ 400050 h 2970099"/>
                <a:gd name="connsiteX9" fmla="*/ 3952875 w 5105400"/>
                <a:gd name="connsiteY9" fmla="*/ 142875 h 2970099"/>
                <a:gd name="connsiteX10" fmla="*/ 4152900 w 5105400"/>
                <a:gd name="connsiteY10" fmla="*/ 752475 h 2970099"/>
                <a:gd name="connsiteX11" fmla="*/ 4371975 w 5105400"/>
                <a:gd name="connsiteY11" fmla="*/ 904875 h 2970099"/>
                <a:gd name="connsiteX12" fmla="*/ 4781550 w 5105400"/>
                <a:gd name="connsiteY12" fmla="*/ 457200 h 2970099"/>
                <a:gd name="connsiteX13" fmla="*/ 5105400 w 5105400"/>
                <a:gd name="connsiteY13" fmla="*/ 0 h 2970099"/>
                <a:gd name="connsiteX0" fmla="*/ 0 w 5105400"/>
                <a:gd name="connsiteY0" fmla="*/ 2162175 h 2964290"/>
                <a:gd name="connsiteX1" fmla="*/ 628650 w 5105400"/>
                <a:gd name="connsiteY1" fmla="*/ 2428875 h 2964290"/>
                <a:gd name="connsiteX2" fmla="*/ 828675 w 5105400"/>
                <a:gd name="connsiteY2" fmla="*/ 2924175 h 2964290"/>
                <a:gd name="connsiteX3" fmla="*/ 1266825 w 5105400"/>
                <a:gd name="connsiteY3" fmla="*/ 2790825 h 2964290"/>
                <a:gd name="connsiteX4" fmla="*/ 1743075 w 5105400"/>
                <a:gd name="connsiteY4" fmla="*/ 1533525 h 2964290"/>
                <a:gd name="connsiteX5" fmla="*/ 2305050 w 5105400"/>
                <a:gd name="connsiteY5" fmla="*/ 1143000 h 2964290"/>
                <a:gd name="connsiteX6" fmla="*/ 2943225 w 5105400"/>
                <a:gd name="connsiteY6" fmla="*/ 1371600 h 2964290"/>
                <a:gd name="connsiteX7" fmla="*/ 3248025 w 5105400"/>
                <a:gd name="connsiteY7" fmla="*/ 1171575 h 2964290"/>
                <a:gd name="connsiteX8" fmla="*/ 3524250 w 5105400"/>
                <a:gd name="connsiteY8" fmla="*/ 400050 h 2964290"/>
                <a:gd name="connsiteX9" fmla="*/ 3952875 w 5105400"/>
                <a:gd name="connsiteY9" fmla="*/ 142875 h 2964290"/>
                <a:gd name="connsiteX10" fmla="*/ 4152900 w 5105400"/>
                <a:gd name="connsiteY10" fmla="*/ 752475 h 2964290"/>
                <a:gd name="connsiteX11" fmla="*/ 4371975 w 5105400"/>
                <a:gd name="connsiteY11" fmla="*/ 904875 h 2964290"/>
                <a:gd name="connsiteX12" fmla="*/ 4781550 w 5105400"/>
                <a:gd name="connsiteY12" fmla="*/ 457200 h 2964290"/>
                <a:gd name="connsiteX13" fmla="*/ 5105400 w 5105400"/>
                <a:gd name="connsiteY13" fmla="*/ 0 h 2964290"/>
                <a:gd name="connsiteX0" fmla="*/ 0 w 5105400"/>
                <a:gd name="connsiteY0" fmla="*/ 2162175 h 2964290"/>
                <a:gd name="connsiteX1" fmla="*/ 628650 w 5105400"/>
                <a:gd name="connsiteY1" fmla="*/ 2428875 h 2964290"/>
                <a:gd name="connsiteX2" fmla="*/ 828675 w 5105400"/>
                <a:gd name="connsiteY2" fmla="*/ 2924175 h 2964290"/>
                <a:gd name="connsiteX3" fmla="*/ 1266825 w 5105400"/>
                <a:gd name="connsiteY3" fmla="*/ 2790825 h 2964290"/>
                <a:gd name="connsiteX4" fmla="*/ 1743075 w 5105400"/>
                <a:gd name="connsiteY4" fmla="*/ 1533525 h 2964290"/>
                <a:gd name="connsiteX5" fmla="*/ 2305050 w 5105400"/>
                <a:gd name="connsiteY5" fmla="*/ 1143000 h 2964290"/>
                <a:gd name="connsiteX6" fmla="*/ 2943225 w 5105400"/>
                <a:gd name="connsiteY6" fmla="*/ 1371600 h 2964290"/>
                <a:gd name="connsiteX7" fmla="*/ 3248025 w 5105400"/>
                <a:gd name="connsiteY7" fmla="*/ 1171575 h 2964290"/>
                <a:gd name="connsiteX8" fmla="*/ 3524250 w 5105400"/>
                <a:gd name="connsiteY8" fmla="*/ 400050 h 2964290"/>
                <a:gd name="connsiteX9" fmla="*/ 3952875 w 5105400"/>
                <a:gd name="connsiteY9" fmla="*/ 142875 h 2964290"/>
                <a:gd name="connsiteX10" fmla="*/ 4152900 w 5105400"/>
                <a:gd name="connsiteY10" fmla="*/ 752475 h 2964290"/>
                <a:gd name="connsiteX11" fmla="*/ 4371975 w 5105400"/>
                <a:gd name="connsiteY11" fmla="*/ 904875 h 2964290"/>
                <a:gd name="connsiteX12" fmla="*/ 4781550 w 5105400"/>
                <a:gd name="connsiteY12" fmla="*/ 457200 h 2964290"/>
                <a:gd name="connsiteX13" fmla="*/ 5105400 w 5105400"/>
                <a:gd name="connsiteY13" fmla="*/ 0 h 2964290"/>
                <a:gd name="connsiteX0" fmla="*/ 0 w 5105400"/>
                <a:gd name="connsiteY0" fmla="*/ 2162175 h 2964290"/>
                <a:gd name="connsiteX1" fmla="*/ 628650 w 5105400"/>
                <a:gd name="connsiteY1" fmla="*/ 2428875 h 2964290"/>
                <a:gd name="connsiteX2" fmla="*/ 828675 w 5105400"/>
                <a:gd name="connsiteY2" fmla="*/ 2924175 h 2964290"/>
                <a:gd name="connsiteX3" fmla="*/ 1266825 w 5105400"/>
                <a:gd name="connsiteY3" fmla="*/ 2790825 h 2964290"/>
                <a:gd name="connsiteX4" fmla="*/ 1743075 w 5105400"/>
                <a:gd name="connsiteY4" fmla="*/ 1533525 h 2964290"/>
                <a:gd name="connsiteX5" fmla="*/ 2305050 w 5105400"/>
                <a:gd name="connsiteY5" fmla="*/ 1143000 h 2964290"/>
                <a:gd name="connsiteX6" fmla="*/ 2943225 w 5105400"/>
                <a:gd name="connsiteY6" fmla="*/ 1371600 h 2964290"/>
                <a:gd name="connsiteX7" fmla="*/ 3248025 w 5105400"/>
                <a:gd name="connsiteY7" fmla="*/ 1171575 h 2964290"/>
                <a:gd name="connsiteX8" fmla="*/ 3524250 w 5105400"/>
                <a:gd name="connsiteY8" fmla="*/ 400050 h 2964290"/>
                <a:gd name="connsiteX9" fmla="*/ 3952875 w 5105400"/>
                <a:gd name="connsiteY9" fmla="*/ 142875 h 2964290"/>
                <a:gd name="connsiteX10" fmla="*/ 4152900 w 5105400"/>
                <a:gd name="connsiteY10" fmla="*/ 752475 h 2964290"/>
                <a:gd name="connsiteX11" fmla="*/ 4371975 w 5105400"/>
                <a:gd name="connsiteY11" fmla="*/ 904875 h 2964290"/>
                <a:gd name="connsiteX12" fmla="*/ 4781550 w 5105400"/>
                <a:gd name="connsiteY12" fmla="*/ 457200 h 2964290"/>
                <a:gd name="connsiteX13" fmla="*/ 5105400 w 5105400"/>
                <a:gd name="connsiteY13" fmla="*/ 0 h 2964290"/>
                <a:gd name="connsiteX0" fmla="*/ 0 w 5105400"/>
                <a:gd name="connsiteY0" fmla="*/ 2162175 h 2964290"/>
                <a:gd name="connsiteX1" fmla="*/ 628650 w 5105400"/>
                <a:gd name="connsiteY1" fmla="*/ 2428875 h 2964290"/>
                <a:gd name="connsiteX2" fmla="*/ 828675 w 5105400"/>
                <a:gd name="connsiteY2" fmla="*/ 2924175 h 2964290"/>
                <a:gd name="connsiteX3" fmla="*/ 1266825 w 5105400"/>
                <a:gd name="connsiteY3" fmla="*/ 2790825 h 2964290"/>
                <a:gd name="connsiteX4" fmla="*/ 1743075 w 5105400"/>
                <a:gd name="connsiteY4" fmla="*/ 1533525 h 2964290"/>
                <a:gd name="connsiteX5" fmla="*/ 2305050 w 5105400"/>
                <a:gd name="connsiteY5" fmla="*/ 1143000 h 2964290"/>
                <a:gd name="connsiteX6" fmla="*/ 2943225 w 5105400"/>
                <a:gd name="connsiteY6" fmla="*/ 1371600 h 2964290"/>
                <a:gd name="connsiteX7" fmla="*/ 3248025 w 5105400"/>
                <a:gd name="connsiteY7" fmla="*/ 1171575 h 2964290"/>
                <a:gd name="connsiteX8" fmla="*/ 3524250 w 5105400"/>
                <a:gd name="connsiteY8" fmla="*/ 400050 h 2964290"/>
                <a:gd name="connsiteX9" fmla="*/ 3952875 w 5105400"/>
                <a:gd name="connsiteY9" fmla="*/ 142875 h 2964290"/>
                <a:gd name="connsiteX10" fmla="*/ 4152900 w 5105400"/>
                <a:gd name="connsiteY10" fmla="*/ 752475 h 2964290"/>
                <a:gd name="connsiteX11" fmla="*/ 4371975 w 5105400"/>
                <a:gd name="connsiteY11" fmla="*/ 904875 h 2964290"/>
                <a:gd name="connsiteX12" fmla="*/ 4781550 w 5105400"/>
                <a:gd name="connsiteY12" fmla="*/ 457200 h 2964290"/>
                <a:gd name="connsiteX13" fmla="*/ 5105400 w 5105400"/>
                <a:gd name="connsiteY13" fmla="*/ 0 h 2964290"/>
                <a:gd name="connsiteX0" fmla="*/ 0 w 5105400"/>
                <a:gd name="connsiteY0" fmla="*/ 2162175 h 2977494"/>
                <a:gd name="connsiteX1" fmla="*/ 628650 w 5105400"/>
                <a:gd name="connsiteY1" fmla="*/ 2428875 h 2977494"/>
                <a:gd name="connsiteX2" fmla="*/ 923925 w 5105400"/>
                <a:gd name="connsiteY2" fmla="*/ 2943225 h 2977494"/>
                <a:gd name="connsiteX3" fmla="*/ 1266825 w 5105400"/>
                <a:gd name="connsiteY3" fmla="*/ 2790825 h 2977494"/>
                <a:gd name="connsiteX4" fmla="*/ 1743075 w 5105400"/>
                <a:gd name="connsiteY4" fmla="*/ 1533525 h 2977494"/>
                <a:gd name="connsiteX5" fmla="*/ 2305050 w 5105400"/>
                <a:gd name="connsiteY5" fmla="*/ 1143000 h 2977494"/>
                <a:gd name="connsiteX6" fmla="*/ 2943225 w 5105400"/>
                <a:gd name="connsiteY6" fmla="*/ 1371600 h 2977494"/>
                <a:gd name="connsiteX7" fmla="*/ 3248025 w 5105400"/>
                <a:gd name="connsiteY7" fmla="*/ 1171575 h 2977494"/>
                <a:gd name="connsiteX8" fmla="*/ 3524250 w 5105400"/>
                <a:gd name="connsiteY8" fmla="*/ 400050 h 2977494"/>
                <a:gd name="connsiteX9" fmla="*/ 3952875 w 5105400"/>
                <a:gd name="connsiteY9" fmla="*/ 142875 h 2977494"/>
                <a:gd name="connsiteX10" fmla="*/ 4152900 w 5105400"/>
                <a:gd name="connsiteY10" fmla="*/ 752475 h 2977494"/>
                <a:gd name="connsiteX11" fmla="*/ 4371975 w 5105400"/>
                <a:gd name="connsiteY11" fmla="*/ 904875 h 2977494"/>
                <a:gd name="connsiteX12" fmla="*/ 4781550 w 5105400"/>
                <a:gd name="connsiteY12" fmla="*/ 457200 h 2977494"/>
                <a:gd name="connsiteX13" fmla="*/ 5105400 w 5105400"/>
                <a:gd name="connsiteY13" fmla="*/ 0 h 2977494"/>
                <a:gd name="connsiteX0" fmla="*/ 0 w 5105400"/>
                <a:gd name="connsiteY0" fmla="*/ 2162175 h 2967540"/>
                <a:gd name="connsiteX1" fmla="*/ 628650 w 5105400"/>
                <a:gd name="connsiteY1" fmla="*/ 2428875 h 2967540"/>
                <a:gd name="connsiteX2" fmla="*/ 923925 w 5105400"/>
                <a:gd name="connsiteY2" fmla="*/ 2943225 h 2967540"/>
                <a:gd name="connsiteX3" fmla="*/ 1266825 w 5105400"/>
                <a:gd name="connsiteY3" fmla="*/ 2790825 h 2967540"/>
                <a:gd name="connsiteX4" fmla="*/ 1743075 w 5105400"/>
                <a:gd name="connsiteY4" fmla="*/ 1533525 h 2967540"/>
                <a:gd name="connsiteX5" fmla="*/ 2305050 w 5105400"/>
                <a:gd name="connsiteY5" fmla="*/ 1143000 h 2967540"/>
                <a:gd name="connsiteX6" fmla="*/ 2943225 w 5105400"/>
                <a:gd name="connsiteY6" fmla="*/ 1371600 h 2967540"/>
                <a:gd name="connsiteX7" fmla="*/ 3248025 w 5105400"/>
                <a:gd name="connsiteY7" fmla="*/ 1171575 h 2967540"/>
                <a:gd name="connsiteX8" fmla="*/ 3524250 w 5105400"/>
                <a:gd name="connsiteY8" fmla="*/ 400050 h 2967540"/>
                <a:gd name="connsiteX9" fmla="*/ 3952875 w 5105400"/>
                <a:gd name="connsiteY9" fmla="*/ 142875 h 2967540"/>
                <a:gd name="connsiteX10" fmla="*/ 4152900 w 5105400"/>
                <a:gd name="connsiteY10" fmla="*/ 752475 h 2967540"/>
                <a:gd name="connsiteX11" fmla="*/ 4371975 w 5105400"/>
                <a:gd name="connsiteY11" fmla="*/ 904875 h 2967540"/>
                <a:gd name="connsiteX12" fmla="*/ 4781550 w 5105400"/>
                <a:gd name="connsiteY12" fmla="*/ 457200 h 2967540"/>
                <a:gd name="connsiteX13" fmla="*/ 5105400 w 5105400"/>
                <a:gd name="connsiteY13" fmla="*/ 0 h 2967540"/>
                <a:gd name="connsiteX0" fmla="*/ 0 w 5105400"/>
                <a:gd name="connsiteY0" fmla="*/ 2162175 h 2946442"/>
                <a:gd name="connsiteX1" fmla="*/ 628650 w 5105400"/>
                <a:gd name="connsiteY1" fmla="*/ 2428875 h 2946442"/>
                <a:gd name="connsiteX2" fmla="*/ 923925 w 5105400"/>
                <a:gd name="connsiteY2" fmla="*/ 2943225 h 2946442"/>
                <a:gd name="connsiteX3" fmla="*/ 1506855 w 5105400"/>
                <a:gd name="connsiteY3" fmla="*/ 2162175 h 2946442"/>
                <a:gd name="connsiteX4" fmla="*/ 1743075 w 5105400"/>
                <a:gd name="connsiteY4" fmla="*/ 1533525 h 2946442"/>
                <a:gd name="connsiteX5" fmla="*/ 2305050 w 5105400"/>
                <a:gd name="connsiteY5" fmla="*/ 1143000 h 2946442"/>
                <a:gd name="connsiteX6" fmla="*/ 2943225 w 5105400"/>
                <a:gd name="connsiteY6" fmla="*/ 1371600 h 2946442"/>
                <a:gd name="connsiteX7" fmla="*/ 3248025 w 5105400"/>
                <a:gd name="connsiteY7" fmla="*/ 1171575 h 2946442"/>
                <a:gd name="connsiteX8" fmla="*/ 3524250 w 5105400"/>
                <a:gd name="connsiteY8" fmla="*/ 400050 h 2946442"/>
                <a:gd name="connsiteX9" fmla="*/ 3952875 w 5105400"/>
                <a:gd name="connsiteY9" fmla="*/ 142875 h 2946442"/>
                <a:gd name="connsiteX10" fmla="*/ 4152900 w 5105400"/>
                <a:gd name="connsiteY10" fmla="*/ 752475 h 2946442"/>
                <a:gd name="connsiteX11" fmla="*/ 4371975 w 5105400"/>
                <a:gd name="connsiteY11" fmla="*/ 904875 h 2946442"/>
                <a:gd name="connsiteX12" fmla="*/ 4781550 w 5105400"/>
                <a:gd name="connsiteY12" fmla="*/ 457200 h 2946442"/>
                <a:gd name="connsiteX13" fmla="*/ 5105400 w 5105400"/>
                <a:gd name="connsiteY13" fmla="*/ 0 h 2946442"/>
                <a:gd name="connsiteX0" fmla="*/ 0 w 5105400"/>
                <a:gd name="connsiteY0" fmla="*/ 2162175 h 2946442"/>
                <a:gd name="connsiteX1" fmla="*/ 628650 w 5105400"/>
                <a:gd name="connsiteY1" fmla="*/ 2428875 h 2946442"/>
                <a:gd name="connsiteX2" fmla="*/ 923925 w 5105400"/>
                <a:gd name="connsiteY2" fmla="*/ 2943225 h 2946442"/>
                <a:gd name="connsiteX3" fmla="*/ 1506855 w 5105400"/>
                <a:gd name="connsiteY3" fmla="*/ 2162175 h 2946442"/>
                <a:gd name="connsiteX4" fmla="*/ 1743075 w 5105400"/>
                <a:gd name="connsiteY4" fmla="*/ 1533525 h 2946442"/>
                <a:gd name="connsiteX5" fmla="*/ 2305050 w 5105400"/>
                <a:gd name="connsiteY5" fmla="*/ 1143000 h 2946442"/>
                <a:gd name="connsiteX6" fmla="*/ 2943225 w 5105400"/>
                <a:gd name="connsiteY6" fmla="*/ 1371600 h 2946442"/>
                <a:gd name="connsiteX7" fmla="*/ 3248025 w 5105400"/>
                <a:gd name="connsiteY7" fmla="*/ 1171575 h 2946442"/>
                <a:gd name="connsiteX8" fmla="*/ 3524250 w 5105400"/>
                <a:gd name="connsiteY8" fmla="*/ 400050 h 2946442"/>
                <a:gd name="connsiteX9" fmla="*/ 3952875 w 5105400"/>
                <a:gd name="connsiteY9" fmla="*/ 142875 h 2946442"/>
                <a:gd name="connsiteX10" fmla="*/ 4152900 w 5105400"/>
                <a:gd name="connsiteY10" fmla="*/ 752475 h 2946442"/>
                <a:gd name="connsiteX11" fmla="*/ 4371975 w 5105400"/>
                <a:gd name="connsiteY11" fmla="*/ 904875 h 2946442"/>
                <a:gd name="connsiteX12" fmla="*/ 4781550 w 5105400"/>
                <a:gd name="connsiteY12" fmla="*/ 457200 h 2946442"/>
                <a:gd name="connsiteX13" fmla="*/ 5105400 w 5105400"/>
                <a:gd name="connsiteY13" fmla="*/ 0 h 2946442"/>
                <a:gd name="connsiteX0" fmla="*/ 0 w 5105400"/>
                <a:gd name="connsiteY0" fmla="*/ 2162175 h 2946442"/>
                <a:gd name="connsiteX1" fmla="*/ 628650 w 5105400"/>
                <a:gd name="connsiteY1" fmla="*/ 2428875 h 2946442"/>
                <a:gd name="connsiteX2" fmla="*/ 923925 w 5105400"/>
                <a:gd name="connsiteY2" fmla="*/ 2943225 h 2946442"/>
                <a:gd name="connsiteX3" fmla="*/ 1506855 w 5105400"/>
                <a:gd name="connsiteY3" fmla="*/ 2162175 h 2946442"/>
                <a:gd name="connsiteX4" fmla="*/ 1743075 w 5105400"/>
                <a:gd name="connsiteY4" fmla="*/ 1533525 h 2946442"/>
                <a:gd name="connsiteX5" fmla="*/ 2305050 w 5105400"/>
                <a:gd name="connsiteY5" fmla="*/ 1143000 h 2946442"/>
                <a:gd name="connsiteX6" fmla="*/ 2943225 w 5105400"/>
                <a:gd name="connsiteY6" fmla="*/ 1371600 h 2946442"/>
                <a:gd name="connsiteX7" fmla="*/ 3248025 w 5105400"/>
                <a:gd name="connsiteY7" fmla="*/ 1171575 h 2946442"/>
                <a:gd name="connsiteX8" fmla="*/ 3524250 w 5105400"/>
                <a:gd name="connsiteY8" fmla="*/ 400050 h 2946442"/>
                <a:gd name="connsiteX9" fmla="*/ 3952875 w 5105400"/>
                <a:gd name="connsiteY9" fmla="*/ 142875 h 2946442"/>
                <a:gd name="connsiteX10" fmla="*/ 4152900 w 5105400"/>
                <a:gd name="connsiteY10" fmla="*/ 752475 h 2946442"/>
                <a:gd name="connsiteX11" fmla="*/ 4371975 w 5105400"/>
                <a:gd name="connsiteY11" fmla="*/ 904875 h 2946442"/>
                <a:gd name="connsiteX12" fmla="*/ 4781550 w 5105400"/>
                <a:gd name="connsiteY12" fmla="*/ 457200 h 2946442"/>
                <a:gd name="connsiteX13" fmla="*/ 5105400 w 5105400"/>
                <a:gd name="connsiteY13" fmla="*/ 0 h 2946442"/>
                <a:gd name="connsiteX0" fmla="*/ 0 w 5105400"/>
                <a:gd name="connsiteY0" fmla="*/ 2162175 h 2946442"/>
                <a:gd name="connsiteX1" fmla="*/ 628650 w 5105400"/>
                <a:gd name="connsiteY1" fmla="*/ 2428875 h 2946442"/>
                <a:gd name="connsiteX2" fmla="*/ 923925 w 5105400"/>
                <a:gd name="connsiteY2" fmla="*/ 2943225 h 2946442"/>
                <a:gd name="connsiteX3" fmla="*/ 1506855 w 5105400"/>
                <a:gd name="connsiteY3" fmla="*/ 2162175 h 2946442"/>
                <a:gd name="connsiteX4" fmla="*/ 1743075 w 5105400"/>
                <a:gd name="connsiteY4" fmla="*/ 1533525 h 2946442"/>
                <a:gd name="connsiteX5" fmla="*/ 2305050 w 5105400"/>
                <a:gd name="connsiteY5" fmla="*/ 1143000 h 2946442"/>
                <a:gd name="connsiteX6" fmla="*/ 2943225 w 5105400"/>
                <a:gd name="connsiteY6" fmla="*/ 1371600 h 2946442"/>
                <a:gd name="connsiteX7" fmla="*/ 3248025 w 5105400"/>
                <a:gd name="connsiteY7" fmla="*/ 1171575 h 2946442"/>
                <a:gd name="connsiteX8" fmla="*/ 3524250 w 5105400"/>
                <a:gd name="connsiteY8" fmla="*/ 400050 h 2946442"/>
                <a:gd name="connsiteX9" fmla="*/ 3952875 w 5105400"/>
                <a:gd name="connsiteY9" fmla="*/ 142875 h 2946442"/>
                <a:gd name="connsiteX10" fmla="*/ 4152900 w 5105400"/>
                <a:gd name="connsiteY10" fmla="*/ 752475 h 2946442"/>
                <a:gd name="connsiteX11" fmla="*/ 4371975 w 5105400"/>
                <a:gd name="connsiteY11" fmla="*/ 904875 h 2946442"/>
                <a:gd name="connsiteX12" fmla="*/ 4781550 w 5105400"/>
                <a:gd name="connsiteY12" fmla="*/ 457200 h 2946442"/>
                <a:gd name="connsiteX13" fmla="*/ 5105400 w 5105400"/>
                <a:gd name="connsiteY13" fmla="*/ 0 h 2946442"/>
                <a:gd name="connsiteX0" fmla="*/ 0 w 5105400"/>
                <a:gd name="connsiteY0" fmla="*/ 2162175 h 2946442"/>
                <a:gd name="connsiteX1" fmla="*/ 628650 w 5105400"/>
                <a:gd name="connsiteY1" fmla="*/ 2428875 h 2946442"/>
                <a:gd name="connsiteX2" fmla="*/ 923925 w 5105400"/>
                <a:gd name="connsiteY2" fmla="*/ 2943225 h 2946442"/>
                <a:gd name="connsiteX3" fmla="*/ 1506855 w 5105400"/>
                <a:gd name="connsiteY3" fmla="*/ 2162175 h 2946442"/>
                <a:gd name="connsiteX4" fmla="*/ 1743075 w 5105400"/>
                <a:gd name="connsiteY4" fmla="*/ 1533525 h 2946442"/>
                <a:gd name="connsiteX5" fmla="*/ 2305050 w 5105400"/>
                <a:gd name="connsiteY5" fmla="*/ 1143000 h 2946442"/>
                <a:gd name="connsiteX6" fmla="*/ 2943225 w 5105400"/>
                <a:gd name="connsiteY6" fmla="*/ 1371600 h 2946442"/>
                <a:gd name="connsiteX7" fmla="*/ 3248025 w 5105400"/>
                <a:gd name="connsiteY7" fmla="*/ 1171575 h 2946442"/>
                <a:gd name="connsiteX8" fmla="*/ 3524250 w 5105400"/>
                <a:gd name="connsiteY8" fmla="*/ 400050 h 2946442"/>
                <a:gd name="connsiteX9" fmla="*/ 3952875 w 5105400"/>
                <a:gd name="connsiteY9" fmla="*/ 142875 h 2946442"/>
                <a:gd name="connsiteX10" fmla="*/ 4152900 w 5105400"/>
                <a:gd name="connsiteY10" fmla="*/ 752475 h 2946442"/>
                <a:gd name="connsiteX11" fmla="*/ 4371975 w 5105400"/>
                <a:gd name="connsiteY11" fmla="*/ 904875 h 2946442"/>
                <a:gd name="connsiteX12" fmla="*/ 4781550 w 5105400"/>
                <a:gd name="connsiteY12" fmla="*/ 457200 h 2946442"/>
                <a:gd name="connsiteX13" fmla="*/ 5105400 w 5105400"/>
                <a:gd name="connsiteY13" fmla="*/ 0 h 2946442"/>
                <a:gd name="connsiteX0" fmla="*/ 0 w 5105400"/>
                <a:gd name="connsiteY0" fmla="*/ 2162175 h 2944698"/>
                <a:gd name="connsiteX1" fmla="*/ 628650 w 5105400"/>
                <a:gd name="connsiteY1" fmla="*/ 2428875 h 2944698"/>
                <a:gd name="connsiteX2" fmla="*/ 923925 w 5105400"/>
                <a:gd name="connsiteY2" fmla="*/ 2943225 h 2944698"/>
                <a:gd name="connsiteX3" fmla="*/ 1506855 w 5105400"/>
                <a:gd name="connsiteY3" fmla="*/ 2162175 h 2944698"/>
                <a:gd name="connsiteX4" fmla="*/ 1743075 w 5105400"/>
                <a:gd name="connsiteY4" fmla="*/ 1533525 h 2944698"/>
                <a:gd name="connsiteX5" fmla="*/ 2305050 w 5105400"/>
                <a:gd name="connsiteY5" fmla="*/ 1143000 h 2944698"/>
                <a:gd name="connsiteX6" fmla="*/ 2943225 w 5105400"/>
                <a:gd name="connsiteY6" fmla="*/ 1371600 h 2944698"/>
                <a:gd name="connsiteX7" fmla="*/ 3248025 w 5105400"/>
                <a:gd name="connsiteY7" fmla="*/ 1171575 h 2944698"/>
                <a:gd name="connsiteX8" fmla="*/ 3524250 w 5105400"/>
                <a:gd name="connsiteY8" fmla="*/ 400050 h 2944698"/>
                <a:gd name="connsiteX9" fmla="*/ 3952875 w 5105400"/>
                <a:gd name="connsiteY9" fmla="*/ 142875 h 2944698"/>
                <a:gd name="connsiteX10" fmla="*/ 4152900 w 5105400"/>
                <a:gd name="connsiteY10" fmla="*/ 752475 h 2944698"/>
                <a:gd name="connsiteX11" fmla="*/ 4371975 w 5105400"/>
                <a:gd name="connsiteY11" fmla="*/ 904875 h 2944698"/>
                <a:gd name="connsiteX12" fmla="*/ 4781550 w 5105400"/>
                <a:gd name="connsiteY12" fmla="*/ 457200 h 2944698"/>
                <a:gd name="connsiteX13" fmla="*/ 5105400 w 5105400"/>
                <a:gd name="connsiteY13" fmla="*/ 0 h 2944698"/>
                <a:gd name="connsiteX0" fmla="*/ 0 w 5105400"/>
                <a:gd name="connsiteY0" fmla="*/ 2162175 h 2966900"/>
                <a:gd name="connsiteX1" fmla="*/ 628650 w 5105400"/>
                <a:gd name="connsiteY1" fmla="*/ 2428875 h 2966900"/>
                <a:gd name="connsiteX2" fmla="*/ 923925 w 5105400"/>
                <a:gd name="connsiteY2" fmla="*/ 2943225 h 2966900"/>
                <a:gd name="connsiteX3" fmla="*/ 1506855 w 5105400"/>
                <a:gd name="connsiteY3" fmla="*/ 2162175 h 2966900"/>
                <a:gd name="connsiteX4" fmla="*/ 1743075 w 5105400"/>
                <a:gd name="connsiteY4" fmla="*/ 1533525 h 2966900"/>
                <a:gd name="connsiteX5" fmla="*/ 2305050 w 5105400"/>
                <a:gd name="connsiteY5" fmla="*/ 1143000 h 2966900"/>
                <a:gd name="connsiteX6" fmla="*/ 2943225 w 5105400"/>
                <a:gd name="connsiteY6" fmla="*/ 1371600 h 2966900"/>
                <a:gd name="connsiteX7" fmla="*/ 3248025 w 5105400"/>
                <a:gd name="connsiteY7" fmla="*/ 1171575 h 2966900"/>
                <a:gd name="connsiteX8" fmla="*/ 3524250 w 5105400"/>
                <a:gd name="connsiteY8" fmla="*/ 400050 h 2966900"/>
                <a:gd name="connsiteX9" fmla="*/ 3952875 w 5105400"/>
                <a:gd name="connsiteY9" fmla="*/ 142875 h 2966900"/>
                <a:gd name="connsiteX10" fmla="*/ 4152900 w 5105400"/>
                <a:gd name="connsiteY10" fmla="*/ 752475 h 2966900"/>
                <a:gd name="connsiteX11" fmla="*/ 4371975 w 5105400"/>
                <a:gd name="connsiteY11" fmla="*/ 904875 h 2966900"/>
                <a:gd name="connsiteX12" fmla="*/ 4781550 w 5105400"/>
                <a:gd name="connsiteY12" fmla="*/ 457200 h 2966900"/>
                <a:gd name="connsiteX13" fmla="*/ 5105400 w 5105400"/>
                <a:gd name="connsiteY13" fmla="*/ 0 h 2966900"/>
                <a:gd name="connsiteX0" fmla="*/ 0 w 5105400"/>
                <a:gd name="connsiteY0" fmla="*/ 2162175 h 2966900"/>
                <a:gd name="connsiteX1" fmla="*/ 628650 w 5105400"/>
                <a:gd name="connsiteY1" fmla="*/ 2428875 h 2966900"/>
                <a:gd name="connsiteX2" fmla="*/ 923925 w 5105400"/>
                <a:gd name="connsiteY2" fmla="*/ 2943225 h 2966900"/>
                <a:gd name="connsiteX3" fmla="*/ 1506855 w 5105400"/>
                <a:gd name="connsiteY3" fmla="*/ 2162175 h 2966900"/>
                <a:gd name="connsiteX4" fmla="*/ 1743075 w 5105400"/>
                <a:gd name="connsiteY4" fmla="*/ 1533525 h 2966900"/>
                <a:gd name="connsiteX5" fmla="*/ 2305050 w 5105400"/>
                <a:gd name="connsiteY5" fmla="*/ 1143000 h 2966900"/>
                <a:gd name="connsiteX6" fmla="*/ 2943225 w 5105400"/>
                <a:gd name="connsiteY6" fmla="*/ 1371600 h 2966900"/>
                <a:gd name="connsiteX7" fmla="*/ 3248025 w 5105400"/>
                <a:gd name="connsiteY7" fmla="*/ 1171575 h 2966900"/>
                <a:gd name="connsiteX8" fmla="*/ 3524250 w 5105400"/>
                <a:gd name="connsiteY8" fmla="*/ 400050 h 2966900"/>
                <a:gd name="connsiteX9" fmla="*/ 3952875 w 5105400"/>
                <a:gd name="connsiteY9" fmla="*/ 142875 h 2966900"/>
                <a:gd name="connsiteX10" fmla="*/ 4152900 w 5105400"/>
                <a:gd name="connsiteY10" fmla="*/ 752475 h 2966900"/>
                <a:gd name="connsiteX11" fmla="*/ 4371975 w 5105400"/>
                <a:gd name="connsiteY11" fmla="*/ 904875 h 2966900"/>
                <a:gd name="connsiteX12" fmla="*/ 4781550 w 5105400"/>
                <a:gd name="connsiteY12" fmla="*/ 457200 h 2966900"/>
                <a:gd name="connsiteX13" fmla="*/ 5105400 w 5105400"/>
                <a:gd name="connsiteY13" fmla="*/ 0 h 2966900"/>
                <a:gd name="connsiteX0" fmla="*/ 0 w 5105400"/>
                <a:gd name="connsiteY0" fmla="*/ 2162175 h 2966900"/>
                <a:gd name="connsiteX1" fmla="*/ 628650 w 5105400"/>
                <a:gd name="connsiteY1" fmla="*/ 2428875 h 2966900"/>
                <a:gd name="connsiteX2" fmla="*/ 923925 w 5105400"/>
                <a:gd name="connsiteY2" fmla="*/ 2943225 h 2966900"/>
                <a:gd name="connsiteX3" fmla="*/ 1506855 w 5105400"/>
                <a:gd name="connsiteY3" fmla="*/ 2162175 h 2966900"/>
                <a:gd name="connsiteX4" fmla="*/ 1743075 w 5105400"/>
                <a:gd name="connsiteY4" fmla="*/ 1533525 h 2966900"/>
                <a:gd name="connsiteX5" fmla="*/ 2305050 w 5105400"/>
                <a:gd name="connsiteY5" fmla="*/ 1143000 h 2966900"/>
                <a:gd name="connsiteX6" fmla="*/ 2943225 w 5105400"/>
                <a:gd name="connsiteY6" fmla="*/ 1371600 h 2966900"/>
                <a:gd name="connsiteX7" fmla="*/ 3248025 w 5105400"/>
                <a:gd name="connsiteY7" fmla="*/ 1171575 h 2966900"/>
                <a:gd name="connsiteX8" fmla="*/ 3524250 w 5105400"/>
                <a:gd name="connsiteY8" fmla="*/ 400050 h 2966900"/>
                <a:gd name="connsiteX9" fmla="*/ 3952875 w 5105400"/>
                <a:gd name="connsiteY9" fmla="*/ 142875 h 2966900"/>
                <a:gd name="connsiteX10" fmla="*/ 4152900 w 5105400"/>
                <a:gd name="connsiteY10" fmla="*/ 752475 h 2966900"/>
                <a:gd name="connsiteX11" fmla="*/ 4371975 w 5105400"/>
                <a:gd name="connsiteY11" fmla="*/ 904875 h 2966900"/>
                <a:gd name="connsiteX12" fmla="*/ 4781550 w 5105400"/>
                <a:gd name="connsiteY12" fmla="*/ 457200 h 2966900"/>
                <a:gd name="connsiteX13" fmla="*/ 5105400 w 5105400"/>
                <a:gd name="connsiteY13" fmla="*/ 0 h 2966900"/>
                <a:gd name="connsiteX0" fmla="*/ 0 w 5105400"/>
                <a:gd name="connsiteY0" fmla="*/ 2162175 h 2966900"/>
                <a:gd name="connsiteX1" fmla="*/ 628650 w 5105400"/>
                <a:gd name="connsiteY1" fmla="*/ 2428875 h 2966900"/>
                <a:gd name="connsiteX2" fmla="*/ 923925 w 5105400"/>
                <a:gd name="connsiteY2" fmla="*/ 2943225 h 2966900"/>
                <a:gd name="connsiteX3" fmla="*/ 1506855 w 5105400"/>
                <a:gd name="connsiteY3" fmla="*/ 2162175 h 2966900"/>
                <a:gd name="connsiteX4" fmla="*/ 1743075 w 5105400"/>
                <a:gd name="connsiteY4" fmla="*/ 1533525 h 2966900"/>
                <a:gd name="connsiteX5" fmla="*/ 2305050 w 5105400"/>
                <a:gd name="connsiteY5" fmla="*/ 1143000 h 2966900"/>
                <a:gd name="connsiteX6" fmla="*/ 2943225 w 5105400"/>
                <a:gd name="connsiteY6" fmla="*/ 1371600 h 2966900"/>
                <a:gd name="connsiteX7" fmla="*/ 3248025 w 5105400"/>
                <a:gd name="connsiteY7" fmla="*/ 1171575 h 2966900"/>
                <a:gd name="connsiteX8" fmla="*/ 3524250 w 5105400"/>
                <a:gd name="connsiteY8" fmla="*/ 400050 h 2966900"/>
                <a:gd name="connsiteX9" fmla="*/ 3952875 w 5105400"/>
                <a:gd name="connsiteY9" fmla="*/ 142875 h 2966900"/>
                <a:gd name="connsiteX10" fmla="*/ 4152900 w 5105400"/>
                <a:gd name="connsiteY10" fmla="*/ 752475 h 2966900"/>
                <a:gd name="connsiteX11" fmla="*/ 4371975 w 5105400"/>
                <a:gd name="connsiteY11" fmla="*/ 904875 h 2966900"/>
                <a:gd name="connsiteX12" fmla="*/ 4781550 w 5105400"/>
                <a:gd name="connsiteY12" fmla="*/ 457200 h 2966900"/>
                <a:gd name="connsiteX13" fmla="*/ 5105400 w 5105400"/>
                <a:gd name="connsiteY13" fmla="*/ 0 h 2966900"/>
                <a:gd name="connsiteX0" fmla="*/ 0 w 5105400"/>
                <a:gd name="connsiteY0" fmla="*/ 2162175 h 2960561"/>
                <a:gd name="connsiteX1" fmla="*/ 628650 w 5105400"/>
                <a:gd name="connsiteY1" fmla="*/ 2428875 h 2960561"/>
                <a:gd name="connsiteX2" fmla="*/ 923925 w 5105400"/>
                <a:gd name="connsiteY2" fmla="*/ 2943225 h 2960561"/>
                <a:gd name="connsiteX3" fmla="*/ 1506855 w 5105400"/>
                <a:gd name="connsiteY3" fmla="*/ 2162175 h 2960561"/>
                <a:gd name="connsiteX4" fmla="*/ 1819275 w 5105400"/>
                <a:gd name="connsiteY4" fmla="*/ 1567815 h 2960561"/>
                <a:gd name="connsiteX5" fmla="*/ 2305050 w 5105400"/>
                <a:gd name="connsiteY5" fmla="*/ 1143000 h 2960561"/>
                <a:gd name="connsiteX6" fmla="*/ 2943225 w 5105400"/>
                <a:gd name="connsiteY6" fmla="*/ 1371600 h 2960561"/>
                <a:gd name="connsiteX7" fmla="*/ 3248025 w 5105400"/>
                <a:gd name="connsiteY7" fmla="*/ 1171575 h 2960561"/>
                <a:gd name="connsiteX8" fmla="*/ 3524250 w 5105400"/>
                <a:gd name="connsiteY8" fmla="*/ 400050 h 2960561"/>
                <a:gd name="connsiteX9" fmla="*/ 3952875 w 5105400"/>
                <a:gd name="connsiteY9" fmla="*/ 142875 h 2960561"/>
                <a:gd name="connsiteX10" fmla="*/ 4152900 w 5105400"/>
                <a:gd name="connsiteY10" fmla="*/ 752475 h 2960561"/>
                <a:gd name="connsiteX11" fmla="*/ 4371975 w 5105400"/>
                <a:gd name="connsiteY11" fmla="*/ 904875 h 2960561"/>
                <a:gd name="connsiteX12" fmla="*/ 4781550 w 5105400"/>
                <a:gd name="connsiteY12" fmla="*/ 457200 h 2960561"/>
                <a:gd name="connsiteX13" fmla="*/ 5105400 w 5105400"/>
                <a:gd name="connsiteY13" fmla="*/ 0 h 2960561"/>
                <a:gd name="connsiteX0" fmla="*/ 0 w 5105400"/>
                <a:gd name="connsiteY0" fmla="*/ 2162175 h 2960561"/>
                <a:gd name="connsiteX1" fmla="*/ 628650 w 5105400"/>
                <a:gd name="connsiteY1" fmla="*/ 2428875 h 2960561"/>
                <a:gd name="connsiteX2" fmla="*/ 923925 w 5105400"/>
                <a:gd name="connsiteY2" fmla="*/ 2943225 h 2960561"/>
                <a:gd name="connsiteX3" fmla="*/ 1506855 w 5105400"/>
                <a:gd name="connsiteY3" fmla="*/ 2162175 h 2960561"/>
                <a:gd name="connsiteX4" fmla="*/ 1819275 w 5105400"/>
                <a:gd name="connsiteY4" fmla="*/ 1567815 h 2960561"/>
                <a:gd name="connsiteX5" fmla="*/ 2305050 w 5105400"/>
                <a:gd name="connsiteY5" fmla="*/ 1143000 h 2960561"/>
                <a:gd name="connsiteX6" fmla="*/ 2943225 w 5105400"/>
                <a:gd name="connsiteY6" fmla="*/ 1371600 h 2960561"/>
                <a:gd name="connsiteX7" fmla="*/ 3248025 w 5105400"/>
                <a:gd name="connsiteY7" fmla="*/ 1171575 h 2960561"/>
                <a:gd name="connsiteX8" fmla="*/ 3524250 w 5105400"/>
                <a:gd name="connsiteY8" fmla="*/ 400050 h 2960561"/>
                <a:gd name="connsiteX9" fmla="*/ 3952875 w 5105400"/>
                <a:gd name="connsiteY9" fmla="*/ 142875 h 2960561"/>
                <a:gd name="connsiteX10" fmla="*/ 4152900 w 5105400"/>
                <a:gd name="connsiteY10" fmla="*/ 752475 h 2960561"/>
                <a:gd name="connsiteX11" fmla="*/ 4371975 w 5105400"/>
                <a:gd name="connsiteY11" fmla="*/ 904875 h 2960561"/>
                <a:gd name="connsiteX12" fmla="*/ 4781550 w 5105400"/>
                <a:gd name="connsiteY12" fmla="*/ 457200 h 2960561"/>
                <a:gd name="connsiteX13" fmla="*/ 5105400 w 5105400"/>
                <a:gd name="connsiteY13" fmla="*/ 0 h 2960561"/>
                <a:gd name="connsiteX0" fmla="*/ 0 w 5105400"/>
                <a:gd name="connsiteY0" fmla="*/ 2162175 h 2960076"/>
                <a:gd name="connsiteX1" fmla="*/ 628650 w 5105400"/>
                <a:gd name="connsiteY1" fmla="*/ 2428875 h 2960076"/>
                <a:gd name="connsiteX2" fmla="*/ 923925 w 5105400"/>
                <a:gd name="connsiteY2" fmla="*/ 2943225 h 2960076"/>
                <a:gd name="connsiteX3" fmla="*/ 1506855 w 5105400"/>
                <a:gd name="connsiteY3" fmla="*/ 2162175 h 2960076"/>
                <a:gd name="connsiteX4" fmla="*/ 1746885 w 5105400"/>
                <a:gd name="connsiteY4" fmla="*/ 1708785 h 2960076"/>
                <a:gd name="connsiteX5" fmla="*/ 2305050 w 5105400"/>
                <a:gd name="connsiteY5" fmla="*/ 1143000 h 2960076"/>
                <a:gd name="connsiteX6" fmla="*/ 2943225 w 5105400"/>
                <a:gd name="connsiteY6" fmla="*/ 1371600 h 2960076"/>
                <a:gd name="connsiteX7" fmla="*/ 3248025 w 5105400"/>
                <a:gd name="connsiteY7" fmla="*/ 1171575 h 2960076"/>
                <a:gd name="connsiteX8" fmla="*/ 3524250 w 5105400"/>
                <a:gd name="connsiteY8" fmla="*/ 400050 h 2960076"/>
                <a:gd name="connsiteX9" fmla="*/ 3952875 w 5105400"/>
                <a:gd name="connsiteY9" fmla="*/ 142875 h 2960076"/>
                <a:gd name="connsiteX10" fmla="*/ 4152900 w 5105400"/>
                <a:gd name="connsiteY10" fmla="*/ 752475 h 2960076"/>
                <a:gd name="connsiteX11" fmla="*/ 4371975 w 5105400"/>
                <a:gd name="connsiteY11" fmla="*/ 904875 h 2960076"/>
                <a:gd name="connsiteX12" fmla="*/ 4781550 w 5105400"/>
                <a:gd name="connsiteY12" fmla="*/ 457200 h 2960076"/>
                <a:gd name="connsiteX13" fmla="*/ 5105400 w 5105400"/>
                <a:gd name="connsiteY13" fmla="*/ 0 h 2960076"/>
                <a:gd name="connsiteX0" fmla="*/ 0 w 5105400"/>
                <a:gd name="connsiteY0" fmla="*/ 2162175 h 2962195"/>
                <a:gd name="connsiteX1" fmla="*/ 628650 w 5105400"/>
                <a:gd name="connsiteY1" fmla="*/ 2428875 h 2962195"/>
                <a:gd name="connsiteX2" fmla="*/ 923925 w 5105400"/>
                <a:gd name="connsiteY2" fmla="*/ 2943225 h 2962195"/>
                <a:gd name="connsiteX3" fmla="*/ 1506855 w 5105400"/>
                <a:gd name="connsiteY3" fmla="*/ 2162175 h 2962195"/>
                <a:gd name="connsiteX4" fmla="*/ 2305050 w 5105400"/>
                <a:gd name="connsiteY4" fmla="*/ 1143000 h 2962195"/>
                <a:gd name="connsiteX5" fmla="*/ 2943225 w 5105400"/>
                <a:gd name="connsiteY5" fmla="*/ 1371600 h 2962195"/>
                <a:gd name="connsiteX6" fmla="*/ 3248025 w 5105400"/>
                <a:gd name="connsiteY6" fmla="*/ 1171575 h 2962195"/>
                <a:gd name="connsiteX7" fmla="*/ 3524250 w 5105400"/>
                <a:gd name="connsiteY7" fmla="*/ 400050 h 2962195"/>
                <a:gd name="connsiteX8" fmla="*/ 3952875 w 5105400"/>
                <a:gd name="connsiteY8" fmla="*/ 142875 h 2962195"/>
                <a:gd name="connsiteX9" fmla="*/ 4152900 w 5105400"/>
                <a:gd name="connsiteY9" fmla="*/ 752475 h 2962195"/>
                <a:gd name="connsiteX10" fmla="*/ 4371975 w 5105400"/>
                <a:gd name="connsiteY10" fmla="*/ 904875 h 2962195"/>
                <a:gd name="connsiteX11" fmla="*/ 4781550 w 5105400"/>
                <a:gd name="connsiteY11" fmla="*/ 457200 h 2962195"/>
                <a:gd name="connsiteX12" fmla="*/ 5105400 w 5105400"/>
                <a:gd name="connsiteY12" fmla="*/ 0 h 2962195"/>
                <a:gd name="connsiteX0" fmla="*/ 0 w 5105400"/>
                <a:gd name="connsiteY0" fmla="*/ 2162175 h 2962586"/>
                <a:gd name="connsiteX1" fmla="*/ 628650 w 5105400"/>
                <a:gd name="connsiteY1" fmla="*/ 2428875 h 2962586"/>
                <a:gd name="connsiteX2" fmla="*/ 923925 w 5105400"/>
                <a:gd name="connsiteY2" fmla="*/ 2943225 h 2962586"/>
                <a:gd name="connsiteX3" fmla="*/ 1506855 w 5105400"/>
                <a:gd name="connsiteY3" fmla="*/ 2162175 h 2962586"/>
                <a:gd name="connsiteX4" fmla="*/ 2305050 w 5105400"/>
                <a:gd name="connsiteY4" fmla="*/ 1143000 h 2962586"/>
                <a:gd name="connsiteX5" fmla="*/ 2943225 w 5105400"/>
                <a:gd name="connsiteY5" fmla="*/ 1371600 h 2962586"/>
                <a:gd name="connsiteX6" fmla="*/ 3248025 w 5105400"/>
                <a:gd name="connsiteY6" fmla="*/ 1171575 h 2962586"/>
                <a:gd name="connsiteX7" fmla="*/ 3524250 w 5105400"/>
                <a:gd name="connsiteY7" fmla="*/ 400050 h 2962586"/>
                <a:gd name="connsiteX8" fmla="*/ 3952875 w 5105400"/>
                <a:gd name="connsiteY8" fmla="*/ 142875 h 2962586"/>
                <a:gd name="connsiteX9" fmla="*/ 4152900 w 5105400"/>
                <a:gd name="connsiteY9" fmla="*/ 752475 h 2962586"/>
                <a:gd name="connsiteX10" fmla="*/ 4371975 w 5105400"/>
                <a:gd name="connsiteY10" fmla="*/ 904875 h 2962586"/>
                <a:gd name="connsiteX11" fmla="*/ 4781550 w 5105400"/>
                <a:gd name="connsiteY11" fmla="*/ 457200 h 2962586"/>
                <a:gd name="connsiteX12" fmla="*/ 5105400 w 5105400"/>
                <a:gd name="connsiteY12" fmla="*/ 0 h 2962586"/>
                <a:gd name="connsiteX0" fmla="*/ 0 w 5105400"/>
                <a:gd name="connsiteY0" fmla="*/ 2162175 h 2895240"/>
                <a:gd name="connsiteX1" fmla="*/ 628650 w 5105400"/>
                <a:gd name="connsiteY1" fmla="*/ 2428875 h 2895240"/>
                <a:gd name="connsiteX2" fmla="*/ 1045845 w 5105400"/>
                <a:gd name="connsiteY2" fmla="*/ 2874645 h 2895240"/>
                <a:gd name="connsiteX3" fmla="*/ 1506855 w 5105400"/>
                <a:gd name="connsiteY3" fmla="*/ 2162175 h 2895240"/>
                <a:gd name="connsiteX4" fmla="*/ 2305050 w 5105400"/>
                <a:gd name="connsiteY4" fmla="*/ 1143000 h 2895240"/>
                <a:gd name="connsiteX5" fmla="*/ 2943225 w 5105400"/>
                <a:gd name="connsiteY5" fmla="*/ 1371600 h 2895240"/>
                <a:gd name="connsiteX6" fmla="*/ 3248025 w 5105400"/>
                <a:gd name="connsiteY6" fmla="*/ 1171575 h 2895240"/>
                <a:gd name="connsiteX7" fmla="*/ 3524250 w 5105400"/>
                <a:gd name="connsiteY7" fmla="*/ 400050 h 2895240"/>
                <a:gd name="connsiteX8" fmla="*/ 3952875 w 5105400"/>
                <a:gd name="connsiteY8" fmla="*/ 142875 h 2895240"/>
                <a:gd name="connsiteX9" fmla="*/ 4152900 w 5105400"/>
                <a:gd name="connsiteY9" fmla="*/ 752475 h 2895240"/>
                <a:gd name="connsiteX10" fmla="*/ 4371975 w 5105400"/>
                <a:gd name="connsiteY10" fmla="*/ 904875 h 2895240"/>
                <a:gd name="connsiteX11" fmla="*/ 4781550 w 5105400"/>
                <a:gd name="connsiteY11" fmla="*/ 457200 h 2895240"/>
                <a:gd name="connsiteX12" fmla="*/ 5105400 w 5105400"/>
                <a:gd name="connsiteY12" fmla="*/ 0 h 2895240"/>
                <a:gd name="connsiteX0" fmla="*/ 0 w 5105400"/>
                <a:gd name="connsiteY0" fmla="*/ 2162175 h 2881333"/>
                <a:gd name="connsiteX1" fmla="*/ 628650 w 5105400"/>
                <a:gd name="connsiteY1" fmla="*/ 2428875 h 2881333"/>
                <a:gd name="connsiteX2" fmla="*/ 1045845 w 5105400"/>
                <a:gd name="connsiteY2" fmla="*/ 2874645 h 2881333"/>
                <a:gd name="connsiteX3" fmla="*/ 1506855 w 5105400"/>
                <a:gd name="connsiteY3" fmla="*/ 2162175 h 2881333"/>
                <a:gd name="connsiteX4" fmla="*/ 2305050 w 5105400"/>
                <a:gd name="connsiteY4" fmla="*/ 1143000 h 2881333"/>
                <a:gd name="connsiteX5" fmla="*/ 2943225 w 5105400"/>
                <a:gd name="connsiteY5" fmla="*/ 1371600 h 2881333"/>
                <a:gd name="connsiteX6" fmla="*/ 3248025 w 5105400"/>
                <a:gd name="connsiteY6" fmla="*/ 1171575 h 2881333"/>
                <a:gd name="connsiteX7" fmla="*/ 3524250 w 5105400"/>
                <a:gd name="connsiteY7" fmla="*/ 400050 h 2881333"/>
                <a:gd name="connsiteX8" fmla="*/ 3952875 w 5105400"/>
                <a:gd name="connsiteY8" fmla="*/ 142875 h 2881333"/>
                <a:gd name="connsiteX9" fmla="*/ 4152900 w 5105400"/>
                <a:gd name="connsiteY9" fmla="*/ 752475 h 2881333"/>
                <a:gd name="connsiteX10" fmla="*/ 4371975 w 5105400"/>
                <a:gd name="connsiteY10" fmla="*/ 904875 h 2881333"/>
                <a:gd name="connsiteX11" fmla="*/ 4781550 w 5105400"/>
                <a:gd name="connsiteY11" fmla="*/ 457200 h 2881333"/>
                <a:gd name="connsiteX12" fmla="*/ 5105400 w 5105400"/>
                <a:gd name="connsiteY12" fmla="*/ 0 h 2881333"/>
                <a:gd name="connsiteX0" fmla="*/ 0 w 5105400"/>
                <a:gd name="connsiteY0" fmla="*/ 2162175 h 2874689"/>
                <a:gd name="connsiteX1" fmla="*/ 628650 w 5105400"/>
                <a:gd name="connsiteY1" fmla="*/ 2428875 h 2874689"/>
                <a:gd name="connsiteX2" fmla="*/ 1045845 w 5105400"/>
                <a:gd name="connsiteY2" fmla="*/ 2874645 h 2874689"/>
                <a:gd name="connsiteX3" fmla="*/ 1506855 w 5105400"/>
                <a:gd name="connsiteY3" fmla="*/ 2162175 h 2874689"/>
                <a:gd name="connsiteX4" fmla="*/ 2305050 w 5105400"/>
                <a:gd name="connsiteY4" fmla="*/ 1143000 h 2874689"/>
                <a:gd name="connsiteX5" fmla="*/ 2943225 w 5105400"/>
                <a:gd name="connsiteY5" fmla="*/ 1371600 h 2874689"/>
                <a:gd name="connsiteX6" fmla="*/ 3248025 w 5105400"/>
                <a:gd name="connsiteY6" fmla="*/ 1171575 h 2874689"/>
                <a:gd name="connsiteX7" fmla="*/ 3524250 w 5105400"/>
                <a:gd name="connsiteY7" fmla="*/ 400050 h 2874689"/>
                <a:gd name="connsiteX8" fmla="*/ 3952875 w 5105400"/>
                <a:gd name="connsiteY8" fmla="*/ 142875 h 2874689"/>
                <a:gd name="connsiteX9" fmla="*/ 4152900 w 5105400"/>
                <a:gd name="connsiteY9" fmla="*/ 752475 h 2874689"/>
                <a:gd name="connsiteX10" fmla="*/ 4371975 w 5105400"/>
                <a:gd name="connsiteY10" fmla="*/ 904875 h 2874689"/>
                <a:gd name="connsiteX11" fmla="*/ 4781550 w 5105400"/>
                <a:gd name="connsiteY11" fmla="*/ 457200 h 2874689"/>
                <a:gd name="connsiteX12" fmla="*/ 5105400 w 5105400"/>
                <a:gd name="connsiteY12" fmla="*/ 0 h 2874689"/>
                <a:gd name="connsiteX0" fmla="*/ 0 w 5105400"/>
                <a:gd name="connsiteY0" fmla="*/ 2162175 h 2806116"/>
                <a:gd name="connsiteX1" fmla="*/ 628650 w 5105400"/>
                <a:gd name="connsiteY1" fmla="*/ 2428875 h 2806116"/>
                <a:gd name="connsiteX2" fmla="*/ 1042035 w 5105400"/>
                <a:gd name="connsiteY2" fmla="*/ 2806065 h 2806116"/>
                <a:gd name="connsiteX3" fmla="*/ 1506855 w 5105400"/>
                <a:gd name="connsiteY3" fmla="*/ 2162175 h 2806116"/>
                <a:gd name="connsiteX4" fmla="*/ 2305050 w 5105400"/>
                <a:gd name="connsiteY4" fmla="*/ 1143000 h 2806116"/>
                <a:gd name="connsiteX5" fmla="*/ 2943225 w 5105400"/>
                <a:gd name="connsiteY5" fmla="*/ 1371600 h 2806116"/>
                <a:gd name="connsiteX6" fmla="*/ 3248025 w 5105400"/>
                <a:gd name="connsiteY6" fmla="*/ 1171575 h 2806116"/>
                <a:gd name="connsiteX7" fmla="*/ 3524250 w 5105400"/>
                <a:gd name="connsiteY7" fmla="*/ 400050 h 2806116"/>
                <a:gd name="connsiteX8" fmla="*/ 3952875 w 5105400"/>
                <a:gd name="connsiteY8" fmla="*/ 142875 h 2806116"/>
                <a:gd name="connsiteX9" fmla="*/ 4152900 w 5105400"/>
                <a:gd name="connsiteY9" fmla="*/ 752475 h 2806116"/>
                <a:gd name="connsiteX10" fmla="*/ 4371975 w 5105400"/>
                <a:gd name="connsiteY10" fmla="*/ 904875 h 2806116"/>
                <a:gd name="connsiteX11" fmla="*/ 4781550 w 5105400"/>
                <a:gd name="connsiteY11" fmla="*/ 457200 h 2806116"/>
                <a:gd name="connsiteX12" fmla="*/ 5105400 w 5105400"/>
                <a:gd name="connsiteY12" fmla="*/ 0 h 2806116"/>
                <a:gd name="connsiteX0" fmla="*/ 0 w 5105400"/>
                <a:gd name="connsiteY0" fmla="*/ 2162175 h 2806068"/>
                <a:gd name="connsiteX1" fmla="*/ 628650 w 5105400"/>
                <a:gd name="connsiteY1" fmla="*/ 2428875 h 2806068"/>
                <a:gd name="connsiteX2" fmla="*/ 1042035 w 5105400"/>
                <a:gd name="connsiteY2" fmla="*/ 2806065 h 2806068"/>
                <a:gd name="connsiteX3" fmla="*/ 1506855 w 5105400"/>
                <a:gd name="connsiteY3" fmla="*/ 2162175 h 2806068"/>
                <a:gd name="connsiteX4" fmla="*/ 2305050 w 5105400"/>
                <a:gd name="connsiteY4" fmla="*/ 1143000 h 2806068"/>
                <a:gd name="connsiteX5" fmla="*/ 2943225 w 5105400"/>
                <a:gd name="connsiteY5" fmla="*/ 1371600 h 2806068"/>
                <a:gd name="connsiteX6" fmla="*/ 3248025 w 5105400"/>
                <a:gd name="connsiteY6" fmla="*/ 1171575 h 2806068"/>
                <a:gd name="connsiteX7" fmla="*/ 3524250 w 5105400"/>
                <a:gd name="connsiteY7" fmla="*/ 400050 h 2806068"/>
                <a:gd name="connsiteX8" fmla="*/ 3952875 w 5105400"/>
                <a:gd name="connsiteY8" fmla="*/ 142875 h 2806068"/>
                <a:gd name="connsiteX9" fmla="*/ 4152900 w 5105400"/>
                <a:gd name="connsiteY9" fmla="*/ 752475 h 2806068"/>
                <a:gd name="connsiteX10" fmla="*/ 4371975 w 5105400"/>
                <a:gd name="connsiteY10" fmla="*/ 904875 h 2806068"/>
                <a:gd name="connsiteX11" fmla="*/ 4781550 w 5105400"/>
                <a:gd name="connsiteY11" fmla="*/ 457200 h 2806068"/>
                <a:gd name="connsiteX12" fmla="*/ 5105400 w 5105400"/>
                <a:gd name="connsiteY12" fmla="*/ 0 h 2806068"/>
                <a:gd name="connsiteX0" fmla="*/ 0 w 5105400"/>
                <a:gd name="connsiteY0" fmla="*/ 2162175 h 2807865"/>
                <a:gd name="connsiteX1" fmla="*/ 476250 w 5105400"/>
                <a:gd name="connsiteY1" fmla="*/ 2348865 h 2807865"/>
                <a:gd name="connsiteX2" fmla="*/ 1042035 w 5105400"/>
                <a:gd name="connsiteY2" fmla="*/ 2806065 h 2807865"/>
                <a:gd name="connsiteX3" fmla="*/ 1506855 w 5105400"/>
                <a:gd name="connsiteY3" fmla="*/ 2162175 h 2807865"/>
                <a:gd name="connsiteX4" fmla="*/ 2305050 w 5105400"/>
                <a:gd name="connsiteY4" fmla="*/ 1143000 h 2807865"/>
                <a:gd name="connsiteX5" fmla="*/ 2943225 w 5105400"/>
                <a:gd name="connsiteY5" fmla="*/ 1371600 h 2807865"/>
                <a:gd name="connsiteX6" fmla="*/ 3248025 w 5105400"/>
                <a:gd name="connsiteY6" fmla="*/ 1171575 h 2807865"/>
                <a:gd name="connsiteX7" fmla="*/ 3524250 w 5105400"/>
                <a:gd name="connsiteY7" fmla="*/ 400050 h 2807865"/>
                <a:gd name="connsiteX8" fmla="*/ 3952875 w 5105400"/>
                <a:gd name="connsiteY8" fmla="*/ 142875 h 2807865"/>
                <a:gd name="connsiteX9" fmla="*/ 4152900 w 5105400"/>
                <a:gd name="connsiteY9" fmla="*/ 752475 h 2807865"/>
                <a:gd name="connsiteX10" fmla="*/ 4371975 w 5105400"/>
                <a:gd name="connsiteY10" fmla="*/ 904875 h 2807865"/>
                <a:gd name="connsiteX11" fmla="*/ 4781550 w 5105400"/>
                <a:gd name="connsiteY11" fmla="*/ 457200 h 2807865"/>
                <a:gd name="connsiteX12" fmla="*/ 5105400 w 5105400"/>
                <a:gd name="connsiteY12" fmla="*/ 0 h 2807865"/>
                <a:gd name="connsiteX0" fmla="*/ 0 w 5105400"/>
                <a:gd name="connsiteY0" fmla="*/ 2162175 h 2807664"/>
                <a:gd name="connsiteX1" fmla="*/ 476250 w 5105400"/>
                <a:gd name="connsiteY1" fmla="*/ 2348865 h 2807664"/>
                <a:gd name="connsiteX2" fmla="*/ 1042035 w 5105400"/>
                <a:gd name="connsiteY2" fmla="*/ 2806065 h 2807664"/>
                <a:gd name="connsiteX3" fmla="*/ 1663065 w 5105400"/>
                <a:gd name="connsiteY3" fmla="*/ 2173605 h 2807664"/>
                <a:gd name="connsiteX4" fmla="*/ 2305050 w 5105400"/>
                <a:gd name="connsiteY4" fmla="*/ 1143000 h 2807664"/>
                <a:gd name="connsiteX5" fmla="*/ 2943225 w 5105400"/>
                <a:gd name="connsiteY5" fmla="*/ 1371600 h 2807664"/>
                <a:gd name="connsiteX6" fmla="*/ 3248025 w 5105400"/>
                <a:gd name="connsiteY6" fmla="*/ 1171575 h 2807664"/>
                <a:gd name="connsiteX7" fmla="*/ 3524250 w 5105400"/>
                <a:gd name="connsiteY7" fmla="*/ 400050 h 2807664"/>
                <a:gd name="connsiteX8" fmla="*/ 3952875 w 5105400"/>
                <a:gd name="connsiteY8" fmla="*/ 142875 h 2807664"/>
                <a:gd name="connsiteX9" fmla="*/ 4152900 w 5105400"/>
                <a:gd name="connsiteY9" fmla="*/ 752475 h 2807664"/>
                <a:gd name="connsiteX10" fmla="*/ 4371975 w 5105400"/>
                <a:gd name="connsiteY10" fmla="*/ 904875 h 2807664"/>
                <a:gd name="connsiteX11" fmla="*/ 4781550 w 5105400"/>
                <a:gd name="connsiteY11" fmla="*/ 457200 h 2807664"/>
                <a:gd name="connsiteX12" fmla="*/ 5105400 w 5105400"/>
                <a:gd name="connsiteY12" fmla="*/ 0 h 2807664"/>
                <a:gd name="connsiteX0" fmla="*/ 0 w 5105400"/>
                <a:gd name="connsiteY0" fmla="*/ 2162175 h 2807664"/>
                <a:gd name="connsiteX1" fmla="*/ 476250 w 5105400"/>
                <a:gd name="connsiteY1" fmla="*/ 2348865 h 2807664"/>
                <a:gd name="connsiteX2" fmla="*/ 1042035 w 5105400"/>
                <a:gd name="connsiteY2" fmla="*/ 2806065 h 2807664"/>
                <a:gd name="connsiteX3" fmla="*/ 1663065 w 5105400"/>
                <a:gd name="connsiteY3" fmla="*/ 2173605 h 2807664"/>
                <a:gd name="connsiteX4" fmla="*/ 2331720 w 5105400"/>
                <a:gd name="connsiteY4" fmla="*/ 1272540 h 2807664"/>
                <a:gd name="connsiteX5" fmla="*/ 2943225 w 5105400"/>
                <a:gd name="connsiteY5" fmla="*/ 1371600 h 2807664"/>
                <a:gd name="connsiteX6" fmla="*/ 3248025 w 5105400"/>
                <a:gd name="connsiteY6" fmla="*/ 1171575 h 2807664"/>
                <a:gd name="connsiteX7" fmla="*/ 3524250 w 5105400"/>
                <a:gd name="connsiteY7" fmla="*/ 400050 h 2807664"/>
                <a:gd name="connsiteX8" fmla="*/ 3952875 w 5105400"/>
                <a:gd name="connsiteY8" fmla="*/ 142875 h 2807664"/>
                <a:gd name="connsiteX9" fmla="*/ 4152900 w 5105400"/>
                <a:gd name="connsiteY9" fmla="*/ 752475 h 2807664"/>
                <a:gd name="connsiteX10" fmla="*/ 4371975 w 5105400"/>
                <a:gd name="connsiteY10" fmla="*/ 904875 h 2807664"/>
                <a:gd name="connsiteX11" fmla="*/ 4781550 w 5105400"/>
                <a:gd name="connsiteY11" fmla="*/ 457200 h 2807664"/>
                <a:gd name="connsiteX12" fmla="*/ 5105400 w 5105400"/>
                <a:gd name="connsiteY12" fmla="*/ 0 h 2807664"/>
                <a:gd name="connsiteX0" fmla="*/ 0 w 5105400"/>
                <a:gd name="connsiteY0" fmla="*/ 2162175 h 2807664"/>
                <a:gd name="connsiteX1" fmla="*/ 476250 w 5105400"/>
                <a:gd name="connsiteY1" fmla="*/ 2348865 h 2807664"/>
                <a:gd name="connsiteX2" fmla="*/ 1042035 w 5105400"/>
                <a:gd name="connsiteY2" fmla="*/ 2806065 h 2807664"/>
                <a:gd name="connsiteX3" fmla="*/ 1663065 w 5105400"/>
                <a:gd name="connsiteY3" fmla="*/ 2173605 h 2807664"/>
                <a:gd name="connsiteX4" fmla="*/ 2331720 w 5105400"/>
                <a:gd name="connsiteY4" fmla="*/ 1272540 h 2807664"/>
                <a:gd name="connsiteX5" fmla="*/ 2943225 w 5105400"/>
                <a:gd name="connsiteY5" fmla="*/ 1371600 h 2807664"/>
                <a:gd name="connsiteX6" fmla="*/ 3248025 w 5105400"/>
                <a:gd name="connsiteY6" fmla="*/ 1171575 h 2807664"/>
                <a:gd name="connsiteX7" fmla="*/ 3524250 w 5105400"/>
                <a:gd name="connsiteY7" fmla="*/ 400050 h 2807664"/>
                <a:gd name="connsiteX8" fmla="*/ 3952875 w 5105400"/>
                <a:gd name="connsiteY8" fmla="*/ 142875 h 2807664"/>
                <a:gd name="connsiteX9" fmla="*/ 4152900 w 5105400"/>
                <a:gd name="connsiteY9" fmla="*/ 752475 h 2807664"/>
                <a:gd name="connsiteX10" fmla="*/ 4371975 w 5105400"/>
                <a:gd name="connsiteY10" fmla="*/ 904875 h 2807664"/>
                <a:gd name="connsiteX11" fmla="*/ 4781550 w 5105400"/>
                <a:gd name="connsiteY11" fmla="*/ 457200 h 2807664"/>
                <a:gd name="connsiteX12" fmla="*/ 5105400 w 5105400"/>
                <a:gd name="connsiteY12" fmla="*/ 0 h 2807664"/>
                <a:gd name="connsiteX0" fmla="*/ 0 w 5105400"/>
                <a:gd name="connsiteY0" fmla="*/ 2162175 h 2807664"/>
                <a:gd name="connsiteX1" fmla="*/ 476250 w 5105400"/>
                <a:gd name="connsiteY1" fmla="*/ 2348865 h 2807664"/>
                <a:gd name="connsiteX2" fmla="*/ 1042035 w 5105400"/>
                <a:gd name="connsiteY2" fmla="*/ 2806065 h 2807664"/>
                <a:gd name="connsiteX3" fmla="*/ 1663065 w 5105400"/>
                <a:gd name="connsiteY3" fmla="*/ 2173605 h 2807664"/>
                <a:gd name="connsiteX4" fmla="*/ 2331720 w 5105400"/>
                <a:gd name="connsiteY4" fmla="*/ 1272540 h 2807664"/>
                <a:gd name="connsiteX5" fmla="*/ 2947035 w 5105400"/>
                <a:gd name="connsiteY5" fmla="*/ 1573530 h 2807664"/>
                <a:gd name="connsiteX6" fmla="*/ 3248025 w 5105400"/>
                <a:gd name="connsiteY6" fmla="*/ 1171575 h 2807664"/>
                <a:gd name="connsiteX7" fmla="*/ 3524250 w 5105400"/>
                <a:gd name="connsiteY7" fmla="*/ 400050 h 2807664"/>
                <a:gd name="connsiteX8" fmla="*/ 3952875 w 5105400"/>
                <a:gd name="connsiteY8" fmla="*/ 142875 h 2807664"/>
                <a:gd name="connsiteX9" fmla="*/ 4152900 w 5105400"/>
                <a:gd name="connsiteY9" fmla="*/ 752475 h 2807664"/>
                <a:gd name="connsiteX10" fmla="*/ 4371975 w 5105400"/>
                <a:gd name="connsiteY10" fmla="*/ 904875 h 2807664"/>
                <a:gd name="connsiteX11" fmla="*/ 4781550 w 5105400"/>
                <a:gd name="connsiteY11" fmla="*/ 457200 h 2807664"/>
                <a:gd name="connsiteX12" fmla="*/ 5105400 w 5105400"/>
                <a:gd name="connsiteY12" fmla="*/ 0 h 2807664"/>
                <a:gd name="connsiteX0" fmla="*/ 0 w 5105400"/>
                <a:gd name="connsiteY0" fmla="*/ 2162175 h 2807664"/>
                <a:gd name="connsiteX1" fmla="*/ 476250 w 5105400"/>
                <a:gd name="connsiteY1" fmla="*/ 2348865 h 2807664"/>
                <a:gd name="connsiteX2" fmla="*/ 1042035 w 5105400"/>
                <a:gd name="connsiteY2" fmla="*/ 2806065 h 2807664"/>
                <a:gd name="connsiteX3" fmla="*/ 1663065 w 5105400"/>
                <a:gd name="connsiteY3" fmla="*/ 2173605 h 2807664"/>
                <a:gd name="connsiteX4" fmla="*/ 2331720 w 5105400"/>
                <a:gd name="connsiteY4" fmla="*/ 1272540 h 2807664"/>
                <a:gd name="connsiteX5" fmla="*/ 2947035 w 5105400"/>
                <a:gd name="connsiteY5" fmla="*/ 1642110 h 2807664"/>
                <a:gd name="connsiteX6" fmla="*/ 3248025 w 5105400"/>
                <a:gd name="connsiteY6" fmla="*/ 1171575 h 2807664"/>
                <a:gd name="connsiteX7" fmla="*/ 3524250 w 5105400"/>
                <a:gd name="connsiteY7" fmla="*/ 400050 h 2807664"/>
                <a:gd name="connsiteX8" fmla="*/ 3952875 w 5105400"/>
                <a:gd name="connsiteY8" fmla="*/ 142875 h 2807664"/>
                <a:gd name="connsiteX9" fmla="*/ 4152900 w 5105400"/>
                <a:gd name="connsiteY9" fmla="*/ 752475 h 2807664"/>
                <a:gd name="connsiteX10" fmla="*/ 4371975 w 5105400"/>
                <a:gd name="connsiteY10" fmla="*/ 904875 h 2807664"/>
                <a:gd name="connsiteX11" fmla="*/ 4781550 w 5105400"/>
                <a:gd name="connsiteY11" fmla="*/ 457200 h 2807664"/>
                <a:gd name="connsiteX12" fmla="*/ 5105400 w 5105400"/>
                <a:gd name="connsiteY12" fmla="*/ 0 h 2807664"/>
                <a:gd name="connsiteX0" fmla="*/ 0 w 5105400"/>
                <a:gd name="connsiteY0" fmla="*/ 2162175 h 2807664"/>
                <a:gd name="connsiteX1" fmla="*/ 476250 w 5105400"/>
                <a:gd name="connsiteY1" fmla="*/ 2348865 h 2807664"/>
                <a:gd name="connsiteX2" fmla="*/ 1042035 w 5105400"/>
                <a:gd name="connsiteY2" fmla="*/ 2806065 h 2807664"/>
                <a:gd name="connsiteX3" fmla="*/ 1663065 w 5105400"/>
                <a:gd name="connsiteY3" fmla="*/ 2173605 h 2807664"/>
                <a:gd name="connsiteX4" fmla="*/ 2331720 w 5105400"/>
                <a:gd name="connsiteY4" fmla="*/ 1272540 h 2807664"/>
                <a:gd name="connsiteX5" fmla="*/ 2947035 w 5105400"/>
                <a:gd name="connsiteY5" fmla="*/ 1642110 h 2807664"/>
                <a:gd name="connsiteX6" fmla="*/ 3248025 w 5105400"/>
                <a:gd name="connsiteY6" fmla="*/ 1171575 h 2807664"/>
                <a:gd name="connsiteX7" fmla="*/ 3524250 w 5105400"/>
                <a:gd name="connsiteY7" fmla="*/ 400050 h 2807664"/>
                <a:gd name="connsiteX8" fmla="*/ 3952875 w 5105400"/>
                <a:gd name="connsiteY8" fmla="*/ 142875 h 2807664"/>
                <a:gd name="connsiteX9" fmla="*/ 4152900 w 5105400"/>
                <a:gd name="connsiteY9" fmla="*/ 752475 h 2807664"/>
                <a:gd name="connsiteX10" fmla="*/ 4371975 w 5105400"/>
                <a:gd name="connsiteY10" fmla="*/ 904875 h 2807664"/>
                <a:gd name="connsiteX11" fmla="*/ 4781550 w 5105400"/>
                <a:gd name="connsiteY11" fmla="*/ 457200 h 2807664"/>
                <a:gd name="connsiteX12" fmla="*/ 5105400 w 5105400"/>
                <a:gd name="connsiteY12" fmla="*/ 0 h 2807664"/>
                <a:gd name="connsiteX0" fmla="*/ 0 w 5105400"/>
                <a:gd name="connsiteY0" fmla="*/ 2162175 h 2807664"/>
                <a:gd name="connsiteX1" fmla="*/ 476250 w 5105400"/>
                <a:gd name="connsiteY1" fmla="*/ 2348865 h 2807664"/>
                <a:gd name="connsiteX2" fmla="*/ 1042035 w 5105400"/>
                <a:gd name="connsiteY2" fmla="*/ 2806065 h 2807664"/>
                <a:gd name="connsiteX3" fmla="*/ 1663065 w 5105400"/>
                <a:gd name="connsiteY3" fmla="*/ 2173605 h 2807664"/>
                <a:gd name="connsiteX4" fmla="*/ 2335530 w 5105400"/>
                <a:gd name="connsiteY4" fmla="*/ 1116330 h 2807664"/>
                <a:gd name="connsiteX5" fmla="*/ 2947035 w 5105400"/>
                <a:gd name="connsiteY5" fmla="*/ 1642110 h 2807664"/>
                <a:gd name="connsiteX6" fmla="*/ 3248025 w 5105400"/>
                <a:gd name="connsiteY6" fmla="*/ 1171575 h 2807664"/>
                <a:gd name="connsiteX7" fmla="*/ 3524250 w 5105400"/>
                <a:gd name="connsiteY7" fmla="*/ 400050 h 2807664"/>
                <a:gd name="connsiteX8" fmla="*/ 3952875 w 5105400"/>
                <a:gd name="connsiteY8" fmla="*/ 142875 h 2807664"/>
                <a:gd name="connsiteX9" fmla="*/ 4152900 w 5105400"/>
                <a:gd name="connsiteY9" fmla="*/ 752475 h 2807664"/>
                <a:gd name="connsiteX10" fmla="*/ 4371975 w 5105400"/>
                <a:gd name="connsiteY10" fmla="*/ 904875 h 2807664"/>
                <a:gd name="connsiteX11" fmla="*/ 4781550 w 5105400"/>
                <a:gd name="connsiteY11" fmla="*/ 457200 h 2807664"/>
                <a:gd name="connsiteX12" fmla="*/ 5105400 w 5105400"/>
                <a:gd name="connsiteY12" fmla="*/ 0 h 2807664"/>
                <a:gd name="connsiteX0" fmla="*/ 0 w 5105400"/>
                <a:gd name="connsiteY0" fmla="*/ 2162175 h 2807664"/>
                <a:gd name="connsiteX1" fmla="*/ 476250 w 5105400"/>
                <a:gd name="connsiteY1" fmla="*/ 2348865 h 2807664"/>
                <a:gd name="connsiteX2" fmla="*/ 1042035 w 5105400"/>
                <a:gd name="connsiteY2" fmla="*/ 2806065 h 2807664"/>
                <a:gd name="connsiteX3" fmla="*/ 1663065 w 5105400"/>
                <a:gd name="connsiteY3" fmla="*/ 2173605 h 2807664"/>
                <a:gd name="connsiteX4" fmla="*/ 2335530 w 5105400"/>
                <a:gd name="connsiteY4" fmla="*/ 1283970 h 2807664"/>
                <a:gd name="connsiteX5" fmla="*/ 2947035 w 5105400"/>
                <a:gd name="connsiteY5" fmla="*/ 1642110 h 2807664"/>
                <a:gd name="connsiteX6" fmla="*/ 3248025 w 5105400"/>
                <a:gd name="connsiteY6" fmla="*/ 1171575 h 2807664"/>
                <a:gd name="connsiteX7" fmla="*/ 3524250 w 5105400"/>
                <a:gd name="connsiteY7" fmla="*/ 400050 h 2807664"/>
                <a:gd name="connsiteX8" fmla="*/ 3952875 w 5105400"/>
                <a:gd name="connsiteY8" fmla="*/ 142875 h 2807664"/>
                <a:gd name="connsiteX9" fmla="*/ 4152900 w 5105400"/>
                <a:gd name="connsiteY9" fmla="*/ 752475 h 2807664"/>
                <a:gd name="connsiteX10" fmla="*/ 4371975 w 5105400"/>
                <a:gd name="connsiteY10" fmla="*/ 904875 h 2807664"/>
                <a:gd name="connsiteX11" fmla="*/ 4781550 w 5105400"/>
                <a:gd name="connsiteY11" fmla="*/ 457200 h 2807664"/>
                <a:gd name="connsiteX12" fmla="*/ 5105400 w 5105400"/>
                <a:gd name="connsiteY12" fmla="*/ 0 h 2807664"/>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335530 w 5105400"/>
                <a:gd name="connsiteY4" fmla="*/ 1283970 h 2808607"/>
                <a:gd name="connsiteX5" fmla="*/ 2947035 w 5105400"/>
                <a:gd name="connsiteY5" fmla="*/ 1642110 h 2808607"/>
                <a:gd name="connsiteX6" fmla="*/ 3248025 w 5105400"/>
                <a:gd name="connsiteY6" fmla="*/ 1171575 h 2808607"/>
                <a:gd name="connsiteX7" fmla="*/ 3524250 w 5105400"/>
                <a:gd name="connsiteY7" fmla="*/ 400050 h 2808607"/>
                <a:gd name="connsiteX8" fmla="*/ 3952875 w 5105400"/>
                <a:gd name="connsiteY8" fmla="*/ 142875 h 2808607"/>
                <a:gd name="connsiteX9" fmla="*/ 4152900 w 5105400"/>
                <a:gd name="connsiteY9" fmla="*/ 752475 h 2808607"/>
                <a:gd name="connsiteX10" fmla="*/ 4371975 w 5105400"/>
                <a:gd name="connsiteY10" fmla="*/ 904875 h 2808607"/>
                <a:gd name="connsiteX11" fmla="*/ 4781550 w 5105400"/>
                <a:gd name="connsiteY11" fmla="*/ 457200 h 2808607"/>
                <a:gd name="connsiteX12" fmla="*/ 5105400 w 5105400"/>
                <a:gd name="connsiteY12"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335530 w 5105400"/>
                <a:gd name="connsiteY4" fmla="*/ 1283970 h 2808607"/>
                <a:gd name="connsiteX5" fmla="*/ 2947035 w 5105400"/>
                <a:gd name="connsiteY5" fmla="*/ 1642110 h 2808607"/>
                <a:gd name="connsiteX6" fmla="*/ 3248025 w 5105400"/>
                <a:gd name="connsiteY6" fmla="*/ 1171575 h 2808607"/>
                <a:gd name="connsiteX7" fmla="*/ 3524250 w 5105400"/>
                <a:gd name="connsiteY7" fmla="*/ 400050 h 2808607"/>
                <a:gd name="connsiteX8" fmla="*/ 3952875 w 5105400"/>
                <a:gd name="connsiteY8" fmla="*/ 142875 h 2808607"/>
                <a:gd name="connsiteX9" fmla="*/ 4152900 w 5105400"/>
                <a:gd name="connsiteY9" fmla="*/ 752475 h 2808607"/>
                <a:gd name="connsiteX10" fmla="*/ 4371975 w 5105400"/>
                <a:gd name="connsiteY10" fmla="*/ 904875 h 2808607"/>
                <a:gd name="connsiteX11" fmla="*/ 4781550 w 5105400"/>
                <a:gd name="connsiteY11" fmla="*/ 457200 h 2808607"/>
                <a:gd name="connsiteX12" fmla="*/ 5105400 w 5105400"/>
                <a:gd name="connsiteY12"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335530 w 5105400"/>
                <a:gd name="connsiteY4" fmla="*/ 1283970 h 2808607"/>
                <a:gd name="connsiteX5" fmla="*/ 2947035 w 5105400"/>
                <a:gd name="connsiteY5" fmla="*/ 1642110 h 2808607"/>
                <a:gd name="connsiteX6" fmla="*/ 3248025 w 5105400"/>
                <a:gd name="connsiteY6" fmla="*/ 1171575 h 2808607"/>
                <a:gd name="connsiteX7" fmla="*/ 3524250 w 5105400"/>
                <a:gd name="connsiteY7" fmla="*/ 400050 h 2808607"/>
                <a:gd name="connsiteX8" fmla="*/ 3952875 w 5105400"/>
                <a:gd name="connsiteY8" fmla="*/ 142875 h 2808607"/>
                <a:gd name="connsiteX9" fmla="*/ 4152900 w 5105400"/>
                <a:gd name="connsiteY9" fmla="*/ 752475 h 2808607"/>
                <a:gd name="connsiteX10" fmla="*/ 4371975 w 5105400"/>
                <a:gd name="connsiteY10" fmla="*/ 904875 h 2808607"/>
                <a:gd name="connsiteX11" fmla="*/ 4781550 w 5105400"/>
                <a:gd name="connsiteY11" fmla="*/ 457200 h 2808607"/>
                <a:gd name="connsiteX12" fmla="*/ 5105400 w 5105400"/>
                <a:gd name="connsiteY12"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335530 w 5105400"/>
                <a:gd name="connsiteY4" fmla="*/ 1283970 h 2808607"/>
                <a:gd name="connsiteX5" fmla="*/ 2947035 w 5105400"/>
                <a:gd name="connsiteY5" fmla="*/ 1642110 h 2808607"/>
                <a:gd name="connsiteX6" fmla="*/ 3248025 w 5105400"/>
                <a:gd name="connsiteY6" fmla="*/ 1171575 h 2808607"/>
                <a:gd name="connsiteX7" fmla="*/ 3952875 w 5105400"/>
                <a:gd name="connsiteY7" fmla="*/ 142875 h 2808607"/>
                <a:gd name="connsiteX8" fmla="*/ 4152900 w 5105400"/>
                <a:gd name="connsiteY8" fmla="*/ 752475 h 2808607"/>
                <a:gd name="connsiteX9" fmla="*/ 4371975 w 5105400"/>
                <a:gd name="connsiteY9" fmla="*/ 904875 h 2808607"/>
                <a:gd name="connsiteX10" fmla="*/ 4781550 w 5105400"/>
                <a:gd name="connsiteY10" fmla="*/ 45720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335530 w 5105400"/>
                <a:gd name="connsiteY4" fmla="*/ 1283970 h 2808607"/>
                <a:gd name="connsiteX5" fmla="*/ 2947035 w 5105400"/>
                <a:gd name="connsiteY5" fmla="*/ 1642110 h 2808607"/>
                <a:gd name="connsiteX6" fmla="*/ 3248025 w 5105400"/>
                <a:gd name="connsiteY6" fmla="*/ 1171575 h 2808607"/>
                <a:gd name="connsiteX7" fmla="*/ 3949065 w 5105400"/>
                <a:gd name="connsiteY7" fmla="*/ 257175 h 2808607"/>
                <a:gd name="connsiteX8" fmla="*/ 4152900 w 5105400"/>
                <a:gd name="connsiteY8" fmla="*/ 752475 h 2808607"/>
                <a:gd name="connsiteX9" fmla="*/ 4371975 w 5105400"/>
                <a:gd name="connsiteY9" fmla="*/ 904875 h 2808607"/>
                <a:gd name="connsiteX10" fmla="*/ 4781550 w 5105400"/>
                <a:gd name="connsiteY10" fmla="*/ 45720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248025 w 5105400"/>
                <a:gd name="connsiteY6" fmla="*/ 1171575 h 2808607"/>
                <a:gd name="connsiteX7" fmla="*/ 3949065 w 5105400"/>
                <a:gd name="connsiteY7" fmla="*/ 257175 h 2808607"/>
                <a:gd name="connsiteX8" fmla="*/ 4152900 w 5105400"/>
                <a:gd name="connsiteY8" fmla="*/ 752475 h 2808607"/>
                <a:gd name="connsiteX9" fmla="*/ 4371975 w 5105400"/>
                <a:gd name="connsiteY9" fmla="*/ 904875 h 2808607"/>
                <a:gd name="connsiteX10" fmla="*/ 4781550 w 5105400"/>
                <a:gd name="connsiteY10" fmla="*/ 45720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248025 w 5105400"/>
                <a:gd name="connsiteY6" fmla="*/ 1171575 h 2808607"/>
                <a:gd name="connsiteX7" fmla="*/ 3949065 w 5105400"/>
                <a:gd name="connsiteY7" fmla="*/ 257175 h 2808607"/>
                <a:gd name="connsiteX8" fmla="*/ 4152900 w 5105400"/>
                <a:gd name="connsiteY8" fmla="*/ 752475 h 2808607"/>
                <a:gd name="connsiteX9" fmla="*/ 4371975 w 5105400"/>
                <a:gd name="connsiteY9" fmla="*/ 904875 h 2808607"/>
                <a:gd name="connsiteX10" fmla="*/ 4781550 w 5105400"/>
                <a:gd name="connsiteY10" fmla="*/ 45720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469005 w 5105400"/>
                <a:gd name="connsiteY6" fmla="*/ 1026795 h 2808607"/>
                <a:gd name="connsiteX7" fmla="*/ 3949065 w 5105400"/>
                <a:gd name="connsiteY7" fmla="*/ 257175 h 2808607"/>
                <a:gd name="connsiteX8" fmla="*/ 4152900 w 5105400"/>
                <a:gd name="connsiteY8" fmla="*/ 752475 h 2808607"/>
                <a:gd name="connsiteX9" fmla="*/ 4371975 w 5105400"/>
                <a:gd name="connsiteY9" fmla="*/ 904875 h 2808607"/>
                <a:gd name="connsiteX10" fmla="*/ 4781550 w 5105400"/>
                <a:gd name="connsiteY10" fmla="*/ 45720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469005 w 5105400"/>
                <a:gd name="connsiteY6" fmla="*/ 1026795 h 2808607"/>
                <a:gd name="connsiteX7" fmla="*/ 4105275 w 5105400"/>
                <a:gd name="connsiteY7" fmla="*/ 306705 h 2808607"/>
                <a:gd name="connsiteX8" fmla="*/ 4152900 w 5105400"/>
                <a:gd name="connsiteY8" fmla="*/ 752475 h 2808607"/>
                <a:gd name="connsiteX9" fmla="*/ 4371975 w 5105400"/>
                <a:gd name="connsiteY9" fmla="*/ 904875 h 2808607"/>
                <a:gd name="connsiteX10" fmla="*/ 4781550 w 5105400"/>
                <a:gd name="connsiteY10" fmla="*/ 45720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469005 w 5105400"/>
                <a:gd name="connsiteY6" fmla="*/ 1026795 h 2808607"/>
                <a:gd name="connsiteX7" fmla="*/ 4105275 w 5105400"/>
                <a:gd name="connsiteY7" fmla="*/ 306705 h 2808607"/>
                <a:gd name="connsiteX8" fmla="*/ 4152900 w 5105400"/>
                <a:gd name="connsiteY8" fmla="*/ 752475 h 2808607"/>
                <a:gd name="connsiteX9" fmla="*/ 4371975 w 5105400"/>
                <a:gd name="connsiteY9" fmla="*/ 904875 h 2808607"/>
                <a:gd name="connsiteX10" fmla="*/ 4781550 w 5105400"/>
                <a:gd name="connsiteY10" fmla="*/ 45720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469005 w 5105400"/>
                <a:gd name="connsiteY6" fmla="*/ 1026795 h 2808607"/>
                <a:gd name="connsiteX7" fmla="*/ 4105275 w 5105400"/>
                <a:gd name="connsiteY7" fmla="*/ 306705 h 2808607"/>
                <a:gd name="connsiteX8" fmla="*/ 4392930 w 5105400"/>
                <a:gd name="connsiteY8" fmla="*/ 702945 h 2808607"/>
                <a:gd name="connsiteX9" fmla="*/ 4371975 w 5105400"/>
                <a:gd name="connsiteY9" fmla="*/ 904875 h 2808607"/>
                <a:gd name="connsiteX10" fmla="*/ 4781550 w 5105400"/>
                <a:gd name="connsiteY10" fmla="*/ 45720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469005 w 5105400"/>
                <a:gd name="connsiteY6" fmla="*/ 1026795 h 2808607"/>
                <a:gd name="connsiteX7" fmla="*/ 4105275 w 5105400"/>
                <a:gd name="connsiteY7" fmla="*/ 306705 h 2808607"/>
                <a:gd name="connsiteX8" fmla="*/ 4392930 w 5105400"/>
                <a:gd name="connsiteY8" fmla="*/ 702945 h 2808607"/>
                <a:gd name="connsiteX9" fmla="*/ 4596765 w 5105400"/>
                <a:gd name="connsiteY9" fmla="*/ 817245 h 2808607"/>
                <a:gd name="connsiteX10" fmla="*/ 4781550 w 5105400"/>
                <a:gd name="connsiteY10" fmla="*/ 45720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469005 w 5105400"/>
                <a:gd name="connsiteY6" fmla="*/ 1026795 h 2808607"/>
                <a:gd name="connsiteX7" fmla="*/ 4105275 w 5105400"/>
                <a:gd name="connsiteY7" fmla="*/ 306705 h 2808607"/>
                <a:gd name="connsiteX8" fmla="*/ 4392930 w 5105400"/>
                <a:gd name="connsiteY8" fmla="*/ 702945 h 2808607"/>
                <a:gd name="connsiteX9" fmla="*/ 4596765 w 5105400"/>
                <a:gd name="connsiteY9" fmla="*/ 817245 h 2808607"/>
                <a:gd name="connsiteX10" fmla="*/ 4998720 w 5105400"/>
                <a:gd name="connsiteY10" fmla="*/ 46101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469005 w 5105400"/>
                <a:gd name="connsiteY6" fmla="*/ 1026795 h 2808607"/>
                <a:gd name="connsiteX7" fmla="*/ 4128135 w 5105400"/>
                <a:gd name="connsiteY7" fmla="*/ 577215 h 2808607"/>
                <a:gd name="connsiteX8" fmla="*/ 4392930 w 5105400"/>
                <a:gd name="connsiteY8" fmla="*/ 702945 h 2808607"/>
                <a:gd name="connsiteX9" fmla="*/ 4596765 w 5105400"/>
                <a:gd name="connsiteY9" fmla="*/ 817245 h 2808607"/>
                <a:gd name="connsiteX10" fmla="*/ 4998720 w 5105400"/>
                <a:gd name="connsiteY10" fmla="*/ 46101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469005 w 5105400"/>
                <a:gd name="connsiteY6" fmla="*/ 1026795 h 2808607"/>
                <a:gd name="connsiteX7" fmla="*/ 4128135 w 5105400"/>
                <a:gd name="connsiteY7" fmla="*/ 577215 h 2808607"/>
                <a:gd name="connsiteX8" fmla="*/ 4392930 w 5105400"/>
                <a:gd name="connsiteY8" fmla="*/ 702945 h 2808607"/>
                <a:gd name="connsiteX9" fmla="*/ 4596765 w 5105400"/>
                <a:gd name="connsiteY9" fmla="*/ 817245 h 2808607"/>
                <a:gd name="connsiteX10" fmla="*/ 4998720 w 5105400"/>
                <a:gd name="connsiteY10" fmla="*/ 46101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469005 w 5105400"/>
                <a:gd name="connsiteY6" fmla="*/ 1026795 h 2808607"/>
                <a:gd name="connsiteX7" fmla="*/ 4128135 w 5105400"/>
                <a:gd name="connsiteY7" fmla="*/ 577215 h 2808607"/>
                <a:gd name="connsiteX8" fmla="*/ 4392930 w 5105400"/>
                <a:gd name="connsiteY8" fmla="*/ 702945 h 2808607"/>
                <a:gd name="connsiteX9" fmla="*/ 4596765 w 5105400"/>
                <a:gd name="connsiteY9" fmla="*/ 817245 h 2808607"/>
                <a:gd name="connsiteX10" fmla="*/ 4998720 w 5105400"/>
                <a:gd name="connsiteY10" fmla="*/ 46101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568065 w 5105400"/>
                <a:gd name="connsiteY6" fmla="*/ 1072515 h 2808607"/>
                <a:gd name="connsiteX7" fmla="*/ 4128135 w 5105400"/>
                <a:gd name="connsiteY7" fmla="*/ 577215 h 2808607"/>
                <a:gd name="connsiteX8" fmla="*/ 4392930 w 5105400"/>
                <a:gd name="connsiteY8" fmla="*/ 702945 h 2808607"/>
                <a:gd name="connsiteX9" fmla="*/ 4596765 w 5105400"/>
                <a:gd name="connsiteY9" fmla="*/ 817245 h 2808607"/>
                <a:gd name="connsiteX10" fmla="*/ 4998720 w 5105400"/>
                <a:gd name="connsiteY10" fmla="*/ 461010 h 2808607"/>
                <a:gd name="connsiteX11" fmla="*/ 5105400 w 5105400"/>
                <a:gd name="connsiteY11" fmla="*/ 0 h 2808607"/>
                <a:gd name="connsiteX0" fmla="*/ 0 w 5105400"/>
                <a:gd name="connsiteY0" fmla="*/ 2162175 h 2808607"/>
                <a:gd name="connsiteX1" fmla="*/ 476250 w 5105400"/>
                <a:gd name="connsiteY1" fmla="*/ 2348865 h 2808607"/>
                <a:gd name="connsiteX2" fmla="*/ 1042035 w 5105400"/>
                <a:gd name="connsiteY2" fmla="*/ 2806065 h 2808607"/>
                <a:gd name="connsiteX3" fmla="*/ 1624965 w 5105400"/>
                <a:gd name="connsiteY3" fmla="*/ 2124075 h 2808607"/>
                <a:gd name="connsiteX4" fmla="*/ 2255520 w 5105400"/>
                <a:gd name="connsiteY4" fmla="*/ 1249680 h 2808607"/>
                <a:gd name="connsiteX5" fmla="*/ 2947035 w 5105400"/>
                <a:gd name="connsiteY5" fmla="*/ 1642110 h 2808607"/>
                <a:gd name="connsiteX6" fmla="*/ 3568065 w 5105400"/>
                <a:gd name="connsiteY6" fmla="*/ 1072515 h 2808607"/>
                <a:gd name="connsiteX7" fmla="*/ 4128135 w 5105400"/>
                <a:gd name="connsiteY7" fmla="*/ 577215 h 2808607"/>
                <a:gd name="connsiteX8" fmla="*/ 4596765 w 5105400"/>
                <a:gd name="connsiteY8" fmla="*/ 817245 h 2808607"/>
                <a:gd name="connsiteX9" fmla="*/ 4998720 w 5105400"/>
                <a:gd name="connsiteY9" fmla="*/ 461010 h 2808607"/>
                <a:gd name="connsiteX10" fmla="*/ 5105400 w 5105400"/>
                <a:gd name="connsiteY10" fmla="*/ 0 h 2808607"/>
                <a:gd name="connsiteX0" fmla="*/ 0 w 4998720"/>
                <a:gd name="connsiteY0" fmla="*/ 1701165 h 2347597"/>
                <a:gd name="connsiteX1" fmla="*/ 476250 w 4998720"/>
                <a:gd name="connsiteY1" fmla="*/ 1887855 h 2347597"/>
                <a:gd name="connsiteX2" fmla="*/ 1042035 w 4998720"/>
                <a:gd name="connsiteY2" fmla="*/ 2345055 h 2347597"/>
                <a:gd name="connsiteX3" fmla="*/ 1624965 w 4998720"/>
                <a:gd name="connsiteY3" fmla="*/ 1663065 h 2347597"/>
                <a:gd name="connsiteX4" fmla="*/ 2255520 w 4998720"/>
                <a:gd name="connsiteY4" fmla="*/ 788670 h 2347597"/>
                <a:gd name="connsiteX5" fmla="*/ 2947035 w 4998720"/>
                <a:gd name="connsiteY5" fmla="*/ 1181100 h 2347597"/>
                <a:gd name="connsiteX6" fmla="*/ 3568065 w 4998720"/>
                <a:gd name="connsiteY6" fmla="*/ 611505 h 2347597"/>
                <a:gd name="connsiteX7" fmla="*/ 4128135 w 4998720"/>
                <a:gd name="connsiteY7" fmla="*/ 116205 h 2347597"/>
                <a:gd name="connsiteX8" fmla="*/ 4596765 w 4998720"/>
                <a:gd name="connsiteY8" fmla="*/ 356235 h 2347597"/>
                <a:gd name="connsiteX9" fmla="*/ 4998720 w 4998720"/>
                <a:gd name="connsiteY9" fmla="*/ 0 h 2347597"/>
                <a:gd name="connsiteX0" fmla="*/ 0 w 5154930"/>
                <a:gd name="connsiteY0" fmla="*/ 1887855 h 2534287"/>
                <a:gd name="connsiteX1" fmla="*/ 476250 w 5154930"/>
                <a:gd name="connsiteY1" fmla="*/ 2074545 h 2534287"/>
                <a:gd name="connsiteX2" fmla="*/ 1042035 w 5154930"/>
                <a:gd name="connsiteY2" fmla="*/ 2531745 h 2534287"/>
                <a:gd name="connsiteX3" fmla="*/ 1624965 w 5154930"/>
                <a:gd name="connsiteY3" fmla="*/ 1849755 h 2534287"/>
                <a:gd name="connsiteX4" fmla="*/ 2255520 w 5154930"/>
                <a:gd name="connsiteY4" fmla="*/ 975360 h 2534287"/>
                <a:gd name="connsiteX5" fmla="*/ 2947035 w 5154930"/>
                <a:gd name="connsiteY5" fmla="*/ 1367790 h 2534287"/>
                <a:gd name="connsiteX6" fmla="*/ 3568065 w 5154930"/>
                <a:gd name="connsiteY6" fmla="*/ 798195 h 2534287"/>
                <a:gd name="connsiteX7" fmla="*/ 4128135 w 5154930"/>
                <a:gd name="connsiteY7" fmla="*/ 302895 h 2534287"/>
                <a:gd name="connsiteX8" fmla="*/ 4596765 w 5154930"/>
                <a:gd name="connsiteY8" fmla="*/ 542925 h 2534287"/>
                <a:gd name="connsiteX9" fmla="*/ 5154930 w 5154930"/>
                <a:gd name="connsiteY9" fmla="*/ 0 h 2534287"/>
                <a:gd name="connsiteX0" fmla="*/ 0 w 5097780"/>
                <a:gd name="connsiteY0" fmla="*/ 1815465 h 2461897"/>
                <a:gd name="connsiteX1" fmla="*/ 476250 w 5097780"/>
                <a:gd name="connsiteY1" fmla="*/ 2002155 h 2461897"/>
                <a:gd name="connsiteX2" fmla="*/ 1042035 w 5097780"/>
                <a:gd name="connsiteY2" fmla="*/ 2459355 h 2461897"/>
                <a:gd name="connsiteX3" fmla="*/ 1624965 w 5097780"/>
                <a:gd name="connsiteY3" fmla="*/ 1777365 h 2461897"/>
                <a:gd name="connsiteX4" fmla="*/ 2255520 w 5097780"/>
                <a:gd name="connsiteY4" fmla="*/ 902970 h 2461897"/>
                <a:gd name="connsiteX5" fmla="*/ 2947035 w 5097780"/>
                <a:gd name="connsiteY5" fmla="*/ 1295400 h 2461897"/>
                <a:gd name="connsiteX6" fmla="*/ 3568065 w 5097780"/>
                <a:gd name="connsiteY6" fmla="*/ 725805 h 2461897"/>
                <a:gd name="connsiteX7" fmla="*/ 4128135 w 5097780"/>
                <a:gd name="connsiteY7" fmla="*/ 230505 h 2461897"/>
                <a:gd name="connsiteX8" fmla="*/ 4596765 w 5097780"/>
                <a:gd name="connsiteY8" fmla="*/ 470535 h 2461897"/>
                <a:gd name="connsiteX9" fmla="*/ 5097780 w 5097780"/>
                <a:gd name="connsiteY9" fmla="*/ 0 h 2461897"/>
                <a:gd name="connsiteX0" fmla="*/ 0 w 5097780"/>
                <a:gd name="connsiteY0" fmla="*/ 1815465 h 2460021"/>
                <a:gd name="connsiteX1" fmla="*/ 476250 w 5097780"/>
                <a:gd name="connsiteY1" fmla="*/ 2002155 h 2460021"/>
                <a:gd name="connsiteX2" fmla="*/ 1042035 w 5097780"/>
                <a:gd name="connsiteY2" fmla="*/ 2459355 h 2460021"/>
                <a:gd name="connsiteX3" fmla="*/ 1624965 w 5097780"/>
                <a:gd name="connsiteY3" fmla="*/ 1777365 h 2460021"/>
                <a:gd name="connsiteX4" fmla="*/ 2255520 w 5097780"/>
                <a:gd name="connsiteY4" fmla="*/ 902970 h 2460021"/>
                <a:gd name="connsiteX5" fmla="*/ 2947035 w 5097780"/>
                <a:gd name="connsiteY5" fmla="*/ 1295400 h 2460021"/>
                <a:gd name="connsiteX6" fmla="*/ 3568065 w 5097780"/>
                <a:gd name="connsiteY6" fmla="*/ 725805 h 2460021"/>
                <a:gd name="connsiteX7" fmla="*/ 4128135 w 5097780"/>
                <a:gd name="connsiteY7" fmla="*/ 230505 h 2460021"/>
                <a:gd name="connsiteX8" fmla="*/ 4596765 w 5097780"/>
                <a:gd name="connsiteY8" fmla="*/ 470535 h 2460021"/>
                <a:gd name="connsiteX9" fmla="*/ 5097780 w 5097780"/>
                <a:gd name="connsiteY9" fmla="*/ 0 h 2460021"/>
                <a:gd name="connsiteX0" fmla="*/ 0 w 5097780"/>
                <a:gd name="connsiteY0" fmla="*/ 1815465 h 2460021"/>
                <a:gd name="connsiteX1" fmla="*/ 476250 w 5097780"/>
                <a:gd name="connsiteY1" fmla="*/ 2002155 h 2460021"/>
                <a:gd name="connsiteX2" fmla="*/ 1042035 w 5097780"/>
                <a:gd name="connsiteY2" fmla="*/ 2459355 h 2460021"/>
                <a:gd name="connsiteX3" fmla="*/ 1624965 w 5097780"/>
                <a:gd name="connsiteY3" fmla="*/ 1777365 h 2460021"/>
                <a:gd name="connsiteX4" fmla="*/ 2255520 w 5097780"/>
                <a:gd name="connsiteY4" fmla="*/ 902970 h 2460021"/>
                <a:gd name="connsiteX5" fmla="*/ 2947035 w 5097780"/>
                <a:gd name="connsiteY5" fmla="*/ 1295400 h 2460021"/>
                <a:gd name="connsiteX6" fmla="*/ 3568065 w 5097780"/>
                <a:gd name="connsiteY6" fmla="*/ 725805 h 2460021"/>
                <a:gd name="connsiteX7" fmla="*/ 4128135 w 5097780"/>
                <a:gd name="connsiteY7" fmla="*/ 230505 h 2460021"/>
                <a:gd name="connsiteX8" fmla="*/ 4596765 w 5097780"/>
                <a:gd name="connsiteY8" fmla="*/ 470535 h 2460021"/>
                <a:gd name="connsiteX9" fmla="*/ 5097780 w 5097780"/>
                <a:gd name="connsiteY9" fmla="*/ 0 h 2460021"/>
                <a:gd name="connsiteX0" fmla="*/ 0 w 5100320"/>
                <a:gd name="connsiteY0" fmla="*/ 1820545 h 2460020"/>
                <a:gd name="connsiteX1" fmla="*/ 478790 w 5100320"/>
                <a:gd name="connsiteY1" fmla="*/ 2002155 h 2460020"/>
                <a:gd name="connsiteX2" fmla="*/ 1044575 w 5100320"/>
                <a:gd name="connsiteY2" fmla="*/ 2459355 h 2460020"/>
                <a:gd name="connsiteX3" fmla="*/ 1627505 w 5100320"/>
                <a:gd name="connsiteY3" fmla="*/ 1777365 h 2460020"/>
                <a:gd name="connsiteX4" fmla="*/ 2258060 w 5100320"/>
                <a:gd name="connsiteY4" fmla="*/ 902970 h 2460020"/>
                <a:gd name="connsiteX5" fmla="*/ 2949575 w 5100320"/>
                <a:gd name="connsiteY5" fmla="*/ 1295400 h 2460020"/>
                <a:gd name="connsiteX6" fmla="*/ 3570605 w 5100320"/>
                <a:gd name="connsiteY6" fmla="*/ 725805 h 2460020"/>
                <a:gd name="connsiteX7" fmla="*/ 4130675 w 5100320"/>
                <a:gd name="connsiteY7" fmla="*/ 230505 h 2460020"/>
                <a:gd name="connsiteX8" fmla="*/ 4599305 w 5100320"/>
                <a:gd name="connsiteY8" fmla="*/ 470535 h 2460020"/>
                <a:gd name="connsiteX9" fmla="*/ 5100320 w 5100320"/>
                <a:gd name="connsiteY9" fmla="*/ 0 h 2460020"/>
                <a:gd name="connsiteX0" fmla="*/ 0 w 5100320"/>
                <a:gd name="connsiteY0" fmla="*/ 1815465 h 2460021"/>
                <a:gd name="connsiteX1" fmla="*/ 478790 w 5100320"/>
                <a:gd name="connsiteY1" fmla="*/ 2002155 h 2460021"/>
                <a:gd name="connsiteX2" fmla="*/ 1044575 w 5100320"/>
                <a:gd name="connsiteY2" fmla="*/ 2459355 h 2460021"/>
                <a:gd name="connsiteX3" fmla="*/ 1627505 w 5100320"/>
                <a:gd name="connsiteY3" fmla="*/ 1777365 h 2460021"/>
                <a:gd name="connsiteX4" fmla="*/ 2258060 w 5100320"/>
                <a:gd name="connsiteY4" fmla="*/ 902970 h 2460021"/>
                <a:gd name="connsiteX5" fmla="*/ 2949575 w 5100320"/>
                <a:gd name="connsiteY5" fmla="*/ 1295400 h 2460021"/>
                <a:gd name="connsiteX6" fmla="*/ 3570605 w 5100320"/>
                <a:gd name="connsiteY6" fmla="*/ 725805 h 2460021"/>
                <a:gd name="connsiteX7" fmla="*/ 4130675 w 5100320"/>
                <a:gd name="connsiteY7" fmla="*/ 230505 h 2460021"/>
                <a:gd name="connsiteX8" fmla="*/ 4599305 w 5100320"/>
                <a:gd name="connsiteY8" fmla="*/ 470535 h 2460021"/>
                <a:gd name="connsiteX9" fmla="*/ 5100320 w 5100320"/>
                <a:gd name="connsiteY9" fmla="*/ 0 h 246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00320" h="2460021">
                  <a:moveTo>
                    <a:pt x="0" y="1815465"/>
                  </a:moveTo>
                  <a:cubicBezTo>
                    <a:pt x="245269" y="1885315"/>
                    <a:pt x="304694" y="1894840"/>
                    <a:pt x="478790" y="2002155"/>
                  </a:cubicBezTo>
                  <a:cubicBezTo>
                    <a:pt x="652886" y="2109470"/>
                    <a:pt x="811213" y="2477770"/>
                    <a:pt x="1044575" y="2459355"/>
                  </a:cubicBezTo>
                  <a:cubicBezTo>
                    <a:pt x="1277937" y="2440940"/>
                    <a:pt x="1448118" y="2055812"/>
                    <a:pt x="1627505" y="1777365"/>
                  </a:cubicBezTo>
                  <a:cubicBezTo>
                    <a:pt x="1806892" y="1498918"/>
                    <a:pt x="1991995" y="918527"/>
                    <a:pt x="2258060" y="902970"/>
                  </a:cubicBezTo>
                  <a:cubicBezTo>
                    <a:pt x="2524125" y="887413"/>
                    <a:pt x="2730817" y="1324928"/>
                    <a:pt x="2949575" y="1295400"/>
                  </a:cubicBezTo>
                  <a:cubicBezTo>
                    <a:pt x="3168333" y="1265872"/>
                    <a:pt x="3381375" y="929958"/>
                    <a:pt x="3570605" y="725805"/>
                  </a:cubicBezTo>
                  <a:cubicBezTo>
                    <a:pt x="3759835" y="521652"/>
                    <a:pt x="3959225" y="273050"/>
                    <a:pt x="4130675" y="230505"/>
                  </a:cubicBezTo>
                  <a:cubicBezTo>
                    <a:pt x="4302125" y="187960"/>
                    <a:pt x="4437698" y="508952"/>
                    <a:pt x="4599305" y="470535"/>
                  </a:cubicBezTo>
                  <a:cubicBezTo>
                    <a:pt x="4760912" y="432118"/>
                    <a:pt x="4978082" y="150813"/>
                    <a:pt x="5100320" y="0"/>
                  </a:cubicBez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B9E3DAA8-685A-4B4B-AFE0-92B30CB795BE}"/>
                </a:ext>
              </a:extLst>
            </p:cNvPr>
            <p:cNvSpPr txBox="1"/>
            <p:nvPr/>
          </p:nvSpPr>
          <p:spPr>
            <a:xfrm>
              <a:off x="6334125" y="1409968"/>
              <a:ext cx="2773516"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000000"/>
                  </a:solidFill>
                  <a:effectLst/>
                  <a:uLnTx/>
                  <a:uFillTx/>
                  <a:latin typeface="Calibri"/>
                  <a:ea typeface="+mn-ea"/>
                  <a:cs typeface="+mn-cs"/>
                </a:rPr>
                <a:t>What is an adaptive firm?</a:t>
              </a:r>
            </a:p>
          </p:txBody>
        </p:sp>
        <p:sp>
          <p:nvSpPr>
            <p:cNvPr id="45" name="Freeform: Shape 44">
              <a:extLst>
                <a:ext uri="{FF2B5EF4-FFF2-40B4-BE49-F238E27FC236}">
                  <a16:creationId xmlns:a16="http://schemas.microsoft.com/office/drawing/2014/main" id="{E4664CA1-2F54-4220-B4E3-C991407A4DAD}"/>
                </a:ext>
              </a:extLst>
            </p:cNvPr>
            <p:cNvSpPr/>
            <p:nvPr/>
          </p:nvSpPr>
          <p:spPr>
            <a:xfrm>
              <a:off x="6615090" y="2177331"/>
              <a:ext cx="5069938" cy="3898717"/>
            </a:xfrm>
            <a:custGeom>
              <a:avLst/>
              <a:gdLst>
                <a:gd name="connsiteX0" fmla="*/ 0 w 4732020"/>
                <a:gd name="connsiteY0" fmla="*/ 0 h 3192780"/>
                <a:gd name="connsiteX1" fmla="*/ 0 w 4732020"/>
                <a:gd name="connsiteY1" fmla="*/ 3192780 h 3192780"/>
                <a:gd name="connsiteX2" fmla="*/ 4732020 w 4732020"/>
                <a:gd name="connsiteY2" fmla="*/ 3192780 h 3192780"/>
              </a:gdLst>
              <a:ahLst/>
              <a:cxnLst>
                <a:cxn ang="0">
                  <a:pos x="connsiteX0" y="connsiteY0"/>
                </a:cxn>
                <a:cxn ang="0">
                  <a:pos x="connsiteX1" y="connsiteY1"/>
                </a:cxn>
                <a:cxn ang="0">
                  <a:pos x="connsiteX2" y="connsiteY2"/>
                </a:cxn>
              </a:cxnLst>
              <a:rect l="l" t="t" r="r" b="b"/>
              <a:pathLst>
                <a:path w="4732020" h="3192780">
                  <a:moveTo>
                    <a:pt x="0" y="0"/>
                  </a:moveTo>
                  <a:lnTo>
                    <a:pt x="0" y="3192780"/>
                  </a:lnTo>
                  <a:lnTo>
                    <a:pt x="4732020" y="3192780"/>
                  </a:lnTo>
                </a:path>
              </a:pathLst>
            </a:custGeom>
            <a:noFill/>
            <a:ln w="9525">
              <a:solidFill>
                <a:schemeClr val="tx1"/>
              </a:solidFill>
              <a:miter lim="800000"/>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47" name="Straight Connector 46">
              <a:extLst>
                <a:ext uri="{FF2B5EF4-FFF2-40B4-BE49-F238E27FC236}">
                  <a16:creationId xmlns:a16="http://schemas.microsoft.com/office/drawing/2014/main" id="{B73BD819-2187-40B1-BED3-B77D83684A16}"/>
                </a:ext>
              </a:extLst>
            </p:cNvPr>
            <p:cNvCxnSpPr/>
            <p:nvPr/>
          </p:nvCxnSpPr>
          <p:spPr>
            <a:xfrm flipH="1">
              <a:off x="6615090" y="4179913"/>
              <a:ext cx="5069938" cy="0"/>
            </a:xfrm>
            <a:prstGeom prst="line">
              <a:avLst/>
            </a:prstGeom>
            <a:ln w="9525">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188331D2-1C43-4555-9DEA-80C728C432A4}"/>
                </a:ext>
              </a:extLst>
            </p:cNvPr>
            <p:cNvSpPr txBox="1"/>
            <p:nvPr/>
          </p:nvSpPr>
          <p:spPr>
            <a:xfrm rot="16200000">
              <a:off x="4889274" y="4062202"/>
              <a:ext cx="308609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Calibri"/>
                  <a:ea typeface="+mn-ea"/>
                  <a:cs typeface="+mn-cs"/>
                </a:rPr>
                <a:t>Firm performance</a:t>
              </a:r>
            </a:p>
          </p:txBody>
        </p:sp>
        <p:sp>
          <p:nvSpPr>
            <p:cNvPr id="49" name="TextBox 48">
              <a:extLst>
                <a:ext uri="{FF2B5EF4-FFF2-40B4-BE49-F238E27FC236}">
                  <a16:creationId xmlns:a16="http://schemas.microsoft.com/office/drawing/2014/main" id="{D3371AF9-B9F9-49CF-A40A-54193BDD9354}"/>
                </a:ext>
              </a:extLst>
            </p:cNvPr>
            <p:cNvSpPr txBox="1"/>
            <p:nvPr/>
          </p:nvSpPr>
          <p:spPr>
            <a:xfrm>
              <a:off x="7796170" y="6166370"/>
              <a:ext cx="270777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Calibri"/>
                  <a:ea typeface="+mn-ea"/>
                  <a:cs typeface="+mn-cs"/>
                </a:rPr>
                <a:t>Time</a:t>
              </a:r>
            </a:p>
          </p:txBody>
        </p:sp>
        <p:sp>
          <p:nvSpPr>
            <p:cNvPr id="50" name="TextBox 49">
              <a:extLst>
                <a:ext uri="{FF2B5EF4-FFF2-40B4-BE49-F238E27FC236}">
                  <a16:creationId xmlns:a16="http://schemas.microsoft.com/office/drawing/2014/main" id="{E0AA97A5-AEA8-4CEA-B86F-C6ABBD11FAEE}"/>
                </a:ext>
              </a:extLst>
            </p:cNvPr>
            <p:cNvSpPr txBox="1"/>
            <p:nvPr/>
          </p:nvSpPr>
          <p:spPr>
            <a:xfrm>
              <a:off x="9197249" y="5689765"/>
              <a:ext cx="1877755"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76D3FF"/>
                  </a:solidFill>
                  <a:effectLst/>
                  <a:uLnTx/>
                  <a:uFillTx/>
                  <a:latin typeface="Calibri"/>
                  <a:ea typeface="+mn-ea"/>
                  <a:cs typeface="+mn-cs"/>
                </a:rPr>
                <a:t>Vulnerable</a:t>
              </a:r>
            </a:p>
          </p:txBody>
        </p:sp>
        <p:sp>
          <p:nvSpPr>
            <p:cNvPr id="51" name="TextBox 50">
              <a:extLst>
                <a:ext uri="{FF2B5EF4-FFF2-40B4-BE49-F238E27FC236}">
                  <a16:creationId xmlns:a16="http://schemas.microsoft.com/office/drawing/2014/main" id="{9C3A8852-0E28-4F7F-A305-3CA1AA4C598D}"/>
                </a:ext>
              </a:extLst>
            </p:cNvPr>
            <p:cNvSpPr txBox="1"/>
            <p:nvPr/>
          </p:nvSpPr>
          <p:spPr>
            <a:xfrm>
              <a:off x="10821185" y="4832358"/>
              <a:ext cx="1013964"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accent2"/>
                  </a:solidFill>
                  <a:effectLst/>
                  <a:uLnTx/>
                  <a:uFillTx/>
                  <a:latin typeface="Calibri"/>
                  <a:ea typeface="+mn-ea"/>
                  <a:cs typeface="+mn-cs"/>
                </a:rPr>
                <a:t>Resilient</a:t>
              </a:r>
            </a:p>
          </p:txBody>
        </p:sp>
        <p:sp>
          <p:nvSpPr>
            <p:cNvPr id="52" name="TextBox 51">
              <a:extLst>
                <a:ext uri="{FF2B5EF4-FFF2-40B4-BE49-F238E27FC236}">
                  <a16:creationId xmlns:a16="http://schemas.microsoft.com/office/drawing/2014/main" id="{58C460C9-65DC-4CE5-9496-3CCFDF6D2E10}"/>
                </a:ext>
              </a:extLst>
            </p:cNvPr>
            <p:cNvSpPr txBox="1"/>
            <p:nvPr/>
          </p:nvSpPr>
          <p:spPr>
            <a:xfrm>
              <a:off x="10821185" y="2911116"/>
              <a:ext cx="1206218"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accent1"/>
                  </a:solidFill>
                  <a:effectLst/>
                  <a:uLnTx/>
                  <a:uFillTx/>
                  <a:latin typeface="Calibri"/>
                  <a:ea typeface="+mn-ea"/>
                  <a:cs typeface="+mn-cs"/>
                </a:rPr>
                <a:t>Adaptive</a:t>
              </a:r>
            </a:p>
          </p:txBody>
        </p:sp>
        <p:sp>
          <p:nvSpPr>
            <p:cNvPr id="53" name="TextBox 52">
              <a:extLst>
                <a:ext uri="{FF2B5EF4-FFF2-40B4-BE49-F238E27FC236}">
                  <a16:creationId xmlns:a16="http://schemas.microsoft.com/office/drawing/2014/main" id="{7326B84D-06ED-4CFB-B705-D886D27A8C41}"/>
                </a:ext>
              </a:extLst>
            </p:cNvPr>
            <p:cNvSpPr txBox="1"/>
            <p:nvPr/>
          </p:nvSpPr>
          <p:spPr>
            <a:xfrm>
              <a:off x="6694374" y="1933195"/>
              <a:ext cx="106814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Calibri"/>
                  <a:ea typeface="+mn-ea"/>
                  <a:cs typeface="+mn-cs"/>
                </a:rPr>
                <a:t>1</a:t>
              </a:r>
              <a:r>
                <a:rPr kumimoji="0" lang="en-GB" sz="1400" b="1" i="0" u="none" strike="noStrike" kern="0" cap="none" spc="0" normalizeH="0" baseline="30000" noProof="0">
                  <a:ln>
                    <a:noFill/>
                  </a:ln>
                  <a:solidFill>
                    <a:srgbClr val="000000"/>
                  </a:solidFill>
                  <a:effectLst/>
                  <a:uLnTx/>
                  <a:uFillTx/>
                  <a:latin typeface="Calibri"/>
                  <a:ea typeface="+mn-ea"/>
                  <a:cs typeface="+mn-cs"/>
                </a:rPr>
                <a:t>st</a:t>
              </a:r>
              <a:r>
                <a:rPr kumimoji="0" lang="en-GB" sz="1400" b="1" i="0" u="none" strike="noStrike" kern="0" cap="none" spc="0" normalizeH="0" baseline="0" noProof="0">
                  <a:ln>
                    <a:noFill/>
                  </a:ln>
                  <a:solidFill>
                    <a:srgbClr val="000000"/>
                  </a:solidFill>
                  <a:effectLst/>
                  <a:uLnTx/>
                  <a:uFillTx/>
                  <a:latin typeface="Calibri"/>
                  <a:ea typeface="+mn-ea"/>
                  <a:cs typeface="+mn-cs"/>
                </a:rPr>
                <a:t> shock</a:t>
              </a:r>
            </a:p>
          </p:txBody>
        </p:sp>
        <p:sp>
          <p:nvSpPr>
            <p:cNvPr id="54" name="TextBox 53">
              <a:extLst>
                <a:ext uri="{FF2B5EF4-FFF2-40B4-BE49-F238E27FC236}">
                  <a16:creationId xmlns:a16="http://schemas.microsoft.com/office/drawing/2014/main" id="{90A436E8-1BA9-4E73-9298-73D99DA9D45D}"/>
                </a:ext>
              </a:extLst>
            </p:cNvPr>
            <p:cNvSpPr txBox="1"/>
            <p:nvPr/>
          </p:nvSpPr>
          <p:spPr>
            <a:xfrm>
              <a:off x="8953997" y="1902461"/>
              <a:ext cx="106814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Calibri"/>
                  <a:ea typeface="+mn-ea"/>
                  <a:cs typeface="+mn-cs"/>
                </a:rPr>
                <a:t>2</a:t>
              </a:r>
              <a:r>
                <a:rPr kumimoji="0" lang="en-GB" sz="1400" b="1" i="0" u="none" strike="noStrike" kern="0" cap="none" spc="0" normalizeH="0" baseline="30000" noProof="0">
                  <a:ln>
                    <a:noFill/>
                  </a:ln>
                  <a:solidFill>
                    <a:srgbClr val="000000"/>
                  </a:solidFill>
                  <a:effectLst/>
                  <a:uLnTx/>
                  <a:uFillTx/>
                  <a:latin typeface="Calibri"/>
                  <a:ea typeface="+mn-ea"/>
                  <a:cs typeface="+mn-cs"/>
                </a:rPr>
                <a:t>nd</a:t>
              </a:r>
              <a:r>
                <a:rPr kumimoji="0" lang="en-GB" sz="1400" b="1" i="0" u="none" strike="noStrike" kern="0" cap="none" spc="0" normalizeH="0" baseline="0" noProof="0">
                  <a:ln>
                    <a:noFill/>
                  </a:ln>
                  <a:solidFill>
                    <a:srgbClr val="000000"/>
                  </a:solidFill>
                  <a:effectLst/>
                  <a:uLnTx/>
                  <a:uFillTx/>
                  <a:latin typeface="Calibri"/>
                  <a:ea typeface="+mn-ea"/>
                  <a:cs typeface="+mn-cs"/>
                </a:rPr>
                <a:t> shock</a:t>
              </a:r>
            </a:p>
          </p:txBody>
        </p:sp>
        <p:sp>
          <p:nvSpPr>
            <p:cNvPr id="55" name="TextBox 54">
              <a:extLst>
                <a:ext uri="{FF2B5EF4-FFF2-40B4-BE49-F238E27FC236}">
                  <a16:creationId xmlns:a16="http://schemas.microsoft.com/office/drawing/2014/main" id="{BA4E2377-3189-4B51-A0A6-25A7020B77FD}"/>
                </a:ext>
              </a:extLst>
            </p:cNvPr>
            <p:cNvSpPr txBox="1"/>
            <p:nvPr/>
          </p:nvSpPr>
          <p:spPr>
            <a:xfrm rot="16200000">
              <a:off x="6047880" y="5572760"/>
              <a:ext cx="786188"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srgbClr val="000000"/>
                  </a:solidFill>
                  <a:effectLst/>
                  <a:uLnTx/>
                  <a:uFillTx/>
                  <a:latin typeface="Calibri"/>
                  <a:ea typeface="+mn-ea"/>
                  <a:cs typeface="+mn-cs"/>
                </a:rPr>
                <a:t>Low</a:t>
              </a:r>
            </a:p>
          </p:txBody>
        </p:sp>
        <p:sp>
          <p:nvSpPr>
            <p:cNvPr id="56" name="TextBox 55">
              <a:extLst>
                <a:ext uri="{FF2B5EF4-FFF2-40B4-BE49-F238E27FC236}">
                  <a16:creationId xmlns:a16="http://schemas.microsoft.com/office/drawing/2014/main" id="{153A71E0-C369-48F8-AF92-6A6B8BAC0041}"/>
                </a:ext>
              </a:extLst>
            </p:cNvPr>
            <p:cNvSpPr txBox="1"/>
            <p:nvPr/>
          </p:nvSpPr>
          <p:spPr>
            <a:xfrm rot="16200000">
              <a:off x="6047882" y="2516285"/>
              <a:ext cx="786188" cy="16158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srgbClr val="000000"/>
                  </a:solidFill>
                  <a:effectLst/>
                  <a:uLnTx/>
                  <a:uFillTx/>
                  <a:latin typeface="Calibri"/>
                  <a:ea typeface="+mn-ea"/>
                  <a:cs typeface="+mn-cs"/>
                </a:rPr>
                <a:t>High</a:t>
              </a:r>
            </a:p>
          </p:txBody>
        </p:sp>
        <p:cxnSp>
          <p:nvCxnSpPr>
            <p:cNvPr id="57" name="Straight Connector 56">
              <a:extLst>
                <a:ext uri="{FF2B5EF4-FFF2-40B4-BE49-F238E27FC236}">
                  <a16:creationId xmlns:a16="http://schemas.microsoft.com/office/drawing/2014/main" id="{26681A2F-333D-49D3-AB7E-96F895DDE8AF}"/>
                </a:ext>
              </a:extLst>
            </p:cNvPr>
            <p:cNvCxnSpPr>
              <a:cxnSpLocks/>
            </p:cNvCxnSpPr>
            <p:nvPr/>
          </p:nvCxnSpPr>
          <p:spPr>
            <a:xfrm flipV="1">
              <a:off x="6779722" y="2203982"/>
              <a:ext cx="0" cy="3869196"/>
            </a:xfrm>
            <a:prstGeom prst="line">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8BE40C2-8D90-4BCC-BF23-6779641EFA7B}"/>
                </a:ext>
              </a:extLst>
            </p:cNvPr>
            <p:cNvCxnSpPr>
              <a:cxnSpLocks/>
            </p:cNvCxnSpPr>
            <p:nvPr/>
          </p:nvCxnSpPr>
          <p:spPr>
            <a:xfrm flipV="1">
              <a:off x="8952447" y="2203982"/>
              <a:ext cx="0" cy="3872066"/>
            </a:xfrm>
            <a:prstGeom prst="line">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D33B3-39B3-4AD8-B2AD-678BA05D1942}"/>
                </a:ext>
              </a:extLst>
            </p:cNvPr>
            <p:cNvCxnSpPr>
              <a:cxnSpLocks/>
            </p:cNvCxnSpPr>
            <p:nvPr/>
          </p:nvCxnSpPr>
          <p:spPr>
            <a:xfrm flipV="1">
              <a:off x="10767357" y="2203982"/>
              <a:ext cx="0" cy="3872066"/>
            </a:xfrm>
            <a:prstGeom prst="line">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8D1FB25B-04E0-4A5C-B910-559AC234E168}"/>
                </a:ext>
              </a:extLst>
            </p:cNvPr>
            <p:cNvSpPr txBox="1"/>
            <p:nvPr/>
          </p:nvSpPr>
          <p:spPr>
            <a:xfrm>
              <a:off x="10726566" y="1902461"/>
              <a:ext cx="106814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Calibri"/>
                  <a:ea typeface="+mn-ea"/>
                  <a:cs typeface="+mn-cs"/>
                </a:rPr>
                <a:t>3</a:t>
              </a:r>
              <a:r>
                <a:rPr kumimoji="0" lang="en-GB" sz="1400" b="1" i="0" u="none" strike="noStrike" kern="0" cap="none" spc="0" normalizeH="0" baseline="30000" noProof="0">
                  <a:ln>
                    <a:noFill/>
                  </a:ln>
                  <a:solidFill>
                    <a:srgbClr val="000000"/>
                  </a:solidFill>
                  <a:effectLst/>
                  <a:uLnTx/>
                  <a:uFillTx/>
                  <a:latin typeface="Calibri"/>
                  <a:ea typeface="+mn-ea"/>
                  <a:cs typeface="+mn-cs"/>
                </a:rPr>
                <a:t>rd</a:t>
              </a:r>
              <a:r>
                <a:rPr kumimoji="0" lang="en-GB" sz="1400" b="1" i="0" u="none" strike="noStrike" kern="0" cap="none" spc="0" normalizeH="0" baseline="0" noProof="0">
                  <a:ln>
                    <a:noFill/>
                  </a:ln>
                  <a:solidFill>
                    <a:srgbClr val="000000"/>
                  </a:solidFill>
                  <a:effectLst/>
                  <a:uLnTx/>
                  <a:uFillTx/>
                  <a:latin typeface="Calibri"/>
                  <a:ea typeface="+mn-ea"/>
                  <a:cs typeface="+mn-cs"/>
                </a:rPr>
                <a:t> shock</a:t>
              </a:r>
            </a:p>
          </p:txBody>
        </p:sp>
      </p:grpSp>
      <p:sp>
        <p:nvSpPr>
          <p:cNvPr id="35" name="TextBox 34">
            <a:extLst>
              <a:ext uri="{FF2B5EF4-FFF2-40B4-BE49-F238E27FC236}">
                <a16:creationId xmlns:a16="http://schemas.microsoft.com/office/drawing/2014/main" id="{A9B5A2D2-F3E5-415C-ABF0-58DBE12A4F8E}"/>
              </a:ext>
            </a:extLst>
          </p:cNvPr>
          <p:cNvSpPr txBox="1"/>
          <p:nvPr/>
        </p:nvSpPr>
        <p:spPr>
          <a:xfrm>
            <a:off x="459470" y="5282425"/>
            <a:ext cx="992587" cy="67710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0" cap="none" spc="0" normalizeH="0" baseline="0" noProof="0">
                <a:ln>
                  <a:noFill/>
                </a:ln>
                <a:solidFill>
                  <a:srgbClr val="76D3FF"/>
                </a:solidFill>
                <a:effectLst/>
                <a:uLnTx/>
                <a:uFillTx/>
                <a:latin typeface="MMC Display Condensed"/>
                <a:ea typeface="+mn-ea"/>
                <a:cs typeface="+mn-cs"/>
              </a:rPr>
              <a:t>70</a:t>
            </a:r>
            <a:r>
              <a:rPr kumimoji="0" lang="en-GB" sz="3200" b="1" i="0" u="none" strike="noStrike" kern="0" cap="none" spc="0" normalizeH="0" baseline="0" noProof="0">
                <a:ln>
                  <a:noFill/>
                </a:ln>
                <a:solidFill>
                  <a:srgbClr val="76D3FF"/>
                </a:solidFill>
                <a:effectLst/>
                <a:uLnTx/>
                <a:uFillTx/>
                <a:latin typeface="MMC Display Condensed"/>
                <a:ea typeface="+mn-ea"/>
                <a:cs typeface="+mn-cs"/>
              </a:rPr>
              <a:t>% </a:t>
            </a:r>
          </a:p>
        </p:txBody>
      </p:sp>
      <p:sp>
        <p:nvSpPr>
          <p:cNvPr id="44" name="TextBox 43">
            <a:extLst>
              <a:ext uri="{FF2B5EF4-FFF2-40B4-BE49-F238E27FC236}">
                <a16:creationId xmlns:a16="http://schemas.microsoft.com/office/drawing/2014/main" id="{78D9D65B-D766-4327-886A-72848E3642A7}"/>
              </a:ext>
            </a:extLst>
          </p:cNvPr>
          <p:cNvSpPr txBox="1"/>
          <p:nvPr/>
        </p:nvSpPr>
        <p:spPr>
          <a:xfrm>
            <a:off x="459470" y="3786828"/>
            <a:ext cx="1146775" cy="769441"/>
          </a:xfrm>
          <a:prstGeom prst="rect">
            <a:avLst/>
          </a:prstGeom>
          <a:noFill/>
        </p:spPr>
        <p:txBody>
          <a:bodyPr wrap="square" lIns="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chemeClr val="accent2"/>
                </a:solidFill>
                <a:effectLst/>
                <a:uLnTx/>
                <a:uFillTx/>
                <a:latin typeface="MMC Display Condensed"/>
                <a:ea typeface="+mn-ea"/>
                <a:cs typeface="+mn-cs"/>
              </a:rPr>
              <a:t>95</a:t>
            </a:r>
            <a:r>
              <a:rPr kumimoji="0" lang="en-GB" sz="3200" b="1" i="0" u="none" strike="noStrike" kern="1200" cap="none" spc="0" normalizeH="0" baseline="0" noProof="0">
                <a:ln>
                  <a:noFill/>
                </a:ln>
                <a:solidFill>
                  <a:schemeClr val="accent2"/>
                </a:solidFill>
                <a:effectLst/>
                <a:uLnTx/>
                <a:uFillTx/>
                <a:latin typeface="MMC Display Condensed"/>
                <a:ea typeface="+mn-ea"/>
                <a:cs typeface="+mn-cs"/>
              </a:rPr>
              <a:t>%</a:t>
            </a:r>
            <a:r>
              <a:rPr kumimoji="0" lang="en-GB" sz="4400" b="1" i="0" u="none" strike="noStrike" kern="1200" cap="none" spc="0" normalizeH="0" baseline="0" noProof="0">
                <a:ln>
                  <a:noFill/>
                </a:ln>
                <a:solidFill>
                  <a:schemeClr val="accent2"/>
                </a:solidFill>
                <a:effectLst/>
                <a:uLnTx/>
                <a:uFillTx/>
                <a:latin typeface="MMC Display Condensed"/>
                <a:ea typeface="+mn-ea"/>
                <a:cs typeface="+mn-cs"/>
              </a:rPr>
              <a:t> </a:t>
            </a:r>
          </a:p>
        </p:txBody>
      </p:sp>
      <p:sp>
        <p:nvSpPr>
          <p:cNvPr id="38" name="Ghost">
            <a:extLst>
              <a:ext uri="{FF2B5EF4-FFF2-40B4-BE49-F238E27FC236}">
                <a16:creationId xmlns:a16="http://schemas.microsoft.com/office/drawing/2014/main" id="{32816449-EEC4-45A9-AE6B-B87AB54F4736}"/>
              </a:ext>
            </a:extLst>
          </p:cNvPr>
          <p:cNvSpPr/>
          <p:nvPr/>
        </p:nvSpPr>
        <p:spPr>
          <a:xfrm>
            <a:off x="457200" y="107385"/>
            <a:ext cx="202138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How to lead in a perma-crisis world</a:t>
            </a:r>
          </a:p>
        </p:txBody>
      </p:sp>
    </p:spTree>
    <p:extLst>
      <p:ext uri="{BB962C8B-B14F-4D97-AF65-F5344CB8AC3E}">
        <p14:creationId xmlns:p14="http://schemas.microsoft.com/office/powerpoint/2010/main" val="3364370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8B821D-22DE-4DDD-8336-EDB5AE08327D}"/>
              </a:ext>
            </a:extLst>
          </p:cNvPr>
          <p:cNvGraphicFramePr>
            <a:graphicFrameLocks noChangeAspect="1"/>
          </p:cNvGraphicFramePr>
          <p:nvPr>
            <p:custDataLst>
              <p:tags r:id="rId1"/>
            </p:custDataLst>
            <p:extLst>
              <p:ext uri="{D42A27DB-BD31-4B8C-83A1-F6EECF244321}">
                <p14:modId xmlns:p14="http://schemas.microsoft.com/office/powerpoint/2010/main" val="2000223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Object 7" hidden="1">
                        <a:extLst>
                          <a:ext uri="{FF2B5EF4-FFF2-40B4-BE49-F238E27FC236}">
                            <a16:creationId xmlns:a16="http://schemas.microsoft.com/office/drawing/2014/main" id="{6D8B821D-22DE-4DDD-8336-EDB5AE08327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graphicFrame>
        <p:nvGraphicFramePr>
          <p:cNvPr id="27" name="Chart 26">
            <a:extLst>
              <a:ext uri="{FF2B5EF4-FFF2-40B4-BE49-F238E27FC236}">
                <a16:creationId xmlns:a16="http://schemas.microsoft.com/office/drawing/2014/main" id="{061017AC-8F8B-958C-3216-B1BA5C2CC1E1}"/>
              </a:ext>
            </a:extLst>
          </p:cNvPr>
          <p:cNvGraphicFramePr/>
          <p:nvPr>
            <p:extLst>
              <p:ext uri="{D42A27DB-BD31-4B8C-83A1-F6EECF244321}">
                <p14:modId xmlns:p14="http://schemas.microsoft.com/office/powerpoint/2010/main" val="328585975"/>
              </p:ext>
            </p:extLst>
          </p:nvPr>
        </p:nvGraphicFramePr>
        <p:xfrm>
          <a:off x="696913" y="1393825"/>
          <a:ext cx="6819900" cy="451802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4" name="Chart 3">
            <a:extLst>
              <a:ext uri="{FF2B5EF4-FFF2-40B4-BE49-F238E27FC236}">
                <a16:creationId xmlns:a16="http://schemas.microsoft.com/office/drawing/2014/main" id="{820355B8-71C8-725B-1364-D0755BB6F9AB}"/>
              </a:ext>
            </a:extLst>
          </p:cNvPr>
          <p:cNvGraphicFramePr/>
          <p:nvPr>
            <p:custDataLst>
              <p:tags r:id="rId2"/>
            </p:custDataLst>
            <p:extLst>
              <p:ext uri="{D42A27DB-BD31-4B8C-83A1-F6EECF244321}">
                <p14:modId xmlns:p14="http://schemas.microsoft.com/office/powerpoint/2010/main" val="514585005"/>
              </p:ext>
            </p:extLst>
          </p:nvPr>
        </p:nvGraphicFramePr>
        <p:xfrm>
          <a:off x="696913" y="1393825"/>
          <a:ext cx="6819900" cy="4518025"/>
        </p:xfrm>
        <a:graphic>
          <a:graphicData uri="http://schemas.openxmlformats.org/drawingml/2006/chart">
            <c:chart xmlns:c="http://schemas.openxmlformats.org/drawingml/2006/chart" xmlns:r="http://schemas.openxmlformats.org/officeDocument/2006/relationships" r:id="rId20"/>
          </a:graphicData>
        </a:graphic>
      </p:graphicFrame>
      <p:sp>
        <p:nvSpPr>
          <p:cNvPr id="12" name="BodyText">
            <a:extLst>
              <a:ext uri="{FF2B5EF4-FFF2-40B4-BE49-F238E27FC236}">
                <a16:creationId xmlns:a16="http://schemas.microsoft.com/office/drawing/2014/main" id="{34E1DDCA-143A-4549-8213-A1DAD65B098A}"/>
              </a:ext>
            </a:extLst>
          </p:cNvPr>
          <p:cNvSpPr>
            <a:spLocks noGrp="1"/>
          </p:cNvSpPr>
          <p:nvPr>
            <p:custDataLst>
              <p:tags r:id="rId3"/>
            </p:custDataLst>
          </p:nvPr>
        </p:nvSpPr>
        <p:spPr bwMode="gray">
          <a:xfrm>
            <a:off x="1179513" y="588010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5179DD2E-A0FF-4F4F-84AE-82B5CB0E2539}" type="datetime'''''''20''''''''''''''0''''''''''''2'''''''''''''''">
              <a:rPr kumimoji="0" lang="en-GB" altLang="en-US" sz="1200" b="0" i="0" u="none" strike="noStrike" kern="0" cap="none" spc="0" normalizeH="0" baseline="0" noProof="0" smtClean="0">
                <a:ln>
                  <a:noFill/>
                </a:ln>
                <a:solidFill>
                  <a:srgbClr val="000000"/>
                </a:solidFill>
                <a:effectLst/>
                <a:uLnTx/>
                <a:uFillTx/>
              </a:rPr>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2002</a:t>
            </a:fld>
            <a:endParaRPr kumimoji="0" lang="en-GB" sz="1200" b="0" i="0" u="none" strike="noStrike" kern="0" cap="none" spc="0" normalizeH="0" baseline="0" noProof="0">
              <a:ln>
                <a:noFill/>
              </a:ln>
              <a:solidFill>
                <a:srgbClr val="000000"/>
              </a:solidFill>
              <a:effectLst/>
              <a:uLnTx/>
              <a:uFillTx/>
            </a:endParaRPr>
          </a:p>
        </p:txBody>
      </p:sp>
      <p:sp>
        <p:nvSpPr>
          <p:cNvPr id="13" name="BodyText">
            <a:extLst>
              <a:ext uri="{FF2B5EF4-FFF2-40B4-BE49-F238E27FC236}">
                <a16:creationId xmlns:a16="http://schemas.microsoft.com/office/drawing/2014/main" id="{C89F3701-368C-4E12-9962-02CC2471189E}"/>
              </a:ext>
            </a:extLst>
          </p:cNvPr>
          <p:cNvSpPr>
            <a:spLocks noGrp="1"/>
          </p:cNvSpPr>
          <p:nvPr>
            <p:custDataLst>
              <p:tags r:id="rId4"/>
            </p:custDataLst>
          </p:nvPr>
        </p:nvSpPr>
        <p:spPr bwMode="gray">
          <a:xfrm>
            <a:off x="2287588" y="588010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585C8695-5732-4E8B-B3CA-01812EE25E47}" type="datetime'2''''''''''''''''''''''0''''''0''''''''''''''''''''''6'''">
              <a:rPr kumimoji="0" lang="en-GB" altLang="en-US" sz="1200" b="0" i="0" u="none" strike="noStrike" kern="0" cap="none" spc="0" normalizeH="0" baseline="0" noProof="0" smtClean="0">
                <a:ln>
                  <a:noFill/>
                </a:ln>
                <a:solidFill>
                  <a:srgbClr val="000000"/>
                </a:solidFill>
                <a:effectLst/>
                <a:uLnTx/>
                <a:uFillTx/>
              </a:rPr>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2006</a:t>
            </a:fld>
            <a:endParaRPr kumimoji="0" lang="en-GB" sz="1200" b="0" i="0" u="none" strike="noStrike" kern="0" cap="none" spc="0" normalizeH="0" baseline="0" noProof="0">
              <a:ln>
                <a:noFill/>
              </a:ln>
              <a:solidFill>
                <a:srgbClr val="000000"/>
              </a:solidFill>
              <a:effectLst/>
              <a:uLnTx/>
              <a:uFillTx/>
            </a:endParaRPr>
          </a:p>
        </p:txBody>
      </p:sp>
      <p:sp>
        <p:nvSpPr>
          <p:cNvPr id="15" name="BodyText">
            <a:extLst>
              <a:ext uri="{FF2B5EF4-FFF2-40B4-BE49-F238E27FC236}">
                <a16:creationId xmlns:a16="http://schemas.microsoft.com/office/drawing/2014/main" id="{1224C1BB-4B0E-47FD-B192-E9387519ACD3}"/>
              </a:ext>
            </a:extLst>
          </p:cNvPr>
          <p:cNvSpPr>
            <a:spLocks noGrp="1"/>
          </p:cNvSpPr>
          <p:nvPr>
            <p:custDataLst>
              <p:tags r:id="rId5"/>
            </p:custDataLst>
          </p:nvPr>
        </p:nvSpPr>
        <p:spPr bwMode="gray">
          <a:xfrm>
            <a:off x="3397250" y="588010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FF4B69B3-2690-4DFD-B10F-0AE1C7DFABF3}" type="datetime'''''''''20''''''''''1''''''''''0'''''''''''''''''''''''''">
              <a:rPr kumimoji="0" lang="en-GB" altLang="en-US" sz="1200" b="0" i="0" u="none" strike="noStrike" kern="0" cap="none" spc="0" normalizeH="0" baseline="0" noProof="0" smtClean="0">
                <a:ln>
                  <a:noFill/>
                </a:ln>
                <a:solidFill>
                  <a:srgbClr val="000000"/>
                </a:solidFill>
                <a:effectLst/>
                <a:uLnTx/>
                <a:uFillTx/>
              </a:rPr>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GB" sz="1200" b="0" i="0" u="none" strike="noStrike" kern="0" cap="none" spc="0" normalizeH="0" baseline="0" noProof="0">
              <a:ln>
                <a:noFill/>
              </a:ln>
              <a:solidFill>
                <a:srgbClr val="000000"/>
              </a:solidFill>
              <a:effectLst/>
              <a:uLnTx/>
              <a:uFillTx/>
            </a:endParaRPr>
          </a:p>
        </p:txBody>
      </p:sp>
      <p:sp>
        <p:nvSpPr>
          <p:cNvPr id="14" name="BodyText">
            <a:extLst>
              <a:ext uri="{FF2B5EF4-FFF2-40B4-BE49-F238E27FC236}">
                <a16:creationId xmlns:a16="http://schemas.microsoft.com/office/drawing/2014/main" id="{F43BF871-CD18-4126-AAE2-EC2332005824}"/>
              </a:ext>
            </a:extLst>
          </p:cNvPr>
          <p:cNvSpPr>
            <a:spLocks noGrp="1"/>
          </p:cNvSpPr>
          <p:nvPr>
            <p:custDataLst>
              <p:tags r:id="rId6"/>
            </p:custDataLst>
          </p:nvPr>
        </p:nvSpPr>
        <p:spPr bwMode="gray">
          <a:xfrm>
            <a:off x="4506913" y="588010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EC1E9F36-3502-407E-9B7C-C61D7355C862}" type="datetime'2''''''0''1''4'''''''''''''''''">
              <a:rPr kumimoji="0" lang="en-GB" altLang="en-US" sz="1200" b="0" i="0" u="none" strike="noStrike" kern="0" cap="none" spc="0" normalizeH="0" baseline="0" noProof="0" smtClean="0">
                <a:ln>
                  <a:noFill/>
                </a:ln>
                <a:solidFill>
                  <a:srgbClr val="000000"/>
                </a:solidFill>
                <a:effectLst/>
                <a:uLnTx/>
                <a:uFillTx/>
              </a:rPr>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2014</a:t>
            </a:fld>
            <a:endParaRPr kumimoji="0" lang="en-GB" sz="1200" b="0" i="0" u="none" strike="noStrike" kern="0" cap="none" spc="0" normalizeH="0" baseline="0" noProof="0">
              <a:ln>
                <a:noFill/>
              </a:ln>
              <a:solidFill>
                <a:srgbClr val="000000"/>
              </a:solidFill>
              <a:effectLst/>
              <a:uLnTx/>
              <a:uFillTx/>
            </a:endParaRPr>
          </a:p>
        </p:txBody>
      </p:sp>
      <p:sp>
        <p:nvSpPr>
          <p:cNvPr id="11" name="BodyText">
            <a:extLst>
              <a:ext uri="{FF2B5EF4-FFF2-40B4-BE49-F238E27FC236}">
                <a16:creationId xmlns:a16="http://schemas.microsoft.com/office/drawing/2014/main" id="{29A79585-BF76-4FF2-8DD9-3A30B92A052B}"/>
              </a:ext>
            </a:extLst>
          </p:cNvPr>
          <p:cNvSpPr>
            <a:spLocks noGrp="1"/>
          </p:cNvSpPr>
          <p:nvPr>
            <p:custDataLst>
              <p:tags r:id="rId7"/>
            </p:custDataLst>
          </p:nvPr>
        </p:nvSpPr>
        <p:spPr bwMode="gray">
          <a:xfrm>
            <a:off x="5614988" y="588010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6C802EF3-36B8-448D-8B5D-3E56F9BFF76A}" type="datetime'2''''''''0''''''''''''1''''''''''''''8'''''''''''''''''''">
              <a:rPr kumimoji="0" lang="en-GB" altLang="en-US" sz="1200" b="0" i="0" u="none" strike="noStrike" kern="0" cap="none" spc="0" normalizeH="0" baseline="0" noProof="0" smtClean="0">
                <a:ln>
                  <a:noFill/>
                </a:ln>
                <a:solidFill>
                  <a:srgbClr val="000000"/>
                </a:solidFill>
                <a:effectLst/>
                <a:uLnTx/>
                <a:uFillTx/>
              </a:rPr>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GB" sz="1200" b="0" i="0" u="none" strike="noStrike" kern="0" cap="none" spc="0" normalizeH="0" baseline="0" noProof="0">
              <a:ln>
                <a:noFill/>
              </a:ln>
              <a:solidFill>
                <a:srgbClr val="000000"/>
              </a:solidFill>
              <a:effectLst/>
              <a:uLnTx/>
              <a:uFillTx/>
            </a:endParaRPr>
          </a:p>
        </p:txBody>
      </p:sp>
      <p:sp>
        <p:nvSpPr>
          <p:cNvPr id="10" name="BodyText">
            <a:extLst>
              <a:ext uri="{FF2B5EF4-FFF2-40B4-BE49-F238E27FC236}">
                <a16:creationId xmlns:a16="http://schemas.microsoft.com/office/drawing/2014/main" id="{267077BC-B52C-43DE-A5D0-5D07E3CAE224}"/>
              </a:ext>
            </a:extLst>
          </p:cNvPr>
          <p:cNvSpPr>
            <a:spLocks noGrp="1"/>
          </p:cNvSpPr>
          <p:nvPr>
            <p:custDataLst>
              <p:tags r:id="rId8"/>
            </p:custDataLst>
          </p:nvPr>
        </p:nvSpPr>
        <p:spPr bwMode="gray">
          <a:xfrm>
            <a:off x="6724650" y="588010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13BF4F89-BC8C-40CF-AFBB-C82096895887}" type="datetime'''''''2''''''0''''''2''2'''''''''''''''''''''''''''''''''''">
              <a:rPr kumimoji="0" lang="en-GB" altLang="en-US" sz="1200" b="0" i="0" u="none" strike="noStrike" kern="0" cap="none" spc="0" normalizeH="0" baseline="0" noProof="0" smtClean="0">
                <a:ln>
                  <a:noFill/>
                </a:ln>
                <a:solidFill>
                  <a:srgbClr val="000000"/>
                </a:solidFill>
                <a:effectLst/>
                <a:uLnTx/>
                <a:uFillTx/>
              </a:rPr>
              <a:pPr marL="0" marR="0" lvl="0" indent="0" algn="ct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GB" sz="1200" b="0" i="0" u="none" strike="noStrike" kern="0" cap="none" spc="0" normalizeH="0" baseline="0" noProof="0">
              <a:ln>
                <a:noFill/>
              </a:ln>
              <a:solidFill>
                <a:srgbClr val="000000"/>
              </a:solidFill>
              <a:effectLst/>
              <a:uLnTx/>
              <a:uFillTx/>
            </a:endParaRPr>
          </a:p>
        </p:txBody>
      </p:sp>
      <p:sp>
        <p:nvSpPr>
          <p:cNvPr id="16" name="BodyText">
            <a:extLst>
              <a:ext uri="{FF2B5EF4-FFF2-40B4-BE49-F238E27FC236}">
                <a16:creationId xmlns:a16="http://schemas.microsoft.com/office/drawing/2014/main" id="{3E6A6BE4-42B6-4365-B1F0-13D37A3D6CA0}"/>
              </a:ext>
            </a:extLst>
          </p:cNvPr>
          <p:cNvSpPr>
            <a:spLocks noGrp="1"/>
          </p:cNvSpPr>
          <p:nvPr>
            <p:custDataLst>
              <p:tags r:id="rId9"/>
            </p:custDataLst>
          </p:nvPr>
        </p:nvSpPr>
        <p:spPr bwMode="gray">
          <a:xfrm>
            <a:off x="600075" y="5738813"/>
            <a:ext cx="77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632C44B1-1484-40BF-974E-5D5044360958}" type="datetime'''0'''''''''''''''''''''">
              <a:rPr kumimoji="0" lang="en-GB" altLang="en-US" sz="1200" b="0" i="0" u="none" strike="noStrike" kern="0" cap="none" spc="0" normalizeH="0" baseline="0" noProof="0" smtClean="0">
                <a:ln>
                  <a:noFill/>
                </a:ln>
                <a:solidFill>
                  <a:srgbClr val="000000"/>
                </a:solidFill>
                <a:effectLst/>
                <a:uLnTx/>
                <a:uFillTx/>
              </a:rPr>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GB" sz="1200" b="0" i="0" u="none" strike="noStrike" kern="0" cap="none" spc="0" normalizeH="0" baseline="0" noProof="0">
              <a:ln>
                <a:noFill/>
              </a:ln>
              <a:solidFill>
                <a:srgbClr val="000000"/>
              </a:solidFill>
              <a:effectLst/>
              <a:uLnTx/>
              <a:uFillTx/>
            </a:endParaRPr>
          </a:p>
        </p:txBody>
      </p:sp>
      <p:sp>
        <p:nvSpPr>
          <p:cNvPr id="17" name="BodyText">
            <a:extLst>
              <a:ext uri="{FF2B5EF4-FFF2-40B4-BE49-F238E27FC236}">
                <a16:creationId xmlns:a16="http://schemas.microsoft.com/office/drawing/2014/main" id="{C8DF8E8E-15EC-42E1-9020-C19CCAD2A519}"/>
              </a:ext>
            </a:extLst>
          </p:cNvPr>
          <p:cNvSpPr>
            <a:spLocks noGrp="1"/>
          </p:cNvSpPr>
          <p:nvPr>
            <p:custDataLst>
              <p:tags r:id="rId10"/>
            </p:custDataLst>
          </p:nvPr>
        </p:nvSpPr>
        <p:spPr bwMode="gray">
          <a:xfrm>
            <a:off x="444500" y="4868863"/>
            <a:ext cx="233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2C382A66-548E-477C-A7E5-A6809C84F9CD}" type="datetime'''''''''''''''''''''''''''1''''''0''''0'''''''''''''''''''''''">
              <a:rPr kumimoji="0" lang="en-GB" altLang="en-US" sz="1200" b="0" i="0" u="none" strike="noStrike" kern="0" cap="none" spc="0" normalizeH="0" baseline="0" noProof="0" smtClean="0">
                <a:ln>
                  <a:noFill/>
                </a:ln>
                <a:solidFill>
                  <a:srgbClr val="000000"/>
                </a:solidFill>
                <a:effectLst/>
                <a:uLnTx/>
                <a:uFillTx/>
              </a:rPr>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GB" sz="1200" b="0" i="0" u="none" strike="noStrike" kern="0" cap="none" spc="0" normalizeH="0" baseline="0" noProof="0">
              <a:ln>
                <a:noFill/>
              </a:ln>
              <a:solidFill>
                <a:srgbClr val="000000"/>
              </a:solidFill>
              <a:effectLst/>
              <a:uLnTx/>
              <a:uFillTx/>
            </a:endParaRPr>
          </a:p>
        </p:txBody>
      </p:sp>
      <p:sp>
        <p:nvSpPr>
          <p:cNvPr id="18" name="BodyText">
            <a:extLst>
              <a:ext uri="{FF2B5EF4-FFF2-40B4-BE49-F238E27FC236}">
                <a16:creationId xmlns:a16="http://schemas.microsoft.com/office/drawing/2014/main" id="{D8702814-6205-43D8-863F-5FA40854ADA8}"/>
              </a:ext>
            </a:extLst>
          </p:cNvPr>
          <p:cNvSpPr>
            <a:spLocks noGrp="1"/>
          </p:cNvSpPr>
          <p:nvPr>
            <p:custDataLst>
              <p:tags r:id="rId11"/>
            </p:custDataLst>
          </p:nvPr>
        </p:nvSpPr>
        <p:spPr bwMode="gray">
          <a:xfrm>
            <a:off x="444500" y="3997325"/>
            <a:ext cx="233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8F17D50B-570A-4339-8818-10D1D4C1014E}" type="datetime'''''''''''''''''''''''''''''''''2''''''''''''0''''''0'''''''">
              <a:rPr kumimoji="0" lang="en-GB" altLang="en-US" sz="1200" b="0" i="0" u="none" strike="noStrike" kern="0" cap="none" spc="0" normalizeH="0" baseline="0" noProof="0" smtClean="0">
                <a:ln>
                  <a:noFill/>
                </a:ln>
                <a:solidFill>
                  <a:srgbClr val="000000"/>
                </a:solidFill>
                <a:effectLst/>
                <a:uLnTx/>
                <a:uFillTx/>
              </a:rPr>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GB" sz="1200" b="0" i="0" u="none" strike="noStrike" kern="0" cap="none" spc="0" normalizeH="0" baseline="0" noProof="0">
              <a:ln>
                <a:noFill/>
              </a:ln>
              <a:solidFill>
                <a:srgbClr val="000000"/>
              </a:solidFill>
              <a:effectLst/>
              <a:uLnTx/>
              <a:uFillTx/>
            </a:endParaRPr>
          </a:p>
        </p:txBody>
      </p:sp>
      <p:sp>
        <p:nvSpPr>
          <p:cNvPr id="19" name="BodyText">
            <a:extLst>
              <a:ext uri="{FF2B5EF4-FFF2-40B4-BE49-F238E27FC236}">
                <a16:creationId xmlns:a16="http://schemas.microsoft.com/office/drawing/2014/main" id="{8D1E39A3-30A7-46ED-8852-07AE136DDCAE}"/>
              </a:ext>
            </a:extLst>
          </p:cNvPr>
          <p:cNvSpPr>
            <a:spLocks noGrp="1"/>
          </p:cNvSpPr>
          <p:nvPr>
            <p:custDataLst>
              <p:tags r:id="rId12"/>
            </p:custDataLst>
          </p:nvPr>
        </p:nvSpPr>
        <p:spPr bwMode="gray">
          <a:xfrm>
            <a:off x="444500" y="3127375"/>
            <a:ext cx="233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43598222-C631-4F71-B3A9-53E78D620534}" type="datetime'''''''''''''''''''''''''3''''''''''''''0''''''''''''''''0'''">
              <a:rPr kumimoji="0" lang="en-GB" altLang="en-US" sz="1200" b="0" i="0" u="none" strike="noStrike" kern="0" cap="none" spc="0" normalizeH="0" baseline="0" noProof="0" smtClean="0">
                <a:ln>
                  <a:noFill/>
                </a:ln>
                <a:solidFill>
                  <a:srgbClr val="000000"/>
                </a:solidFill>
                <a:effectLst/>
                <a:uLnTx/>
                <a:uFillTx/>
              </a:rPr>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300</a:t>
            </a:fld>
            <a:endParaRPr kumimoji="0" lang="en-GB" sz="1200" b="0" i="0" u="none" strike="noStrike" kern="0" cap="none" spc="0" normalizeH="0" baseline="0" noProof="0">
              <a:ln>
                <a:noFill/>
              </a:ln>
              <a:solidFill>
                <a:srgbClr val="000000"/>
              </a:solidFill>
              <a:effectLst/>
              <a:uLnTx/>
              <a:uFillTx/>
            </a:endParaRPr>
          </a:p>
        </p:txBody>
      </p:sp>
      <p:sp>
        <p:nvSpPr>
          <p:cNvPr id="20" name="BodyText">
            <a:extLst>
              <a:ext uri="{FF2B5EF4-FFF2-40B4-BE49-F238E27FC236}">
                <a16:creationId xmlns:a16="http://schemas.microsoft.com/office/drawing/2014/main" id="{4FF11D7E-7E18-4681-8134-94601B8403E7}"/>
              </a:ext>
            </a:extLst>
          </p:cNvPr>
          <p:cNvSpPr>
            <a:spLocks noGrp="1"/>
          </p:cNvSpPr>
          <p:nvPr>
            <p:custDataLst>
              <p:tags r:id="rId13"/>
            </p:custDataLst>
          </p:nvPr>
        </p:nvSpPr>
        <p:spPr bwMode="gray">
          <a:xfrm>
            <a:off x="444500" y="2255838"/>
            <a:ext cx="233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AA3DE6BA-908C-41E6-8184-37366A80FA99}" type="datetime'''''''''''''''4''''''''''''''''''''''''''''''''''''0''0'''">
              <a:rPr kumimoji="0" lang="en-GB" altLang="en-US" sz="1200" b="0" i="0" u="none" strike="noStrike" kern="0" cap="none" spc="0" normalizeH="0" baseline="0" noProof="0" smtClean="0">
                <a:ln>
                  <a:noFill/>
                </a:ln>
                <a:solidFill>
                  <a:srgbClr val="000000"/>
                </a:solidFill>
                <a:effectLst/>
                <a:uLnTx/>
                <a:uFillTx/>
              </a:rPr>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GB" sz="1200" b="0" i="0" u="none" strike="noStrike" kern="0" cap="none" spc="0" normalizeH="0" baseline="0" noProof="0">
              <a:ln>
                <a:noFill/>
              </a:ln>
              <a:solidFill>
                <a:srgbClr val="000000"/>
              </a:solidFill>
              <a:effectLst/>
              <a:uLnTx/>
              <a:uFillTx/>
            </a:endParaRPr>
          </a:p>
        </p:txBody>
      </p:sp>
      <p:sp>
        <p:nvSpPr>
          <p:cNvPr id="21" name="BodyText">
            <a:extLst>
              <a:ext uri="{FF2B5EF4-FFF2-40B4-BE49-F238E27FC236}">
                <a16:creationId xmlns:a16="http://schemas.microsoft.com/office/drawing/2014/main" id="{1805921D-5C37-48F2-BAED-3C4F1E3C7B3A}"/>
              </a:ext>
            </a:extLst>
          </p:cNvPr>
          <p:cNvSpPr>
            <a:spLocks noGrp="1"/>
          </p:cNvSpPr>
          <p:nvPr>
            <p:custDataLst>
              <p:tags r:id="rId14"/>
            </p:custDataLst>
          </p:nvPr>
        </p:nvSpPr>
        <p:spPr bwMode="gray">
          <a:xfrm>
            <a:off x="444500" y="1385888"/>
            <a:ext cx="233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Calibri" panose="020F0502020204030204" pitchFamily="34" charset="0"/>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Calibri" panose="020F0502020204030204" pitchFamily="34" charset="0"/>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fld id="{4A7079D7-D2E5-4CD8-BBFA-B915821D0CA4}" type="datetime'''''''''''''''''''''''''''5''''''''''''''''00'''">
              <a:rPr kumimoji="0" lang="en-GB" altLang="en-US" sz="1200" b="0" i="0" u="none" strike="noStrike" kern="0" cap="none" spc="0" normalizeH="0" baseline="0" noProof="0" smtClean="0">
                <a:ln>
                  <a:noFill/>
                </a:ln>
                <a:solidFill>
                  <a:srgbClr val="000000"/>
                </a:solidFill>
                <a:effectLst/>
                <a:uLnTx/>
                <a:uFillTx/>
              </a:rPr>
              <a:pPr marL="0" marR="0" lvl="0" indent="0" algn="r" defTabSz="914370" rtl="0" eaLnBrk="1" fontAlgn="auto" latinLnBrk="0" hangingPunct="1">
                <a:lnSpc>
                  <a:spcPct val="100000"/>
                </a:lnSpc>
                <a:spcBef>
                  <a:spcPct val="0"/>
                </a:spcBef>
                <a:spcAft>
                  <a:spcPct val="0"/>
                </a:spcAft>
                <a:buClrTx/>
                <a:buSzTx/>
                <a:buFont typeface="Arial" panose="020B0604020202020204" pitchFamily="34" charset="0"/>
                <a:buNone/>
                <a:tabLst/>
                <a:defRPr/>
              </a:pPr>
              <a:t>500</a:t>
            </a:fld>
            <a:endParaRPr kumimoji="0" lang="en-GB" sz="1200" b="0" i="0" u="none" strike="noStrike" kern="0" cap="none" spc="0" normalizeH="0" baseline="0" noProof="0">
              <a:ln>
                <a:noFill/>
              </a:ln>
              <a:solidFill>
                <a:srgbClr val="000000"/>
              </a:solidFill>
              <a:effectLst/>
              <a:uLnTx/>
              <a:uFillTx/>
            </a:endParaRPr>
          </a:p>
        </p:txBody>
      </p:sp>
      <p:sp>
        <p:nvSpPr>
          <p:cNvPr id="24" name="TextBox 23">
            <a:extLst>
              <a:ext uri="{FF2B5EF4-FFF2-40B4-BE49-F238E27FC236}">
                <a16:creationId xmlns:a16="http://schemas.microsoft.com/office/drawing/2014/main" id="{D876A22F-E0D5-4BA0-A2A0-CC910666B8C6}"/>
              </a:ext>
            </a:extLst>
          </p:cNvPr>
          <p:cNvSpPr txBox="1"/>
          <p:nvPr/>
        </p:nvSpPr>
        <p:spPr>
          <a:xfrm>
            <a:off x="4070350" y="3622675"/>
            <a:ext cx="1717675" cy="246063"/>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accent1"/>
                </a:solidFill>
                <a:effectLst/>
                <a:uLnTx/>
                <a:uFillTx/>
                <a:latin typeface="Calibri"/>
                <a:ea typeface="+mn-ea"/>
                <a:cs typeface="+mn-cs"/>
              </a:rPr>
              <a:t>Low volatility index</a:t>
            </a:r>
          </a:p>
        </p:txBody>
      </p:sp>
      <p:sp>
        <p:nvSpPr>
          <p:cNvPr id="25" name="TextBox 24">
            <a:extLst>
              <a:ext uri="{FF2B5EF4-FFF2-40B4-BE49-F238E27FC236}">
                <a16:creationId xmlns:a16="http://schemas.microsoft.com/office/drawing/2014/main" id="{2A06289C-3D63-4351-8D81-8A7BE56E44E3}"/>
              </a:ext>
            </a:extLst>
          </p:cNvPr>
          <p:cNvSpPr txBox="1"/>
          <p:nvPr/>
        </p:nvSpPr>
        <p:spPr>
          <a:xfrm>
            <a:off x="4818063" y="4462463"/>
            <a:ext cx="804863" cy="246063"/>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76D3FF"/>
                </a:solidFill>
                <a:effectLst/>
                <a:uLnTx/>
                <a:uFillTx/>
                <a:latin typeface="Calibri"/>
                <a:ea typeface="+mn-ea"/>
                <a:cs typeface="+mn-cs"/>
              </a:rPr>
              <a:t>S&amp;P 500</a:t>
            </a:r>
          </a:p>
        </p:txBody>
      </p:sp>
      <p:sp>
        <p:nvSpPr>
          <p:cNvPr id="26" name="TextBox 25">
            <a:extLst>
              <a:ext uri="{FF2B5EF4-FFF2-40B4-BE49-F238E27FC236}">
                <a16:creationId xmlns:a16="http://schemas.microsoft.com/office/drawing/2014/main" id="{1F016ACC-5494-447A-AEF0-E9BB4098C053}"/>
              </a:ext>
            </a:extLst>
          </p:cNvPr>
          <p:cNvSpPr txBox="1"/>
          <p:nvPr/>
        </p:nvSpPr>
        <p:spPr>
          <a:xfrm>
            <a:off x="4689475" y="5030788"/>
            <a:ext cx="1473200" cy="246063"/>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accent2"/>
                </a:solidFill>
                <a:effectLst/>
                <a:uLnTx/>
                <a:uFillTx/>
                <a:latin typeface="Calibri"/>
                <a:ea typeface="+mn-ea"/>
                <a:cs typeface="+mn-cs"/>
              </a:rPr>
              <a:t>High beta index</a:t>
            </a:r>
          </a:p>
        </p:txBody>
      </p:sp>
      <p:sp>
        <p:nvSpPr>
          <p:cNvPr id="41" name="Footnote">
            <a:extLst>
              <a:ext uri="{FF2B5EF4-FFF2-40B4-BE49-F238E27FC236}">
                <a16:creationId xmlns:a16="http://schemas.microsoft.com/office/drawing/2014/main" id="{88DAFDC7-ADD8-4667-979D-0352A76C4205}"/>
              </a:ext>
            </a:extLst>
          </p:cNvPr>
          <p:cNvSpPr/>
          <p:nvPr/>
        </p:nvSpPr>
        <p:spPr>
          <a:xfrm>
            <a:off x="457200" y="6277689"/>
            <a:ext cx="11277600" cy="123111"/>
          </a:xfrm>
          <a:prstGeom prst="rect">
            <a:avLst/>
          </a:prstGeom>
        </p:spPr>
        <p:txBody>
          <a:bodyPr vert="horz" lIns="0" tIns="0" rIns="0" bIns="0" rtlCol="0" anchor="b" anchorCtr="0">
            <a:spAutoFit/>
          </a:bodyPr>
          <a:lstStyle/>
          <a:p>
            <a:pPr marL="0" marR="0" lvl="0" indent="0" algn="l" defTabSz="9143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000000"/>
                </a:solidFill>
                <a:effectLst/>
                <a:uLnTx/>
                <a:uFillTx/>
                <a:latin typeface="Calibri"/>
                <a:ea typeface="+mn-ea"/>
                <a:cs typeface="+mn-cs"/>
              </a:rPr>
              <a:t> Base 100 = 31 Dec 1999; Low volatility index: performance of the 100 least volatile stocks; High Beta index: performance of 100 stocks most sensitive to market changes; S&amp;P 500 composite | Sources: Refinitiv, S&amp;P, Oliver Wyman analysis</a:t>
            </a:r>
          </a:p>
        </p:txBody>
      </p:sp>
      <p:cxnSp>
        <p:nvCxnSpPr>
          <p:cNvPr id="45" name="Straight Arrow Connector 44">
            <a:extLst>
              <a:ext uri="{FF2B5EF4-FFF2-40B4-BE49-F238E27FC236}">
                <a16:creationId xmlns:a16="http://schemas.microsoft.com/office/drawing/2014/main" id="{A2F453BF-3ED6-4297-B891-00BFB6DA7255}"/>
              </a:ext>
            </a:extLst>
          </p:cNvPr>
          <p:cNvCxnSpPr>
            <a:cxnSpLocks/>
          </p:cNvCxnSpPr>
          <p:nvPr/>
        </p:nvCxnSpPr>
        <p:spPr>
          <a:xfrm flipV="1">
            <a:off x="8423187" y="1977009"/>
            <a:ext cx="0" cy="2408460"/>
          </a:xfrm>
          <a:prstGeom prst="straightConnector1">
            <a:avLst/>
          </a:prstGeom>
          <a:ln w="1905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2EEA932-28AE-4CD1-9744-4C59883B0272}"/>
              </a:ext>
            </a:extLst>
          </p:cNvPr>
          <p:cNvSpPr txBox="1"/>
          <p:nvPr/>
        </p:nvSpPr>
        <p:spPr>
          <a:xfrm>
            <a:off x="8664392" y="2204455"/>
            <a:ext cx="3157536" cy="206210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0" cap="none" spc="0" normalizeH="0" baseline="0" noProof="0">
                <a:ln>
                  <a:noFill/>
                </a:ln>
                <a:solidFill>
                  <a:srgbClr val="000000"/>
                </a:solidFill>
                <a:effectLst/>
                <a:uLnTx/>
                <a:uFillTx/>
                <a:latin typeface="MMC Display Condensed"/>
                <a:ea typeface="+mn-ea"/>
                <a:cs typeface="+mn-cs"/>
              </a:rPr>
              <a:t>X</a:t>
            </a:r>
            <a:r>
              <a:rPr kumimoji="0" lang="en-GB" sz="5400" b="1" i="0" u="none" strike="noStrike" kern="0" cap="none" spc="0" normalizeH="0" baseline="0" noProof="0">
                <a:ln>
                  <a:noFill/>
                </a:ln>
                <a:solidFill>
                  <a:srgbClr val="000000"/>
                </a:solidFill>
                <a:effectLst/>
                <a:uLnTx/>
                <a:uFillTx/>
                <a:latin typeface="MMC Display Condensed"/>
                <a:ea typeface="+mn-ea"/>
                <a:cs typeface="+mn-cs"/>
              </a:rPr>
              <a:t>5.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000000"/>
                </a:solidFill>
                <a:effectLst/>
                <a:uLnTx/>
                <a:uFillTx/>
                <a:latin typeface="Calibri"/>
                <a:ea typeface="+mn-ea"/>
                <a:cs typeface="+mn-cs"/>
              </a:rPr>
              <a:t>Higher valuation increase </a:t>
            </a:r>
            <a:br>
              <a:rPr kumimoji="0" lang="en-GB" sz="2000" b="1" i="0" u="none" strike="noStrike" kern="0" cap="none" spc="0" normalizeH="0" baseline="0" noProof="0">
                <a:ln>
                  <a:noFill/>
                </a:ln>
                <a:solidFill>
                  <a:srgbClr val="000000"/>
                </a:solidFill>
                <a:effectLst/>
                <a:uLnTx/>
                <a:uFillTx/>
                <a:latin typeface="Calibri"/>
                <a:ea typeface="+mn-ea"/>
                <a:cs typeface="+mn-cs"/>
              </a:rPr>
            </a:br>
            <a:r>
              <a:rPr kumimoji="0" lang="en-GB" sz="2000" b="1" i="0" u="none" strike="noStrike" kern="0" cap="none" spc="0" normalizeH="0" baseline="0" noProof="0">
                <a:ln>
                  <a:noFill/>
                </a:ln>
                <a:solidFill>
                  <a:srgbClr val="000000"/>
                </a:solidFill>
                <a:effectLst/>
                <a:uLnTx/>
                <a:uFillTx/>
                <a:latin typeface="Calibri"/>
                <a:ea typeface="+mn-ea"/>
                <a:cs typeface="+mn-cs"/>
              </a:rPr>
              <a:t>in 23 years </a:t>
            </a:r>
            <a:r>
              <a:rPr kumimoji="0" lang="en-GB" sz="2000" b="0" i="0" u="none" strike="noStrike" kern="0" cap="none" spc="0" normalizeH="0" baseline="0" noProof="0">
                <a:ln>
                  <a:noFill/>
                </a:ln>
                <a:solidFill>
                  <a:srgbClr val="000000"/>
                </a:solidFill>
                <a:effectLst/>
                <a:uLnTx/>
                <a:uFillTx/>
                <a:latin typeface="Calibri"/>
                <a:ea typeface="+mn-ea"/>
                <a:cs typeface="+mn-cs"/>
              </a:rPr>
              <a:t>for low volatility firms compared to the most market-sensitive</a:t>
            </a:r>
          </a:p>
        </p:txBody>
      </p:sp>
      <p:sp>
        <p:nvSpPr>
          <p:cNvPr id="66" name="Title 65">
            <a:extLst>
              <a:ext uri="{FF2B5EF4-FFF2-40B4-BE49-F238E27FC236}">
                <a16:creationId xmlns:a16="http://schemas.microsoft.com/office/drawing/2014/main" id="{608209AE-2CAA-4B47-A57E-8FD6BDFD9CC8}"/>
              </a:ext>
            </a:extLst>
          </p:cNvPr>
          <p:cNvSpPr>
            <a:spLocks noGrp="1"/>
          </p:cNvSpPr>
          <p:nvPr>
            <p:ph type="title"/>
          </p:nvPr>
        </p:nvSpPr>
        <p:spPr/>
        <p:txBody>
          <a:bodyPr vert="horz"/>
          <a:lstStyle/>
          <a:p>
            <a:r>
              <a:rPr lang="en-GB"/>
              <a:t>Adaptive firms generate a resilience premium</a:t>
            </a:r>
          </a:p>
        </p:txBody>
      </p:sp>
      <p:sp>
        <p:nvSpPr>
          <p:cNvPr id="74" name="TextBox 73">
            <a:extLst>
              <a:ext uri="{FF2B5EF4-FFF2-40B4-BE49-F238E27FC236}">
                <a16:creationId xmlns:a16="http://schemas.microsoft.com/office/drawing/2014/main" id="{A34FA41B-F56A-426D-A3ED-13E05F3D0174}"/>
              </a:ext>
            </a:extLst>
          </p:cNvPr>
          <p:cNvSpPr txBox="1"/>
          <p:nvPr/>
        </p:nvSpPr>
        <p:spPr>
          <a:xfrm flipH="1">
            <a:off x="7346950" y="4246563"/>
            <a:ext cx="688975" cy="27781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chemeClr val="accent2"/>
                </a:solidFill>
                <a:effectLst/>
                <a:uLnTx/>
                <a:uFillTx/>
                <a:latin typeface="Calibri"/>
                <a:ea typeface="+mn-ea"/>
                <a:cs typeface="+mn-cs"/>
              </a:rPr>
              <a:t>+66%</a:t>
            </a:r>
          </a:p>
        </p:txBody>
      </p:sp>
      <p:sp>
        <p:nvSpPr>
          <p:cNvPr id="81" name="TextBox 80">
            <a:extLst>
              <a:ext uri="{FF2B5EF4-FFF2-40B4-BE49-F238E27FC236}">
                <a16:creationId xmlns:a16="http://schemas.microsoft.com/office/drawing/2014/main" id="{5F0F53E3-F092-40AC-B7F4-538551F08A1B}"/>
              </a:ext>
            </a:extLst>
          </p:cNvPr>
          <p:cNvSpPr txBox="1"/>
          <p:nvPr/>
        </p:nvSpPr>
        <p:spPr>
          <a:xfrm flipH="1">
            <a:off x="7346950" y="3287713"/>
            <a:ext cx="688975" cy="27781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76D3FF"/>
                </a:solidFill>
                <a:effectLst/>
                <a:uLnTx/>
                <a:uFillTx/>
                <a:latin typeface="Calibri"/>
                <a:ea typeface="+mn-ea"/>
                <a:cs typeface="+mn-cs"/>
              </a:rPr>
              <a:t>+285%</a:t>
            </a:r>
          </a:p>
        </p:txBody>
      </p:sp>
      <p:sp>
        <p:nvSpPr>
          <p:cNvPr id="98" name="TextBox 97">
            <a:extLst>
              <a:ext uri="{FF2B5EF4-FFF2-40B4-BE49-F238E27FC236}">
                <a16:creationId xmlns:a16="http://schemas.microsoft.com/office/drawing/2014/main" id="{66D8A7B0-3464-4086-B150-CB03DC783C56}"/>
              </a:ext>
            </a:extLst>
          </p:cNvPr>
          <p:cNvSpPr txBox="1"/>
          <p:nvPr/>
        </p:nvSpPr>
        <p:spPr>
          <a:xfrm flipH="1">
            <a:off x="7346950" y="1844675"/>
            <a:ext cx="688975" cy="276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chemeClr val="accent1"/>
                </a:solidFill>
                <a:effectLst/>
                <a:uLnTx/>
                <a:uFillTx/>
                <a:latin typeface="Calibri"/>
                <a:ea typeface="+mn-ea"/>
                <a:cs typeface="+mn-cs"/>
              </a:rPr>
              <a:t>+353%</a:t>
            </a:r>
          </a:p>
        </p:txBody>
      </p:sp>
      <p:grpSp>
        <p:nvGrpSpPr>
          <p:cNvPr id="33" name="Group 32">
            <a:extLst>
              <a:ext uri="{FF2B5EF4-FFF2-40B4-BE49-F238E27FC236}">
                <a16:creationId xmlns:a16="http://schemas.microsoft.com/office/drawing/2014/main" id="{F9637DA9-1651-E59D-6E87-F101C1BF6EE0}"/>
              </a:ext>
            </a:extLst>
          </p:cNvPr>
          <p:cNvGrpSpPr/>
          <p:nvPr/>
        </p:nvGrpSpPr>
        <p:grpSpPr>
          <a:xfrm>
            <a:off x="8095400" y="1977009"/>
            <a:ext cx="327787" cy="2408460"/>
            <a:chOff x="8095400" y="1977009"/>
            <a:chExt cx="344488" cy="2408460"/>
          </a:xfrm>
        </p:grpSpPr>
        <p:cxnSp>
          <p:nvCxnSpPr>
            <p:cNvPr id="29" name="Straight Connector 28">
              <a:extLst>
                <a:ext uri="{FF2B5EF4-FFF2-40B4-BE49-F238E27FC236}">
                  <a16:creationId xmlns:a16="http://schemas.microsoft.com/office/drawing/2014/main" id="{A0CEFAAC-11E4-858C-9D6A-C41A4077FEDD}"/>
                </a:ext>
              </a:extLst>
            </p:cNvPr>
            <p:cNvCxnSpPr/>
            <p:nvPr/>
          </p:nvCxnSpPr>
          <p:spPr>
            <a:xfrm>
              <a:off x="8095400" y="4385469"/>
              <a:ext cx="344488" cy="0"/>
            </a:xfrm>
            <a:prstGeom prst="line">
              <a:avLst/>
            </a:prstGeom>
            <a:ln w="9525">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A0F0432-F70F-CF51-72BB-76428CDDF63A}"/>
                </a:ext>
              </a:extLst>
            </p:cNvPr>
            <p:cNvCxnSpPr/>
            <p:nvPr/>
          </p:nvCxnSpPr>
          <p:spPr>
            <a:xfrm>
              <a:off x="8095400" y="1977009"/>
              <a:ext cx="344488" cy="0"/>
            </a:xfrm>
            <a:prstGeom prst="line">
              <a:avLst/>
            </a:prstGeom>
            <a:ln w="9525">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4" name="Ghost">
            <a:extLst>
              <a:ext uri="{FF2B5EF4-FFF2-40B4-BE49-F238E27FC236}">
                <a16:creationId xmlns:a16="http://schemas.microsoft.com/office/drawing/2014/main" id="{6DA486E8-C69E-4434-86E3-AAE8A294FA1E}"/>
              </a:ext>
            </a:extLst>
          </p:cNvPr>
          <p:cNvSpPr/>
          <p:nvPr/>
        </p:nvSpPr>
        <p:spPr>
          <a:xfrm>
            <a:off x="457200" y="107385"/>
            <a:ext cx="202138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How to lead in a perma-crisis world</a:t>
            </a:r>
          </a:p>
        </p:txBody>
      </p:sp>
    </p:spTree>
    <p:extLst>
      <p:ext uri="{BB962C8B-B14F-4D97-AF65-F5344CB8AC3E}">
        <p14:creationId xmlns:p14="http://schemas.microsoft.com/office/powerpoint/2010/main" val="6095542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3A0E52D3-601A-57EB-DB00-9128794A9B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1" name="think-cell data - do not delete" hidden="1">
                        <a:extLst>
                          <a:ext uri="{FF2B5EF4-FFF2-40B4-BE49-F238E27FC236}">
                            <a16:creationId xmlns:a16="http://schemas.microsoft.com/office/drawing/2014/main" id="{3A0E52D3-601A-57EB-DB00-9128794A9B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9853C37-188B-0F4D-F5E6-C95AD70367D9}"/>
              </a:ext>
            </a:extLst>
          </p:cNvPr>
          <p:cNvSpPr/>
          <p:nvPr/>
        </p:nvSpPr>
        <p:spPr>
          <a:xfrm>
            <a:off x="9019333" y="3040494"/>
            <a:ext cx="2714625" cy="821379"/>
          </a:xfrm>
          <a:prstGeom prst="rect">
            <a:avLst/>
          </a:prstGeom>
          <a:solidFill>
            <a:srgbClr val="76D3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01548599-4985-803B-4B19-61CFD0E18A83}"/>
              </a:ext>
            </a:extLst>
          </p:cNvPr>
          <p:cNvSpPr txBox="1">
            <a:spLocks/>
          </p:cNvSpPr>
          <p:nvPr/>
        </p:nvSpPr>
        <p:spPr>
          <a:xfrm>
            <a:off x="9107099" y="3143407"/>
            <a:ext cx="299631" cy="61555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4000" b="1">
                <a:latin typeface="MMC Display Condensed"/>
                <a:cs typeface="Arial"/>
              </a:rPr>
              <a:t>D</a:t>
            </a:r>
            <a:endParaRPr kumimoji="0" lang="en-GB" sz="4000" b="1" i="0" u="none" strike="noStrike" kern="0" cap="none" spc="0" normalizeH="0" baseline="0" noProof="0">
              <a:ln>
                <a:noFill/>
              </a:ln>
              <a:effectLst/>
              <a:uLnTx/>
              <a:uFillTx/>
              <a:latin typeface="MMC Display Condensed"/>
              <a:ea typeface="+mn-ea"/>
              <a:cs typeface="Arial"/>
            </a:endParaRPr>
          </a:p>
        </p:txBody>
      </p:sp>
      <p:sp>
        <p:nvSpPr>
          <p:cNvPr id="6" name="TextBox 5">
            <a:extLst>
              <a:ext uri="{FF2B5EF4-FFF2-40B4-BE49-F238E27FC236}">
                <a16:creationId xmlns:a16="http://schemas.microsoft.com/office/drawing/2014/main" id="{5F6060AC-6A8B-2E46-353A-4AA79DDEF60F}"/>
              </a:ext>
            </a:extLst>
          </p:cNvPr>
          <p:cNvSpPr txBox="1">
            <a:spLocks/>
          </p:cNvSpPr>
          <p:nvPr/>
        </p:nvSpPr>
        <p:spPr>
          <a:xfrm>
            <a:off x="9484423" y="3332432"/>
            <a:ext cx="2149805" cy="237501"/>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lang="en-GB" b="1">
                <a:latin typeface="Calibri"/>
                <a:cs typeface="Arial"/>
              </a:rPr>
              <a:t>Mindset</a:t>
            </a:r>
            <a:endParaRPr kumimoji="0" lang="en-GB" sz="1800" b="1" i="0" u="none" strike="noStrike" kern="0" cap="none" spc="0" normalizeH="0" baseline="0" noProof="0">
              <a:ln>
                <a:noFill/>
              </a:ln>
              <a:effectLst/>
              <a:uLnTx/>
              <a:uFillTx/>
              <a:latin typeface="Calibri"/>
              <a:ea typeface="+mn-ea"/>
              <a:cs typeface="Arial"/>
            </a:endParaRPr>
          </a:p>
        </p:txBody>
      </p:sp>
      <p:sp>
        <p:nvSpPr>
          <p:cNvPr id="7" name="Isosceles Triangle 6">
            <a:extLst>
              <a:ext uri="{FF2B5EF4-FFF2-40B4-BE49-F238E27FC236}">
                <a16:creationId xmlns:a16="http://schemas.microsoft.com/office/drawing/2014/main" id="{69E20C25-A21E-1730-793E-126F3A7DAFD7}"/>
              </a:ext>
            </a:extLst>
          </p:cNvPr>
          <p:cNvSpPr/>
          <p:nvPr/>
        </p:nvSpPr>
        <p:spPr>
          <a:xfrm rot="10800000">
            <a:off x="9146928" y="3855403"/>
            <a:ext cx="244549" cy="210818"/>
          </a:xfrm>
          <a:prstGeom prst="triangle">
            <a:avLst/>
          </a:prstGeom>
          <a:solidFill>
            <a:srgbClr val="76D3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8" name="Rectangle 7">
            <a:extLst>
              <a:ext uri="{FF2B5EF4-FFF2-40B4-BE49-F238E27FC236}">
                <a16:creationId xmlns:a16="http://schemas.microsoft.com/office/drawing/2014/main" id="{4CE3671C-F7B5-BDC3-54FA-C590A9C83D1F}"/>
              </a:ext>
            </a:extLst>
          </p:cNvPr>
          <p:cNvSpPr/>
          <p:nvPr/>
        </p:nvSpPr>
        <p:spPr>
          <a:xfrm>
            <a:off x="6165288" y="3040494"/>
            <a:ext cx="2714625" cy="821379"/>
          </a:xfrm>
          <a:prstGeom prst="rect">
            <a:avLst/>
          </a:prstGeom>
          <a:solidFill>
            <a:srgbClr val="009DE0"/>
          </a:solidFill>
          <a:ln w="9525">
            <a:solidFill>
              <a:srgbClr val="009DE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BBAF3277-B831-B4D8-5D3A-340855C2E86A}"/>
              </a:ext>
            </a:extLst>
          </p:cNvPr>
          <p:cNvSpPr txBox="1">
            <a:spLocks/>
          </p:cNvSpPr>
          <p:nvPr/>
        </p:nvSpPr>
        <p:spPr>
          <a:xfrm>
            <a:off x="6253054" y="3143407"/>
            <a:ext cx="299631" cy="61555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4000" b="1">
                <a:solidFill>
                  <a:srgbClr val="FFFFFF"/>
                </a:solidFill>
                <a:latin typeface="MMC Display Condensed"/>
                <a:cs typeface="Arial"/>
              </a:rPr>
              <a:t>C</a:t>
            </a:r>
            <a:endParaRPr kumimoji="0" lang="en-GB" sz="40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10" name="TextBox 9">
            <a:extLst>
              <a:ext uri="{FF2B5EF4-FFF2-40B4-BE49-F238E27FC236}">
                <a16:creationId xmlns:a16="http://schemas.microsoft.com/office/drawing/2014/main" id="{D7C2F632-F4C7-6745-0DF4-992656AE33FA}"/>
              </a:ext>
            </a:extLst>
          </p:cNvPr>
          <p:cNvSpPr txBox="1">
            <a:spLocks/>
          </p:cNvSpPr>
          <p:nvPr/>
        </p:nvSpPr>
        <p:spPr>
          <a:xfrm>
            <a:off x="6630378" y="3332432"/>
            <a:ext cx="2149805" cy="237501"/>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800" b="1" i="0" u="none" strike="noStrike" kern="0" cap="none" spc="0" normalizeH="0" baseline="0" noProof="0">
                <a:ln>
                  <a:noFill/>
                </a:ln>
                <a:solidFill>
                  <a:srgbClr val="FFFFFF"/>
                </a:solidFill>
                <a:effectLst/>
                <a:uLnTx/>
                <a:uFillTx/>
                <a:latin typeface="Calibri"/>
                <a:ea typeface="+mn-ea"/>
                <a:cs typeface="Arial"/>
              </a:rPr>
              <a:t>Operating Model</a:t>
            </a:r>
          </a:p>
        </p:txBody>
      </p:sp>
      <p:sp>
        <p:nvSpPr>
          <p:cNvPr id="11" name="Isosceles Triangle 10">
            <a:extLst>
              <a:ext uri="{FF2B5EF4-FFF2-40B4-BE49-F238E27FC236}">
                <a16:creationId xmlns:a16="http://schemas.microsoft.com/office/drawing/2014/main" id="{BAE09D40-71C9-3883-89E9-7B4461F4EF3C}"/>
              </a:ext>
            </a:extLst>
          </p:cNvPr>
          <p:cNvSpPr/>
          <p:nvPr/>
        </p:nvSpPr>
        <p:spPr>
          <a:xfrm rot="10800000">
            <a:off x="6292883" y="3855403"/>
            <a:ext cx="244549" cy="210818"/>
          </a:xfrm>
          <a:prstGeom prst="triangle">
            <a:avLst/>
          </a:prstGeom>
          <a:solidFill>
            <a:srgbClr val="009DE0"/>
          </a:solidFill>
          <a:ln w="9525">
            <a:solidFill>
              <a:srgbClr val="009DE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3" name="Rectangle 12">
            <a:extLst>
              <a:ext uri="{FF2B5EF4-FFF2-40B4-BE49-F238E27FC236}">
                <a16:creationId xmlns:a16="http://schemas.microsoft.com/office/drawing/2014/main" id="{2D9088A6-BBE2-D69C-E048-3FC46DA1E9CC}"/>
              </a:ext>
            </a:extLst>
          </p:cNvPr>
          <p:cNvSpPr/>
          <p:nvPr/>
        </p:nvSpPr>
        <p:spPr>
          <a:xfrm>
            <a:off x="457200" y="3040494"/>
            <a:ext cx="2714625" cy="821379"/>
          </a:xfrm>
          <a:prstGeom prst="rect">
            <a:avLst/>
          </a:prstGeom>
          <a:solidFill>
            <a:srgbClr val="001538"/>
          </a:solidFill>
          <a:ln w="9525">
            <a:solidFill>
              <a:srgbClr val="00153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694906C2-07B1-457C-4862-6802FC395B1D}"/>
              </a:ext>
            </a:extLst>
          </p:cNvPr>
          <p:cNvSpPr txBox="1">
            <a:spLocks/>
          </p:cNvSpPr>
          <p:nvPr/>
        </p:nvSpPr>
        <p:spPr>
          <a:xfrm>
            <a:off x="544966" y="3143407"/>
            <a:ext cx="299631" cy="61555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4000" b="1">
                <a:solidFill>
                  <a:srgbClr val="FFFFFF"/>
                </a:solidFill>
                <a:latin typeface="MMC Display Condensed"/>
                <a:cs typeface="Arial"/>
              </a:rPr>
              <a:t>A</a:t>
            </a:r>
            <a:endParaRPr kumimoji="0" lang="en-GB" sz="40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15" name="TextBox 14">
            <a:extLst>
              <a:ext uri="{FF2B5EF4-FFF2-40B4-BE49-F238E27FC236}">
                <a16:creationId xmlns:a16="http://schemas.microsoft.com/office/drawing/2014/main" id="{223AB156-70F4-9813-806A-8664802F0EA1}"/>
              </a:ext>
            </a:extLst>
          </p:cNvPr>
          <p:cNvSpPr txBox="1">
            <a:spLocks/>
          </p:cNvSpPr>
          <p:nvPr/>
        </p:nvSpPr>
        <p:spPr>
          <a:xfrm>
            <a:off x="922290" y="3332432"/>
            <a:ext cx="2149805" cy="237501"/>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800" b="1" i="0" u="none" strike="noStrike" kern="0" cap="none" spc="0" normalizeH="0" baseline="0" noProof="0">
                <a:ln>
                  <a:noFill/>
                </a:ln>
                <a:solidFill>
                  <a:srgbClr val="FFFFFF"/>
                </a:solidFill>
                <a:effectLst/>
                <a:uLnTx/>
                <a:uFillTx/>
                <a:latin typeface="Calibri"/>
                <a:ea typeface="+mn-ea"/>
                <a:cs typeface="Arial"/>
              </a:rPr>
              <a:t>Strategic Anticipation</a:t>
            </a:r>
          </a:p>
        </p:txBody>
      </p:sp>
      <p:sp>
        <p:nvSpPr>
          <p:cNvPr id="16" name="Isosceles Triangle 15">
            <a:extLst>
              <a:ext uri="{FF2B5EF4-FFF2-40B4-BE49-F238E27FC236}">
                <a16:creationId xmlns:a16="http://schemas.microsoft.com/office/drawing/2014/main" id="{BCEFDB06-B6F5-7C43-065A-B7BE53FE1A75}"/>
              </a:ext>
            </a:extLst>
          </p:cNvPr>
          <p:cNvSpPr/>
          <p:nvPr/>
        </p:nvSpPr>
        <p:spPr>
          <a:xfrm rot="10800000">
            <a:off x="584796" y="3855403"/>
            <a:ext cx="244549" cy="210818"/>
          </a:xfrm>
          <a:prstGeom prst="triangle">
            <a:avLst/>
          </a:prstGeom>
          <a:solidFill>
            <a:srgbClr val="001538"/>
          </a:solidFill>
          <a:ln w="9525">
            <a:solidFill>
              <a:srgbClr val="00153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8" name="Rectangle 17">
            <a:extLst>
              <a:ext uri="{FF2B5EF4-FFF2-40B4-BE49-F238E27FC236}">
                <a16:creationId xmlns:a16="http://schemas.microsoft.com/office/drawing/2014/main" id="{FBD34ED1-6696-2FC6-05D6-2DA70297DE25}"/>
              </a:ext>
            </a:extLst>
          </p:cNvPr>
          <p:cNvSpPr/>
          <p:nvPr/>
        </p:nvSpPr>
        <p:spPr>
          <a:xfrm>
            <a:off x="3311244" y="3040494"/>
            <a:ext cx="2714625" cy="821379"/>
          </a:xfrm>
          <a:prstGeom prst="rect">
            <a:avLst/>
          </a:prstGeom>
          <a:solidFill>
            <a:srgbClr val="002C77"/>
          </a:solidFill>
          <a:ln w="9525">
            <a:solidFill>
              <a:srgbClr val="002C7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D803FA78-7F1A-FC3D-39E5-C42DE4CC8EBA}"/>
              </a:ext>
            </a:extLst>
          </p:cNvPr>
          <p:cNvSpPr txBox="1">
            <a:spLocks/>
          </p:cNvSpPr>
          <p:nvPr/>
        </p:nvSpPr>
        <p:spPr>
          <a:xfrm>
            <a:off x="3399010" y="3143407"/>
            <a:ext cx="299631" cy="61555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4000" b="1">
                <a:solidFill>
                  <a:srgbClr val="FFFFFF"/>
                </a:solidFill>
                <a:latin typeface="MMC Display Condensed"/>
                <a:cs typeface="Arial"/>
              </a:rPr>
              <a:t>B</a:t>
            </a:r>
            <a:endParaRPr kumimoji="0" lang="en-GB" sz="40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20" name="TextBox 19">
            <a:extLst>
              <a:ext uri="{FF2B5EF4-FFF2-40B4-BE49-F238E27FC236}">
                <a16:creationId xmlns:a16="http://schemas.microsoft.com/office/drawing/2014/main" id="{B2DAD550-111A-4F5C-C29A-FE61A5E18EA9}"/>
              </a:ext>
            </a:extLst>
          </p:cNvPr>
          <p:cNvSpPr txBox="1">
            <a:spLocks/>
          </p:cNvSpPr>
          <p:nvPr/>
        </p:nvSpPr>
        <p:spPr>
          <a:xfrm>
            <a:off x="3776334" y="3332432"/>
            <a:ext cx="2149805" cy="237501"/>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800" b="1" i="0" u="none" strike="noStrike" kern="0" cap="none" spc="0" normalizeH="0" baseline="0" noProof="0">
                <a:ln>
                  <a:noFill/>
                </a:ln>
                <a:solidFill>
                  <a:srgbClr val="FFFFFF"/>
                </a:solidFill>
                <a:effectLst/>
                <a:uLnTx/>
                <a:uFillTx/>
                <a:latin typeface="Calibri"/>
                <a:ea typeface="+mn-ea"/>
                <a:cs typeface="Arial"/>
              </a:rPr>
              <a:t>Value Proposition</a:t>
            </a:r>
          </a:p>
        </p:txBody>
      </p:sp>
      <p:sp>
        <p:nvSpPr>
          <p:cNvPr id="21" name="Isosceles Triangle 20">
            <a:extLst>
              <a:ext uri="{FF2B5EF4-FFF2-40B4-BE49-F238E27FC236}">
                <a16:creationId xmlns:a16="http://schemas.microsoft.com/office/drawing/2014/main" id="{D3D287EA-34AF-9F87-545D-5321BEC894C5}"/>
              </a:ext>
            </a:extLst>
          </p:cNvPr>
          <p:cNvSpPr/>
          <p:nvPr/>
        </p:nvSpPr>
        <p:spPr>
          <a:xfrm rot="10800000">
            <a:off x="3438840" y="3855403"/>
            <a:ext cx="244549" cy="210818"/>
          </a:xfrm>
          <a:prstGeom prst="triangle">
            <a:avLst/>
          </a:prstGeom>
          <a:solidFill>
            <a:srgbClr val="002C77"/>
          </a:solidFill>
          <a:ln w="9525">
            <a:solidFill>
              <a:srgbClr val="002C7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22" name="Title 9">
            <a:extLst>
              <a:ext uri="{FF2B5EF4-FFF2-40B4-BE49-F238E27FC236}">
                <a16:creationId xmlns:a16="http://schemas.microsoft.com/office/drawing/2014/main" id="{CE2BF2DE-1FFC-CB1B-8D78-B61F8F508B01}"/>
              </a:ext>
            </a:extLst>
          </p:cNvPr>
          <p:cNvSpPr txBox="1">
            <a:spLocks/>
          </p:cNvSpPr>
          <p:nvPr/>
        </p:nvSpPr>
        <p:spPr>
          <a:xfrm>
            <a:off x="457200" y="384048"/>
            <a:ext cx="11277600" cy="758952"/>
          </a:xfrm>
          <a:prstGeom prst="rect">
            <a:avLst/>
          </a:prstGeom>
        </p:spPr>
        <p:txBody>
          <a:bodyPr vert="horz"/>
          <a:lstStyle>
            <a:lvl1pPr algn="l" defTabSz="914370" rtl="0" eaLnBrk="1" latinLnBrk="0" hangingPunct="1">
              <a:lnSpc>
                <a:spcPct val="90000"/>
              </a:lnSpc>
              <a:spcBef>
                <a:spcPct val="0"/>
              </a:spcBef>
              <a:buNone/>
              <a:defRPr sz="2800" b="1" kern="0" cap="all" baseline="0">
                <a:solidFill>
                  <a:schemeClr val="tx1"/>
                </a:solidFill>
                <a:latin typeface="+mj-lt"/>
                <a:ea typeface="+mj-ea"/>
                <a:cs typeface="+mj-cs"/>
              </a:defRPr>
            </a:lvl1pPr>
          </a:lstStyle>
          <a:p>
            <a:pPr marL="0" marR="0" lvl="0" indent="0" algn="l" defTabSz="914370" rtl="0" eaLnBrk="1" fontAlgn="auto" latinLnBrk="0" hangingPunct="1">
              <a:lnSpc>
                <a:spcPct val="90000"/>
              </a:lnSpc>
              <a:spcBef>
                <a:spcPct val="0"/>
              </a:spcBef>
              <a:spcAft>
                <a:spcPts val="0"/>
              </a:spcAft>
              <a:buClrTx/>
              <a:buSzTx/>
              <a:buFontTx/>
              <a:buNone/>
              <a:tabLst/>
              <a:defRPr/>
            </a:pPr>
            <a:endParaRPr kumimoji="0" lang="en-GB" sz="2800" b="1" i="0" u="none" strike="noStrike" kern="0" cap="all" spc="0" normalizeH="0" baseline="0" noProof="0">
              <a:ln>
                <a:noFill/>
              </a:ln>
              <a:solidFill>
                <a:srgbClr val="000000"/>
              </a:solidFill>
              <a:effectLst/>
              <a:uLnTx/>
              <a:uFillTx/>
              <a:latin typeface="MMC Display Condensed"/>
              <a:ea typeface="+mj-ea"/>
              <a:cs typeface="+mj-cs"/>
            </a:endParaRPr>
          </a:p>
        </p:txBody>
      </p:sp>
      <p:sp>
        <p:nvSpPr>
          <p:cNvPr id="23" name="Title 2">
            <a:extLst>
              <a:ext uri="{FF2B5EF4-FFF2-40B4-BE49-F238E27FC236}">
                <a16:creationId xmlns:a16="http://schemas.microsoft.com/office/drawing/2014/main" id="{EAAD1D60-B163-106A-8624-A341DBD55F9A}"/>
              </a:ext>
            </a:extLst>
          </p:cNvPr>
          <p:cNvSpPr>
            <a:spLocks noGrp="1"/>
          </p:cNvSpPr>
          <p:nvPr>
            <p:ph type="title"/>
          </p:nvPr>
        </p:nvSpPr>
        <p:spPr>
          <a:xfrm>
            <a:off x="457200" y="384048"/>
            <a:ext cx="11277600" cy="758952"/>
          </a:xfrm>
        </p:spPr>
        <p:txBody>
          <a:bodyPr vert="horz"/>
          <a:lstStyle/>
          <a:p>
            <a:r>
              <a:rPr lang="en-GB"/>
              <a:t>Leading in PERMACRISIS – four pillars for industrial companies</a:t>
            </a:r>
          </a:p>
        </p:txBody>
      </p:sp>
      <p:pic>
        <p:nvPicPr>
          <p:cNvPr id="24" name="Picture 23" descr="A close-up of a building&#10;&#10;Description automatically generated">
            <a:extLst>
              <a:ext uri="{FF2B5EF4-FFF2-40B4-BE49-F238E27FC236}">
                <a16:creationId xmlns:a16="http://schemas.microsoft.com/office/drawing/2014/main" id="{66ACE159-F677-6141-F859-96DDCAF14F9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57200" y="1584909"/>
            <a:ext cx="2711404" cy="1330139"/>
          </a:xfrm>
          <a:prstGeom prst="rect">
            <a:avLst/>
          </a:prstGeom>
        </p:spPr>
      </p:pic>
      <p:pic>
        <p:nvPicPr>
          <p:cNvPr id="25" name="Picture Placeholder 73" descr="A low angle view of tall buildings&#10;&#10;Description automatically generated">
            <a:extLst>
              <a:ext uri="{FF2B5EF4-FFF2-40B4-BE49-F238E27FC236}">
                <a16:creationId xmlns:a16="http://schemas.microsoft.com/office/drawing/2014/main" id="{91276464-1640-6828-7119-52011357A08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7"/>
          <a:stretch/>
        </p:blipFill>
        <p:spPr>
          <a:xfrm>
            <a:off x="6165287" y="1584907"/>
            <a:ext cx="2714615" cy="1330141"/>
          </a:xfrm>
          <a:prstGeom prst="rect">
            <a:avLst/>
          </a:prstGeom>
        </p:spPr>
      </p:pic>
      <p:pic>
        <p:nvPicPr>
          <p:cNvPr id="26" name="Picture 25" descr="A picture containing sky, blue, skyscraper, building&#10;&#10;Description automatically generated">
            <a:extLst>
              <a:ext uri="{FF2B5EF4-FFF2-40B4-BE49-F238E27FC236}">
                <a16:creationId xmlns:a16="http://schemas.microsoft.com/office/drawing/2014/main" id="{2A2AB1FC-4152-6ED4-BD94-423CDD2A592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311244" y="1584907"/>
            <a:ext cx="2714620" cy="1330141"/>
          </a:xfrm>
          <a:prstGeom prst="rect">
            <a:avLst/>
          </a:prstGeom>
          <a:ln>
            <a:noFill/>
          </a:ln>
        </p:spPr>
      </p:pic>
      <p:pic>
        <p:nvPicPr>
          <p:cNvPr id="27" name="Picture Placeholder 53" descr="A blue sky with clouds&#10;&#10;Description automatically generated">
            <a:extLst>
              <a:ext uri="{FF2B5EF4-FFF2-40B4-BE49-F238E27FC236}">
                <a16:creationId xmlns:a16="http://schemas.microsoft.com/office/drawing/2014/main" id="{BE20FC58-36B3-A530-D023-0CCACC8C44A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019333" y="1584907"/>
            <a:ext cx="2715467" cy="1330141"/>
          </a:xfrm>
          <a:prstGeom prst="rect">
            <a:avLst/>
          </a:prstGeom>
        </p:spPr>
      </p:pic>
      <p:pic>
        <p:nvPicPr>
          <p:cNvPr id="28" name="Picture 27" descr="A close-up of a building&#10;&#10;Description automatically generated">
            <a:extLst>
              <a:ext uri="{FF2B5EF4-FFF2-40B4-BE49-F238E27FC236}">
                <a16:creationId xmlns:a16="http://schemas.microsoft.com/office/drawing/2014/main" id="{E97D9FB0-B78E-4196-7CAD-5B2042CEDDB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6165287" y="1584907"/>
            <a:ext cx="2711404" cy="1330141"/>
          </a:xfrm>
          <a:prstGeom prst="rect">
            <a:avLst/>
          </a:prstGeom>
        </p:spPr>
      </p:pic>
      <p:pic>
        <p:nvPicPr>
          <p:cNvPr id="29" name="Picture 28" descr="A low angle view of a building&#10;&#10;Description automatically generated">
            <a:extLst>
              <a:ext uri="{FF2B5EF4-FFF2-40B4-BE49-F238E27FC236}">
                <a16:creationId xmlns:a16="http://schemas.microsoft.com/office/drawing/2014/main" id="{11E7729F-7954-519F-11DB-B4EBD0E52524}"/>
              </a:ext>
            </a:extLst>
          </p:cNvPr>
          <p:cNvPicPr>
            <a:picLocks noChangeAspect="1"/>
          </p:cNvPicPr>
          <p:nvPr/>
        </p:nvPicPr>
        <p:blipFill rotWithShape="1">
          <a:blip r:embed="rId11" cstate="screen">
            <a:extLst>
              <a:ext uri="{BEBA8EAE-BF5A-486C-A8C5-ECC9F3942E4B}">
                <a14:imgProps xmlns:a14="http://schemas.microsoft.com/office/drawing/2010/main">
                  <a14:imgLayer r:embed="rId12">
                    <a14:imgEffect>
                      <a14:brightnessContrast bright="8000"/>
                    </a14:imgEffect>
                  </a14:imgLayer>
                </a14:imgProps>
              </a:ext>
              <a:ext uri="{28A0092B-C50C-407E-A947-70E740481C1C}">
                <a14:useLocalDpi xmlns:a14="http://schemas.microsoft.com/office/drawing/2010/main"/>
              </a:ext>
            </a:extLst>
          </a:blip>
          <a:srcRect/>
          <a:stretch/>
        </p:blipFill>
        <p:spPr>
          <a:xfrm flipH="1">
            <a:off x="9019332" y="1584908"/>
            <a:ext cx="2711405" cy="1330140"/>
          </a:xfrm>
          <a:prstGeom prst="rect">
            <a:avLst/>
          </a:prstGeom>
        </p:spPr>
      </p:pic>
      <p:grpSp>
        <p:nvGrpSpPr>
          <p:cNvPr id="36" name="Group 35">
            <a:extLst>
              <a:ext uri="{FF2B5EF4-FFF2-40B4-BE49-F238E27FC236}">
                <a16:creationId xmlns:a16="http://schemas.microsoft.com/office/drawing/2014/main" id="{61D46D7E-2321-2D7D-D29C-252AC78B4190}"/>
              </a:ext>
            </a:extLst>
          </p:cNvPr>
          <p:cNvGrpSpPr/>
          <p:nvPr/>
        </p:nvGrpSpPr>
        <p:grpSpPr>
          <a:xfrm>
            <a:off x="3273562" y="3922065"/>
            <a:ext cx="5633943" cy="1725316"/>
            <a:chOff x="3114771" y="4265544"/>
            <a:chExt cx="4802757" cy="1966421"/>
          </a:xfrm>
        </p:grpSpPr>
        <p:cxnSp>
          <p:nvCxnSpPr>
            <p:cNvPr id="37" name="Straight Connector 36">
              <a:extLst>
                <a:ext uri="{FF2B5EF4-FFF2-40B4-BE49-F238E27FC236}">
                  <a16:creationId xmlns:a16="http://schemas.microsoft.com/office/drawing/2014/main" id="{44258ACB-A60B-DC39-00DA-45245C661954}"/>
                </a:ext>
              </a:extLst>
            </p:cNvPr>
            <p:cNvCxnSpPr>
              <a:cxnSpLocks/>
            </p:cNvCxnSpPr>
            <p:nvPr/>
          </p:nvCxnSpPr>
          <p:spPr>
            <a:xfrm flipV="1">
              <a:off x="7917528" y="4289406"/>
              <a:ext cx="0" cy="1942559"/>
            </a:xfrm>
            <a:prstGeom prst="line">
              <a:avLst/>
            </a:prstGeom>
            <a:ln w="9525">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0890B20-446D-BBD8-1389-ECC37A62AE3D}"/>
                </a:ext>
              </a:extLst>
            </p:cNvPr>
            <p:cNvCxnSpPr>
              <a:cxnSpLocks/>
            </p:cNvCxnSpPr>
            <p:nvPr/>
          </p:nvCxnSpPr>
          <p:spPr>
            <a:xfrm flipV="1">
              <a:off x="5510451" y="4265544"/>
              <a:ext cx="0" cy="1966421"/>
            </a:xfrm>
            <a:prstGeom prst="line">
              <a:avLst/>
            </a:prstGeom>
            <a:ln w="9525">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09D383C-943E-B6C6-67F8-AEC0C97384F1}"/>
                </a:ext>
              </a:extLst>
            </p:cNvPr>
            <p:cNvCxnSpPr>
              <a:cxnSpLocks/>
            </p:cNvCxnSpPr>
            <p:nvPr/>
          </p:nvCxnSpPr>
          <p:spPr>
            <a:xfrm flipV="1">
              <a:off x="3114771" y="4265544"/>
              <a:ext cx="0" cy="1966421"/>
            </a:xfrm>
            <a:prstGeom prst="line">
              <a:avLst/>
            </a:prstGeom>
            <a:ln w="9525">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13D0006F-5519-3DC5-0D02-93D2BE0251A9}"/>
              </a:ext>
            </a:extLst>
          </p:cNvPr>
          <p:cNvSpPr txBox="1"/>
          <p:nvPr/>
        </p:nvSpPr>
        <p:spPr>
          <a:xfrm>
            <a:off x="471290" y="3950221"/>
            <a:ext cx="2592141" cy="523220"/>
          </a:xfrm>
          <a:prstGeom prst="rect">
            <a:avLst/>
          </a:prstGeom>
          <a:noFill/>
        </p:spPr>
        <p:txBody>
          <a:bodyPr wrap="square" lIns="4572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Calibri"/>
                <a:ea typeface="+mn-ea"/>
                <a:cs typeface="+mn-cs"/>
              </a:rPr>
              <a:t>Define a volatility-adjusted strategy</a:t>
            </a:r>
          </a:p>
        </p:txBody>
      </p:sp>
      <p:sp>
        <p:nvSpPr>
          <p:cNvPr id="41" name="TextBox 40">
            <a:extLst>
              <a:ext uri="{FF2B5EF4-FFF2-40B4-BE49-F238E27FC236}">
                <a16:creationId xmlns:a16="http://schemas.microsoft.com/office/drawing/2014/main" id="{27E2F570-898F-6210-D224-132B9CE37563}"/>
              </a:ext>
            </a:extLst>
          </p:cNvPr>
          <p:cNvSpPr txBox="1"/>
          <p:nvPr/>
        </p:nvSpPr>
        <p:spPr>
          <a:xfrm>
            <a:off x="3263666" y="3950221"/>
            <a:ext cx="2516325" cy="523220"/>
          </a:xfrm>
          <a:prstGeom prst="rect">
            <a:avLst/>
          </a:prstGeom>
          <a:noFill/>
        </p:spPr>
        <p:txBody>
          <a:bodyPr wrap="square" lIns="4572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Calibri"/>
                <a:ea typeface="+mn-ea"/>
                <a:cs typeface="+mn-cs"/>
              </a:rPr>
              <a:t>Design </a:t>
            </a:r>
            <a:r>
              <a:rPr lang="en-GB" sz="1400" b="1">
                <a:latin typeface="Calibri"/>
              </a:rPr>
              <a:t>an adaptive </a:t>
            </a:r>
            <a:r>
              <a:rPr kumimoji="0" lang="en-GB" sz="1400" b="1" i="0" u="none" strike="noStrike" kern="1200" cap="none" spc="0" normalizeH="0" baseline="0" noProof="0">
                <a:ln>
                  <a:noFill/>
                </a:ln>
                <a:effectLst/>
                <a:uLnTx/>
                <a:uFillTx/>
                <a:latin typeface="Calibri"/>
                <a:ea typeface="+mn-ea"/>
                <a:cs typeface="+mn-cs"/>
              </a:rPr>
              <a:t>value proposition</a:t>
            </a:r>
          </a:p>
        </p:txBody>
      </p:sp>
      <p:sp>
        <p:nvSpPr>
          <p:cNvPr id="42" name="TextBox 41">
            <a:extLst>
              <a:ext uri="{FF2B5EF4-FFF2-40B4-BE49-F238E27FC236}">
                <a16:creationId xmlns:a16="http://schemas.microsoft.com/office/drawing/2014/main" id="{21650B16-5467-80CF-A5CD-A3D617E2C37C}"/>
              </a:ext>
            </a:extLst>
          </p:cNvPr>
          <p:cNvSpPr txBox="1"/>
          <p:nvPr/>
        </p:nvSpPr>
        <p:spPr>
          <a:xfrm>
            <a:off x="6096926" y="3975504"/>
            <a:ext cx="2704162" cy="472653"/>
          </a:xfrm>
          <a:prstGeom prst="rect">
            <a:avLst/>
          </a:prstGeom>
          <a:noFill/>
        </p:spPr>
        <p:txBody>
          <a:bodyPr wrap="square" lIns="457200">
            <a:spAutoFit/>
          </a:body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400" b="1" i="0" u="none" strike="noStrike" kern="0" cap="none" spc="0" normalizeH="0" baseline="0" noProof="0">
                <a:ln>
                  <a:noFill/>
                </a:ln>
                <a:effectLst/>
                <a:uLnTx/>
                <a:uFillTx/>
                <a:latin typeface="Calibri"/>
                <a:ea typeface="+mn-ea"/>
                <a:cs typeface="Arial"/>
              </a:rPr>
              <a:t>Build a flexible operating model</a:t>
            </a:r>
          </a:p>
        </p:txBody>
      </p:sp>
      <p:sp>
        <p:nvSpPr>
          <p:cNvPr id="43" name="TextBox 42">
            <a:extLst>
              <a:ext uri="{FF2B5EF4-FFF2-40B4-BE49-F238E27FC236}">
                <a16:creationId xmlns:a16="http://schemas.microsoft.com/office/drawing/2014/main" id="{36A2B051-1581-5A12-8B1E-CFB7C5BAAA75}"/>
              </a:ext>
            </a:extLst>
          </p:cNvPr>
          <p:cNvSpPr txBox="1"/>
          <p:nvPr/>
        </p:nvSpPr>
        <p:spPr>
          <a:xfrm>
            <a:off x="8969392" y="3981735"/>
            <a:ext cx="2811051" cy="460191"/>
          </a:xfrm>
          <a:prstGeom prst="rect">
            <a:avLst/>
          </a:prstGeom>
          <a:noFill/>
        </p:spPr>
        <p:txBody>
          <a:bodyPr wrap="square" lIns="457200">
            <a:spAutoFit/>
          </a:bodyPr>
          <a:lstStyle/>
          <a:p>
            <a:pPr marL="0" marR="0" lvl="0" indent="0" algn="l" defTabSz="914311" rtl="0" eaLnBrk="1" fontAlgn="auto" latinLnBrk="0" hangingPunct="1">
              <a:lnSpc>
                <a:spcPct val="85000"/>
              </a:lnSpc>
              <a:spcBef>
                <a:spcPts val="0"/>
              </a:spcBef>
              <a:spcAft>
                <a:spcPct val="0"/>
              </a:spcAft>
              <a:buClrTx/>
              <a:buSzTx/>
              <a:buFontTx/>
              <a:buNone/>
              <a:tabLst/>
              <a:defRPr/>
            </a:pPr>
            <a:r>
              <a:rPr kumimoji="0" lang="en-GB" sz="1400" b="1" i="0" u="none" strike="noStrike" kern="1200" cap="none" spc="0" normalizeH="0" baseline="0" noProof="0">
                <a:ln>
                  <a:noFill/>
                </a:ln>
                <a:effectLst/>
                <a:uLnTx/>
                <a:uFillTx/>
                <a:latin typeface="Calibri"/>
                <a:ea typeface="+mn-ea"/>
                <a:cs typeface="Arial"/>
              </a:rPr>
              <a:t>Adopt a responsive leadership mindset</a:t>
            </a:r>
            <a:endParaRPr kumimoji="0" lang="en-GB" sz="1400" b="1" i="0" u="none" strike="noStrike" kern="0" cap="none" spc="0" normalizeH="0" baseline="0" noProof="0">
              <a:ln>
                <a:noFill/>
              </a:ln>
              <a:effectLst/>
              <a:uLnTx/>
              <a:uFillTx/>
              <a:latin typeface="Calibri"/>
              <a:ea typeface="+mn-ea"/>
              <a:cs typeface="Arial"/>
            </a:endParaRPr>
          </a:p>
        </p:txBody>
      </p:sp>
      <p:sp>
        <p:nvSpPr>
          <p:cNvPr id="48" name="TextBox 47">
            <a:extLst>
              <a:ext uri="{FF2B5EF4-FFF2-40B4-BE49-F238E27FC236}">
                <a16:creationId xmlns:a16="http://schemas.microsoft.com/office/drawing/2014/main" id="{F7ADCEFE-F809-8504-1939-C606E8F8602E}"/>
              </a:ext>
            </a:extLst>
          </p:cNvPr>
          <p:cNvSpPr txBox="1"/>
          <p:nvPr/>
        </p:nvSpPr>
        <p:spPr>
          <a:xfrm>
            <a:off x="506083" y="4555416"/>
            <a:ext cx="2745279" cy="1384995"/>
          </a:xfrm>
          <a:prstGeom prst="rect">
            <a:avLst/>
          </a:prstGeom>
          <a:noFill/>
        </p:spPr>
        <p:txBody>
          <a:bodyPr wrap="square" lIns="91440" tIns="0" rIns="0" bIns="0">
            <a:spAutoFit/>
          </a:bodyPr>
          <a:lstStyle/>
          <a:p>
            <a:pPr marL="179994" marR="0" lvl="0" indent="-179994" algn="l" defTabSz="914370" rtl="0" eaLnBrk="1" fontAlgn="auto" latinLnBrk="0" hangingPunct="1">
              <a:lnSpc>
                <a:spcPct val="100000"/>
              </a:lnSpc>
              <a:spcBef>
                <a:spcPts val="1200"/>
              </a:spcBef>
              <a:spcAft>
                <a:spcPts val="0"/>
              </a:spcAft>
              <a:buClrTx/>
              <a:buSzPct val="100000"/>
              <a:buFont typeface="Arial" panose="020B0604020202020204" pitchFamily="34" charset="0"/>
              <a:buChar char="•"/>
              <a:tabLst/>
              <a:defRPr/>
            </a:pPr>
            <a:r>
              <a:rPr lang="en-GB" sz="1400" kern="0">
                <a:solidFill>
                  <a:srgbClr val="000000"/>
                </a:solidFill>
                <a:latin typeface="Calibri"/>
              </a:rPr>
              <a:t>V</a:t>
            </a:r>
            <a:r>
              <a:rPr kumimoji="0" lang="en-GB" sz="1400" i="0" u="none" strike="noStrike" kern="0" cap="none" spc="0" normalizeH="0" baseline="0" noProof="0">
                <a:ln>
                  <a:noFill/>
                </a:ln>
                <a:solidFill>
                  <a:srgbClr val="000000"/>
                </a:solidFill>
                <a:effectLst/>
                <a:uLnTx/>
                <a:uFillTx/>
                <a:latin typeface="Calibri"/>
                <a:ea typeface="+mn-ea"/>
                <a:cs typeface="+mn-cs"/>
              </a:rPr>
              <a:t>olatility-adjusted strategy</a:t>
            </a:r>
          </a:p>
          <a:p>
            <a:pPr marL="179994" indent="-179994" defTabSz="914370">
              <a:spcBef>
                <a:spcPts val="12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Assess and prioritize risks in future scenarios</a:t>
            </a:r>
          </a:p>
          <a:p>
            <a:pPr marL="179994" indent="-179994" defTabSz="914370">
              <a:spcBef>
                <a:spcPts val="12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Iterative process with enhanced capabilities</a:t>
            </a:r>
          </a:p>
        </p:txBody>
      </p:sp>
      <p:sp>
        <p:nvSpPr>
          <p:cNvPr id="49" name="TextBox 48">
            <a:extLst>
              <a:ext uri="{FF2B5EF4-FFF2-40B4-BE49-F238E27FC236}">
                <a16:creationId xmlns:a16="http://schemas.microsoft.com/office/drawing/2014/main" id="{C3EBA994-99DD-0BD0-A22C-F563257B14B8}"/>
              </a:ext>
            </a:extLst>
          </p:cNvPr>
          <p:cNvSpPr txBox="1">
            <a:spLocks/>
          </p:cNvSpPr>
          <p:nvPr/>
        </p:nvSpPr>
        <p:spPr>
          <a:xfrm>
            <a:off x="3284345" y="4557191"/>
            <a:ext cx="2787201" cy="1446550"/>
          </a:xfrm>
          <a:prstGeom prst="rect">
            <a:avLst/>
          </a:prstGeom>
          <a:noFill/>
        </p:spPr>
        <p:txBody>
          <a:bodyPr wrap="square" lIns="91440" tIns="0" rIns="0" bIns="0">
            <a:spAutoFit/>
          </a:bodyPr>
          <a:lstStyle/>
          <a:p>
            <a:pPr marL="179994" indent="-179994" defTabSz="914370">
              <a:spcBef>
                <a:spcPts val="6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Adopt a </a:t>
            </a:r>
            <a:r>
              <a:rPr lang="en-GB" sz="1400">
                <a:solidFill>
                  <a:srgbClr val="000000"/>
                </a:solidFill>
                <a:latin typeface="Calibri"/>
              </a:rPr>
              <a:t>risk-adjusted </a:t>
            </a:r>
            <a:r>
              <a:rPr kumimoji="0" lang="en-GB" sz="1400" i="0" u="none" strike="noStrike" kern="1200" cap="none" spc="0" normalizeH="0" baseline="0" noProof="0">
                <a:ln>
                  <a:noFill/>
                </a:ln>
                <a:solidFill>
                  <a:srgbClr val="000000"/>
                </a:solidFill>
                <a:effectLst/>
                <a:uLnTx/>
                <a:uFillTx/>
                <a:latin typeface="Calibri"/>
                <a:ea typeface="+mn-ea"/>
                <a:cs typeface="+mn-cs"/>
              </a:rPr>
              <a:t>portfolio strategy</a:t>
            </a:r>
          </a:p>
          <a:p>
            <a:pPr marL="179994" indent="-179994" defTabSz="914370">
              <a:spcBef>
                <a:spcPts val="600"/>
              </a:spcBef>
              <a:buSzPct val="100000"/>
              <a:buFont typeface="Arial" panose="020B0604020202020204" pitchFamily="34" charset="0"/>
              <a:buChar char="•"/>
              <a:defRPr/>
            </a:pPr>
            <a:r>
              <a:rPr lang="en-GB" sz="1400">
                <a:solidFill>
                  <a:srgbClr val="000000"/>
                </a:solidFill>
                <a:latin typeface="Calibri"/>
              </a:rPr>
              <a:t>Become a weak signals detection engine</a:t>
            </a:r>
          </a:p>
          <a:p>
            <a:pPr marL="179994" indent="-179994" defTabSz="914370">
              <a:spcBef>
                <a:spcPts val="6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Efficient time-to-market to adapt value proposition</a:t>
            </a:r>
          </a:p>
        </p:txBody>
      </p:sp>
      <p:sp>
        <p:nvSpPr>
          <p:cNvPr id="50" name="TextBox 49">
            <a:extLst>
              <a:ext uri="{FF2B5EF4-FFF2-40B4-BE49-F238E27FC236}">
                <a16:creationId xmlns:a16="http://schemas.microsoft.com/office/drawing/2014/main" id="{BE406EF8-352E-E545-60A5-E2DA8E98EEA3}"/>
              </a:ext>
            </a:extLst>
          </p:cNvPr>
          <p:cNvSpPr txBox="1">
            <a:spLocks/>
          </p:cNvSpPr>
          <p:nvPr/>
        </p:nvSpPr>
        <p:spPr>
          <a:xfrm>
            <a:off x="6098491" y="4557191"/>
            <a:ext cx="2649150" cy="1092607"/>
          </a:xfrm>
          <a:prstGeom prst="rect">
            <a:avLst/>
          </a:prstGeom>
          <a:noFill/>
        </p:spPr>
        <p:txBody>
          <a:bodyPr wrap="square" lIns="91440" tIns="0" rIns="0" bIns="0">
            <a:spAutoFit/>
          </a:bodyPr>
          <a:lstStyle/>
          <a:p>
            <a:pPr marL="179994" indent="-179994">
              <a:spcBef>
                <a:spcPts val="6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Stress-tested financial model</a:t>
            </a:r>
          </a:p>
          <a:p>
            <a:pPr marL="179994" indent="-179994" defTabSz="914370">
              <a:spcBef>
                <a:spcPts val="6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Simplified commercial model</a:t>
            </a:r>
          </a:p>
          <a:p>
            <a:pPr marL="179994" indent="-179994" defTabSz="914370">
              <a:spcBef>
                <a:spcPts val="6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Responsive operations</a:t>
            </a:r>
          </a:p>
          <a:p>
            <a:pPr marL="179994" indent="-179994" defTabSz="914370">
              <a:spcBef>
                <a:spcPts val="6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Secured supply chain</a:t>
            </a:r>
          </a:p>
        </p:txBody>
      </p:sp>
      <p:sp>
        <p:nvSpPr>
          <p:cNvPr id="51" name="TextBox 50">
            <a:extLst>
              <a:ext uri="{FF2B5EF4-FFF2-40B4-BE49-F238E27FC236}">
                <a16:creationId xmlns:a16="http://schemas.microsoft.com/office/drawing/2014/main" id="{C8375FA1-48FA-1CBE-9FFC-39DF71B78347}"/>
              </a:ext>
            </a:extLst>
          </p:cNvPr>
          <p:cNvSpPr txBox="1">
            <a:spLocks/>
          </p:cNvSpPr>
          <p:nvPr/>
        </p:nvSpPr>
        <p:spPr>
          <a:xfrm>
            <a:off x="8931217" y="4557191"/>
            <a:ext cx="2847231" cy="800219"/>
          </a:xfrm>
          <a:prstGeom prst="rect">
            <a:avLst/>
          </a:prstGeom>
          <a:noFill/>
        </p:spPr>
        <p:txBody>
          <a:bodyPr wrap="square" lIns="91440" tIns="0" rIns="0" bIns="0">
            <a:spAutoFit/>
          </a:bodyPr>
          <a:lstStyle/>
          <a:p>
            <a:pPr marL="179994" indent="-179994">
              <a:spcBef>
                <a:spcPts val="6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Responsive leadership</a:t>
            </a:r>
          </a:p>
          <a:p>
            <a:pPr marL="179994" indent="-179994">
              <a:spcBef>
                <a:spcPts val="6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Survival culture and subsidiarity</a:t>
            </a:r>
          </a:p>
          <a:p>
            <a:pPr marL="179994" indent="-179994">
              <a:spcBef>
                <a:spcPts val="600"/>
              </a:spcBef>
              <a:buSzPct val="100000"/>
              <a:buFont typeface="Arial" panose="020B0604020202020204" pitchFamily="34" charset="0"/>
              <a:buChar char="•"/>
              <a:defRPr/>
            </a:pPr>
            <a:r>
              <a:rPr kumimoji="0" lang="en-GB" sz="1400" i="0" u="none" strike="noStrike" kern="1200" cap="none" spc="0" normalizeH="0" baseline="0" noProof="0">
                <a:ln>
                  <a:noFill/>
                </a:ln>
                <a:solidFill>
                  <a:srgbClr val="000000"/>
                </a:solidFill>
                <a:effectLst/>
                <a:uLnTx/>
                <a:uFillTx/>
                <a:latin typeface="Calibri"/>
                <a:ea typeface="+mn-ea"/>
                <a:cs typeface="+mn-cs"/>
              </a:rPr>
              <a:t>Leadin</a:t>
            </a:r>
            <a:r>
              <a:rPr lang="en-GB" sz="1400">
                <a:solidFill>
                  <a:srgbClr val="000000"/>
                </a:solidFill>
                <a:latin typeface="Calibri"/>
              </a:rPr>
              <a:t>g in the fog</a:t>
            </a:r>
            <a:endParaRPr kumimoji="0" lang="en-GB" sz="140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5178003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748155-56E0-47A3-9A3B-4D595A1669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26748155-56E0-47A3-9A3B-4D595A1669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water&#10;&#10;Description automatically generated">
            <a:extLst>
              <a:ext uri="{FF2B5EF4-FFF2-40B4-BE49-F238E27FC236}">
                <a16:creationId xmlns:a16="http://schemas.microsoft.com/office/drawing/2014/main" id="{8871BC40-B834-E141-4B8E-119A3572854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
          <a:stretch/>
        </p:blipFill>
        <p:spPr>
          <a:xfrm>
            <a:off x="0" y="0"/>
            <a:ext cx="2524539" cy="6858000"/>
          </a:xfrm>
          <a:prstGeom prst="rect">
            <a:avLst/>
          </a:prstGeom>
        </p:spPr>
      </p:pic>
      <p:sp>
        <p:nvSpPr>
          <p:cNvPr id="2" name="Title 1">
            <a:extLst>
              <a:ext uri="{FF2B5EF4-FFF2-40B4-BE49-F238E27FC236}">
                <a16:creationId xmlns:a16="http://schemas.microsoft.com/office/drawing/2014/main" id="{E7B5CCD4-8826-4E2F-BE5D-170E8A517FFF}"/>
              </a:ext>
            </a:extLst>
          </p:cNvPr>
          <p:cNvSpPr>
            <a:spLocks noGrp="1"/>
          </p:cNvSpPr>
          <p:nvPr>
            <p:ph type="title"/>
          </p:nvPr>
        </p:nvSpPr>
        <p:spPr>
          <a:xfrm>
            <a:off x="2967382" y="384048"/>
            <a:ext cx="8767418" cy="758952"/>
          </a:xfrm>
        </p:spPr>
        <p:txBody>
          <a:bodyPr vert="horz"/>
          <a:lstStyle/>
          <a:p>
            <a:r>
              <a:rPr lang="en-GB"/>
              <a:t>Agenda for this workshop</a:t>
            </a:r>
          </a:p>
        </p:txBody>
      </p:sp>
      <p:sp>
        <p:nvSpPr>
          <p:cNvPr id="9" name="Oval 8">
            <a:extLst>
              <a:ext uri="{FF2B5EF4-FFF2-40B4-BE49-F238E27FC236}">
                <a16:creationId xmlns:a16="http://schemas.microsoft.com/office/drawing/2014/main" id="{3E7EB780-A806-4E1E-9B01-6077A71D2E33}"/>
              </a:ext>
            </a:extLst>
          </p:cNvPr>
          <p:cNvSpPr/>
          <p:nvPr/>
        </p:nvSpPr>
        <p:spPr>
          <a:xfrm>
            <a:off x="2133844" y="228846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800" b="1" kern="0">
                <a:solidFill>
                  <a:schemeClr val="accent3"/>
                </a:solidFill>
                <a:latin typeface="MMC Display Condensed"/>
              </a:rPr>
              <a:t>1</a:t>
            </a:r>
            <a:endParaRPr kumimoji="0" lang="en-GB" sz="2800" b="1" i="0" u="none" strike="noStrike" kern="0" cap="none" spc="0" normalizeH="0" baseline="0">
              <a:ln>
                <a:noFill/>
              </a:ln>
              <a:solidFill>
                <a:schemeClr val="accent3"/>
              </a:solidFill>
              <a:effectLst/>
              <a:uLnTx/>
              <a:uFillTx/>
              <a:latin typeface="MMC Display Condensed"/>
              <a:ea typeface="+mn-ea"/>
              <a:cs typeface="+mn-cs"/>
            </a:endParaRPr>
          </a:p>
        </p:txBody>
      </p:sp>
      <p:sp>
        <p:nvSpPr>
          <p:cNvPr id="10" name="Oval 9">
            <a:extLst>
              <a:ext uri="{FF2B5EF4-FFF2-40B4-BE49-F238E27FC236}">
                <a16:creationId xmlns:a16="http://schemas.microsoft.com/office/drawing/2014/main" id="{58A7118C-E150-46CC-A998-0F89A970B9CC}"/>
              </a:ext>
            </a:extLst>
          </p:cNvPr>
          <p:cNvSpPr/>
          <p:nvPr/>
        </p:nvSpPr>
        <p:spPr>
          <a:xfrm>
            <a:off x="2133844" y="317534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a:ln>
                  <a:noFill/>
                </a:ln>
                <a:solidFill>
                  <a:schemeClr val="tx2"/>
                </a:solidFill>
                <a:effectLst/>
                <a:uLnTx/>
                <a:uFillTx/>
                <a:latin typeface="MMC Display Condensed"/>
                <a:ea typeface="+mn-ea"/>
                <a:cs typeface="+mn-cs"/>
              </a:rPr>
              <a:t>2</a:t>
            </a:r>
          </a:p>
        </p:txBody>
      </p:sp>
      <p:sp>
        <p:nvSpPr>
          <p:cNvPr id="11" name="Oval 10">
            <a:extLst>
              <a:ext uri="{FF2B5EF4-FFF2-40B4-BE49-F238E27FC236}">
                <a16:creationId xmlns:a16="http://schemas.microsoft.com/office/drawing/2014/main" id="{700C0EB8-FDAE-4FBC-99A2-74FFE2084AC1}"/>
              </a:ext>
            </a:extLst>
          </p:cNvPr>
          <p:cNvSpPr/>
          <p:nvPr/>
        </p:nvSpPr>
        <p:spPr>
          <a:xfrm>
            <a:off x="2133844" y="406222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800" b="1" kern="0">
                <a:solidFill>
                  <a:schemeClr val="accent3"/>
                </a:solidFill>
                <a:latin typeface="MMC Display Condensed"/>
              </a:rPr>
              <a:t>3</a:t>
            </a:r>
            <a:endParaRPr kumimoji="0" lang="en-GB" sz="2800" b="1" i="0" u="none" strike="noStrike" kern="0" cap="none" spc="0" normalizeH="0" baseline="0">
              <a:ln>
                <a:noFill/>
              </a:ln>
              <a:solidFill>
                <a:schemeClr val="accent3"/>
              </a:solidFill>
              <a:effectLst/>
              <a:uLnTx/>
              <a:uFillTx/>
              <a:latin typeface="MMC Display Condensed"/>
              <a:ea typeface="+mn-ea"/>
              <a:cs typeface="+mn-cs"/>
            </a:endParaRPr>
          </a:p>
        </p:txBody>
      </p:sp>
      <p:sp>
        <p:nvSpPr>
          <p:cNvPr id="5" name="Rectangle 4">
            <a:extLst>
              <a:ext uri="{FF2B5EF4-FFF2-40B4-BE49-F238E27FC236}">
                <a16:creationId xmlns:a16="http://schemas.microsoft.com/office/drawing/2014/main" id="{2511FD99-7B2E-46DA-AD75-F5959D0274DA}"/>
              </a:ext>
            </a:extLst>
          </p:cNvPr>
          <p:cNvSpPr/>
          <p:nvPr/>
        </p:nvSpPr>
        <p:spPr>
          <a:xfrm>
            <a:off x="2967382" y="225728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accent3"/>
                </a:solidFill>
              </a:rPr>
              <a:t>Permacrisis overview</a:t>
            </a:r>
          </a:p>
          <a:p>
            <a:r>
              <a:rPr lang="en-GB" sz="1400" kern="0">
                <a:solidFill>
                  <a:schemeClr val="accent3"/>
                </a:solidFill>
              </a:rPr>
              <a:t>Presentation of global risks and expected disruptions</a:t>
            </a:r>
          </a:p>
        </p:txBody>
      </p:sp>
      <p:sp>
        <p:nvSpPr>
          <p:cNvPr id="20" name="Rectangle 19">
            <a:extLst>
              <a:ext uri="{FF2B5EF4-FFF2-40B4-BE49-F238E27FC236}">
                <a16:creationId xmlns:a16="http://schemas.microsoft.com/office/drawing/2014/main" id="{45B27300-4458-46CC-B3F9-57F98DE412AB}"/>
              </a:ext>
            </a:extLst>
          </p:cNvPr>
          <p:cNvSpPr/>
          <p:nvPr/>
        </p:nvSpPr>
        <p:spPr>
          <a:xfrm>
            <a:off x="2967382" y="314416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70" eaLnBrk="1" fontAlgn="auto" latinLnBrk="0" hangingPunct="1">
              <a:lnSpc>
                <a:spcPct val="100000"/>
              </a:lnSpc>
              <a:spcBef>
                <a:spcPts val="0"/>
              </a:spcBef>
              <a:spcAft>
                <a:spcPts val="0"/>
              </a:spcAft>
              <a:buClrTx/>
              <a:buSzTx/>
              <a:buFontTx/>
              <a:buNone/>
              <a:tabLst/>
              <a:defRPr/>
            </a:pPr>
            <a:r>
              <a:rPr lang="en-GB" b="1">
                <a:solidFill>
                  <a:schemeClr val="tx2"/>
                </a:solidFill>
                <a:ea typeface="Times New Roman" panose="02020603050405020304" pitchFamily="18" charset="0"/>
              </a:rPr>
              <a:t>Risks &amp; opportunities deep-dive</a:t>
            </a:r>
          </a:p>
          <a:p>
            <a:pPr marL="0" marR="0" lvl="0" indent="0" algn="l" defTabSz="914370" eaLnBrk="1" fontAlgn="auto" latinLnBrk="0" hangingPunct="1">
              <a:lnSpc>
                <a:spcPct val="100000"/>
              </a:lnSpc>
              <a:spcBef>
                <a:spcPts val="0"/>
              </a:spcBef>
              <a:spcAft>
                <a:spcPts val="0"/>
              </a:spcAft>
              <a:buClrTx/>
              <a:buSzTx/>
              <a:buFontTx/>
              <a:buNone/>
              <a:tabLst/>
              <a:defRPr/>
            </a:pPr>
            <a:r>
              <a:rPr lang="en-GB" sz="1400">
                <a:solidFill>
                  <a:schemeClr val="tx2"/>
                </a:solidFill>
                <a:ea typeface="Times New Roman" panose="02020603050405020304" pitchFamily="18" charset="0"/>
              </a:rPr>
              <a:t>Open discussion to align on major risks &amp; opportunities affecting Nexans in Asia</a:t>
            </a:r>
          </a:p>
        </p:txBody>
      </p:sp>
      <p:sp>
        <p:nvSpPr>
          <p:cNvPr id="21" name="Rectangle 20">
            <a:extLst>
              <a:ext uri="{FF2B5EF4-FFF2-40B4-BE49-F238E27FC236}">
                <a16:creationId xmlns:a16="http://schemas.microsoft.com/office/drawing/2014/main" id="{4ED825AB-D88C-4388-A11E-C9554C920BD1}"/>
              </a:ext>
            </a:extLst>
          </p:cNvPr>
          <p:cNvSpPr/>
          <p:nvPr/>
        </p:nvSpPr>
        <p:spPr>
          <a:xfrm>
            <a:off x="2967382" y="403104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accent3"/>
                </a:solidFill>
              </a:rPr>
              <a:t>Coffee break</a:t>
            </a:r>
            <a:endParaRPr lang="en-GB" sz="1400" kern="0">
              <a:solidFill>
                <a:schemeClr val="accent3"/>
              </a:solidFill>
            </a:endParaRPr>
          </a:p>
        </p:txBody>
      </p:sp>
      <p:sp>
        <p:nvSpPr>
          <p:cNvPr id="13" name="TextBox 12">
            <a:extLst>
              <a:ext uri="{FF2B5EF4-FFF2-40B4-BE49-F238E27FC236}">
                <a16:creationId xmlns:a16="http://schemas.microsoft.com/office/drawing/2014/main" id="{521DD162-3FB4-4461-4E45-4FEF61663B7B}"/>
              </a:ext>
            </a:extLst>
          </p:cNvPr>
          <p:cNvSpPr txBox="1">
            <a:spLocks/>
          </p:cNvSpPr>
          <p:nvPr/>
        </p:nvSpPr>
        <p:spPr>
          <a:xfrm>
            <a:off x="10487492" y="2566376"/>
            <a:ext cx="1259246" cy="215444"/>
          </a:xfrm>
          <a:prstGeom prst="rect">
            <a:avLst/>
          </a:prstGeom>
          <a:noFill/>
        </p:spPr>
        <p:txBody>
          <a:bodyPr wrap="square" lIns="0" tIns="0" rIns="0" bIns="0" rtlCol="0">
            <a:spAutoFit/>
          </a:bodyPr>
          <a:lstStyle/>
          <a:p>
            <a:r>
              <a:rPr lang="en-GB" sz="1400" i="1" kern="0">
                <a:solidFill>
                  <a:schemeClr val="accent3"/>
                </a:solidFill>
              </a:rPr>
              <a:t>08h30 – 09h15</a:t>
            </a:r>
          </a:p>
        </p:txBody>
      </p:sp>
      <p:sp>
        <p:nvSpPr>
          <p:cNvPr id="14" name="TextBox 13">
            <a:extLst>
              <a:ext uri="{FF2B5EF4-FFF2-40B4-BE49-F238E27FC236}">
                <a16:creationId xmlns:a16="http://schemas.microsoft.com/office/drawing/2014/main" id="{856A1F5D-FFED-CAEC-ADA3-EBBECF179C0F}"/>
              </a:ext>
            </a:extLst>
          </p:cNvPr>
          <p:cNvSpPr txBox="1">
            <a:spLocks/>
          </p:cNvSpPr>
          <p:nvPr/>
        </p:nvSpPr>
        <p:spPr>
          <a:xfrm>
            <a:off x="10487492" y="3453256"/>
            <a:ext cx="1259246" cy="215444"/>
          </a:xfrm>
          <a:prstGeom prst="rect">
            <a:avLst/>
          </a:prstGeom>
          <a:noFill/>
        </p:spPr>
        <p:txBody>
          <a:bodyPr wrap="square" lIns="0" tIns="0" rIns="0" bIns="0" rtlCol="0">
            <a:spAutoFit/>
          </a:bodyPr>
          <a:lstStyle/>
          <a:p>
            <a:r>
              <a:rPr lang="en-GB" sz="1400" i="1" kern="0">
                <a:solidFill>
                  <a:schemeClr val="tx2"/>
                </a:solidFill>
              </a:rPr>
              <a:t>09h15 – 10h15</a:t>
            </a:r>
          </a:p>
        </p:txBody>
      </p:sp>
      <p:sp>
        <p:nvSpPr>
          <p:cNvPr id="15" name="TextBox 14">
            <a:extLst>
              <a:ext uri="{FF2B5EF4-FFF2-40B4-BE49-F238E27FC236}">
                <a16:creationId xmlns:a16="http://schemas.microsoft.com/office/drawing/2014/main" id="{0F93F637-2801-8862-7DBE-893391AA1E77}"/>
              </a:ext>
            </a:extLst>
          </p:cNvPr>
          <p:cNvSpPr txBox="1">
            <a:spLocks/>
          </p:cNvSpPr>
          <p:nvPr/>
        </p:nvSpPr>
        <p:spPr>
          <a:xfrm>
            <a:off x="10487492" y="4340136"/>
            <a:ext cx="1259246" cy="215444"/>
          </a:xfrm>
          <a:prstGeom prst="rect">
            <a:avLst/>
          </a:prstGeom>
          <a:noFill/>
        </p:spPr>
        <p:txBody>
          <a:bodyPr wrap="square" lIns="0" tIns="0" rIns="0" bIns="0" rtlCol="0">
            <a:spAutoFit/>
          </a:bodyPr>
          <a:lstStyle/>
          <a:p>
            <a:r>
              <a:rPr lang="en-GB" sz="1400" i="1" kern="0">
                <a:solidFill>
                  <a:schemeClr val="accent3"/>
                </a:solidFill>
              </a:rPr>
              <a:t>10h15 – 10h30</a:t>
            </a:r>
          </a:p>
        </p:txBody>
      </p:sp>
      <p:sp>
        <p:nvSpPr>
          <p:cNvPr id="16" name="Oval 15">
            <a:extLst>
              <a:ext uri="{FF2B5EF4-FFF2-40B4-BE49-F238E27FC236}">
                <a16:creationId xmlns:a16="http://schemas.microsoft.com/office/drawing/2014/main" id="{95F9DE53-C029-8E41-5106-D49EEFBB2A31}"/>
              </a:ext>
            </a:extLst>
          </p:cNvPr>
          <p:cNvSpPr/>
          <p:nvPr/>
        </p:nvSpPr>
        <p:spPr>
          <a:xfrm>
            <a:off x="2133844" y="4980286"/>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a:ln>
                  <a:noFill/>
                </a:ln>
                <a:solidFill>
                  <a:schemeClr val="accent3"/>
                </a:solidFill>
                <a:effectLst/>
                <a:uLnTx/>
                <a:uFillTx/>
                <a:latin typeface="MMC Display Condensed"/>
                <a:ea typeface="+mn-ea"/>
                <a:cs typeface="+mn-cs"/>
              </a:rPr>
              <a:t>4</a:t>
            </a:r>
          </a:p>
        </p:txBody>
      </p:sp>
      <p:sp>
        <p:nvSpPr>
          <p:cNvPr id="17" name="Rectangle 16">
            <a:extLst>
              <a:ext uri="{FF2B5EF4-FFF2-40B4-BE49-F238E27FC236}">
                <a16:creationId xmlns:a16="http://schemas.microsoft.com/office/drawing/2014/main" id="{C41E1B99-5C08-2224-7A9E-BFE68D784190}"/>
              </a:ext>
            </a:extLst>
          </p:cNvPr>
          <p:cNvSpPr/>
          <p:nvPr/>
        </p:nvSpPr>
        <p:spPr>
          <a:xfrm>
            <a:off x="2967382" y="4949105"/>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accent3"/>
                </a:solidFill>
              </a:rPr>
              <a:t>Permacrisis Profit Patterns design</a:t>
            </a:r>
          </a:p>
          <a:p>
            <a:r>
              <a:rPr lang="en-GB" sz="1400" kern="0">
                <a:solidFill>
                  <a:schemeClr val="accent3"/>
                </a:solidFill>
              </a:rPr>
              <a:t>Design patterns for a risk-adjusted business model, answering major risks</a:t>
            </a:r>
            <a:r>
              <a:rPr lang="en-GB" sz="1400" kern="0">
                <a:solidFill>
                  <a:schemeClr val="tx2"/>
                </a:solidFill>
              </a:rPr>
              <a:t> </a:t>
            </a:r>
            <a:r>
              <a:rPr lang="en-GB" sz="1400" kern="0">
                <a:solidFill>
                  <a:schemeClr val="accent3"/>
                </a:solidFill>
              </a:rPr>
              <a:t>&amp; opportunities for Nexans in Asia</a:t>
            </a:r>
          </a:p>
        </p:txBody>
      </p:sp>
      <p:sp>
        <p:nvSpPr>
          <p:cNvPr id="18" name="TextBox 17">
            <a:extLst>
              <a:ext uri="{FF2B5EF4-FFF2-40B4-BE49-F238E27FC236}">
                <a16:creationId xmlns:a16="http://schemas.microsoft.com/office/drawing/2014/main" id="{79CB84BB-613B-6A41-2E24-B16C0C1F4554}"/>
              </a:ext>
            </a:extLst>
          </p:cNvPr>
          <p:cNvSpPr txBox="1">
            <a:spLocks/>
          </p:cNvSpPr>
          <p:nvPr/>
        </p:nvSpPr>
        <p:spPr>
          <a:xfrm>
            <a:off x="10487492" y="5258197"/>
            <a:ext cx="1259246" cy="215444"/>
          </a:xfrm>
          <a:prstGeom prst="rect">
            <a:avLst/>
          </a:prstGeom>
          <a:noFill/>
        </p:spPr>
        <p:txBody>
          <a:bodyPr wrap="square" lIns="0" tIns="0" rIns="0" bIns="0" rtlCol="0">
            <a:spAutoFit/>
          </a:bodyPr>
          <a:lstStyle/>
          <a:p>
            <a:r>
              <a:rPr lang="en-GB" sz="1400" i="1" kern="0">
                <a:solidFill>
                  <a:schemeClr val="accent3"/>
                </a:solidFill>
              </a:rPr>
              <a:t>10h30 – 12h30</a:t>
            </a:r>
          </a:p>
        </p:txBody>
      </p:sp>
    </p:spTree>
    <p:extLst>
      <p:ext uri="{BB962C8B-B14F-4D97-AF65-F5344CB8AC3E}">
        <p14:creationId xmlns:p14="http://schemas.microsoft.com/office/powerpoint/2010/main" val="29946945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739CADB-CC3D-FD4F-6B45-F2367083F3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B739CADB-CC3D-FD4F-6B45-F2367083F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054378F3-3F2B-46C3-8202-269B9FD9D13F}"/>
              </a:ext>
            </a:extLst>
          </p:cNvPr>
          <p:cNvSpPr txBox="1"/>
          <p:nvPr/>
        </p:nvSpPr>
        <p:spPr>
          <a:xfrm>
            <a:off x="457200" y="3471619"/>
            <a:ext cx="2761488" cy="1292662"/>
          </a:xfrm>
          <a:prstGeom prst="rect">
            <a:avLst/>
          </a:prstGeom>
          <a:noFill/>
        </p:spPr>
        <p:txBody>
          <a:bodyPr wrap="square" lIns="0" tIns="0" rIns="0" bIns="0" rtlCol="0">
            <a:spAutoFit/>
          </a:bodyPr>
          <a:lstStyle/>
          <a:p>
            <a:r>
              <a:rPr lang="en-GB" sz="2800" b="1">
                <a:latin typeface="+mj-lt"/>
                <a:ea typeface="+mj-ea"/>
                <a:cs typeface="+mj-cs"/>
              </a:rPr>
              <a:t>Risks &amp; opportunities deep-dive</a:t>
            </a:r>
          </a:p>
        </p:txBody>
      </p:sp>
      <p:sp>
        <p:nvSpPr>
          <p:cNvPr id="24" name="Freeform: Shape 23">
            <a:extLst>
              <a:ext uri="{FF2B5EF4-FFF2-40B4-BE49-F238E27FC236}">
                <a16:creationId xmlns:a16="http://schemas.microsoft.com/office/drawing/2014/main" id="{D69CF7A5-607F-4FC0-8119-3EED398784C1}"/>
              </a:ext>
            </a:extLst>
          </p:cNvPr>
          <p:cNvSpPr>
            <a:spLocks noChangeAspect="1"/>
          </p:cNvSpPr>
          <p:nvPr/>
        </p:nvSpPr>
        <p:spPr>
          <a:xfrm>
            <a:off x="-1" y="1539103"/>
            <a:ext cx="3515199" cy="4726806"/>
          </a:xfrm>
          <a:custGeom>
            <a:avLst/>
            <a:gdLst>
              <a:gd name="connsiteX0" fmla="*/ 1007226 w 2997862"/>
              <a:gd name="connsiteY0" fmla="*/ 175 h 4031154"/>
              <a:gd name="connsiteX1" fmla="*/ 2533567 w 2997862"/>
              <a:gd name="connsiteY1" fmla="*/ 728950 h 4031154"/>
              <a:gd name="connsiteX2" fmla="*/ 2525988 w 2997862"/>
              <a:gd name="connsiteY2" fmla="*/ 3311290 h 4031154"/>
              <a:gd name="connsiteX3" fmla="*/ 145509 w 2997862"/>
              <a:gd name="connsiteY3" fmla="*/ 3849673 h 4031154"/>
              <a:gd name="connsiteX4" fmla="*/ 0 w 2997862"/>
              <a:gd name="connsiteY4" fmla="*/ 3775260 h 4031154"/>
              <a:gd name="connsiteX5" fmla="*/ 0 w 2997862"/>
              <a:gd name="connsiteY5" fmla="*/ 255533 h 4031154"/>
              <a:gd name="connsiteX6" fmla="*/ 238708 w 2997862"/>
              <a:gd name="connsiteY6" fmla="*/ 141763 h 4031154"/>
              <a:gd name="connsiteX7" fmla="*/ 1007226 w 2997862"/>
              <a:gd name="connsiteY7" fmla="*/ 175 h 4031154"/>
              <a:gd name="connsiteX0" fmla="*/ 1036002 w 3026638"/>
              <a:gd name="connsiteY0" fmla="*/ 175 h 4031154"/>
              <a:gd name="connsiteX1" fmla="*/ 2562343 w 3026638"/>
              <a:gd name="connsiteY1" fmla="*/ 728950 h 4031154"/>
              <a:gd name="connsiteX2" fmla="*/ 2554764 w 3026638"/>
              <a:gd name="connsiteY2" fmla="*/ 3311290 h 4031154"/>
              <a:gd name="connsiteX3" fmla="*/ 174285 w 3026638"/>
              <a:gd name="connsiteY3" fmla="*/ 3849673 h 4031154"/>
              <a:gd name="connsiteX4" fmla="*/ 28776 w 3026638"/>
              <a:gd name="connsiteY4" fmla="*/ 3775260 h 4031154"/>
              <a:gd name="connsiteX5" fmla="*/ 0 w 3026638"/>
              <a:gd name="connsiteY5" fmla="*/ 1864107 h 4031154"/>
              <a:gd name="connsiteX6" fmla="*/ 28776 w 3026638"/>
              <a:gd name="connsiteY6" fmla="*/ 255533 h 4031154"/>
              <a:gd name="connsiteX7" fmla="*/ 267484 w 3026638"/>
              <a:gd name="connsiteY7" fmla="*/ 141763 h 4031154"/>
              <a:gd name="connsiteX8" fmla="*/ 1036002 w 3026638"/>
              <a:gd name="connsiteY8" fmla="*/ 175 h 4031154"/>
              <a:gd name="connsiteX0" fmla="*/ 0 w 3026638"/>
              <a:gd name="connsiteY0" fmla="*/ 1864107 h 4031154"/>
              <a:gd name="connsiteX1" fmla="*/ 28776 w 3026638"/>
              <a:gd name="connsiteY1" fmla="*/ 255533 h 4031154"/>
              <a:gd name="connsiteX2" fmla="*/ 267484 w 3026638"/>
              <a:gd name="connsiteY2" fmla="*/ 141763 h 4031154"/>
              <a:gd name="connsiteX3" fmla="*/ 1036002 w 3026638"/>
              <a:gd name="connsiteY3" fmla="*/ 175 h 4031154"/>
              <a:gd name="connsiteX4" fmla="*/ 2562343 w 3026638"/>
              <a:gd name="connsiteY4" fmla="*/ 728950 h 4031154"/>
              <a:gd name="connsiteX5" fmla="*/ 2554764 w 3026638"/>
              <a:gd name="connsiteY5" fmla="*/ 3311290 h 4031154"/>
              <a:gd name="connsiteX6" fmla="*/ 174285 w 3026638"/>
              <a:gd name="connsiteY6" fmla="*/ 3849673 h 4031154"/>
              <a:gd name="connsiteX7" fmla="*/ 28776 w 3026638"/>
              <a:gd name="connsiteY7" fmla="*/ 3775260 h 4031154"/>
              <a:gd name="connsiteX8" fmla="*/ 91440 w 3026638"/>
              <a:gd name="connsiteY8" fmla="*/ 1955547 h 4031154"/>
              <a:gd name="connsiteX0" fmla="*/ 0 w 3026638"/>
              <a:gd name="connsiteY0" fmla="*/ 1864107 h 4031154"/>
              <a:gd name="connsiteX1" fmla="*/ 28776 w 3026638"/>
              <a:gd name="connsiteY1" fmla="*/ 255533 h 4031154"/>
              <a:gd name="connsiteX2" fmla="*/ 267484 w 3026638"/>
              <a:gd name="connsiteY2" fmla="*/ 141763 h 4031154"/>
              <a:gd name="connsiteX3" fmla="*/ 1036002 w 3026638"/>
              <a:gd name="connsiteY3" fmla="*/ 175 h 4031154"/>
              <a:gd name="connsiteX4" fmla="*/ 2562343 w 3026638"/>
              <a:gd name="connsiteY4" fmla="*/ 728950 h 4031154"/>
              <a:gd name="connsiteX5" fmla="*/ 2554764 w 3026638"/>
              <a:gd name="connsiteY5" fmla="*/ 3311290 h 4031154"/>
              <a:gd name="connsiteX6" fmla="*/ 174285 w 3026638"/>
              <a:gd name="connsiteY6" fmla="*/ 3849673 h 4031154"/>
              <a:gd name="connsiteX7" fmla="*/ 28776 w 3026638"/>
              <a:gd name="connsiteY7" fmla="*/ 3775260 h 4031154"/>
              <a:gd name="connsiteX0" fmla="*/ 0 w 2997862"/>
              <a:gd name="connsiteY0" fmla="*/ 255533 h 4031154"/>
              <a:gd name="connsiteX1" fmla="*/ 238708 w 2997862"/>
              <a:gd name="connsiteY1" fmla="*/ 141763 h 4031154"/>
              <a:gd name="connsiteX2" fmla="*/ 1007226 w 2997862"/>
              <a:gd name="connsiteY2" fmla="*/ 175 h 4031154"/>
              <a:gd name="connsiteX3" fmla="*/ 2533567 w 2997862"/>
              <a:gd name="connsiteY3" fmla="*/ 728950 h 4031154"/>
              <a:gd name="connsiteX4" fmla="*/ 2525988 w 2997862"/>
              <a:gd name="connsiteY4" fmla="*/ 3311290 h 4031154"/>
              <a:gd name="connsiteX5" fmla="*/ 145509 w 2997862"/>
              <a:gd name="connsiteY5" fmla="*/ 3849673 h 4031154"/>
              <a:gd name="connsiteX6" fmla="*/ 0 w 2997862"/>
              <a:gd name="connsiteY6" fmla="*/ 3775260 h 403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7862" h="4031154">
                <a:moveTo>
                  <a:pt x="0" y="255533"/>
                </a:moveTo>
                <a:lnTo>
                  <a:pt x="238708" y="141763"/>
                </a:lnTo>
                <a:cubicBezTo>
                  <a:pt x="487414" y="43043"/>
                  <a:pt x="748526" y="-3237"/>
                  <a:pt x="1007226" y="175"/>
                </a:cubicBezTo>
                <a:cubicBezTo>
                  <a:pt x="1582116" y="7759"/>
                  <a:pt x="2145099" y="260736"/>
                  <a:pt x="2533567" y="728950"/>
                </a:cubicBezTo>
                <a:cubicBezTo>
                  <a:pt x="3155474" y="1478523"/>
                  <a:pt x="3152284" y="2565378"/>
                  <a:pt x="2525988" y="3311290"/>
                </a:cubicBezTo>
                <a:cubicBezTo>
                  <a:pt x="1939175" y="4010180"/>
                  <a:pt x="962553" y="4222496"/>
                  <a:pt x="145509" y="3849673"/>
                </a:cubicBezTo>
                <a:lnTo>
                  <a:pt x="0" y="3775260"/>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050" kern="0">
              <a:solidFill>
                <a:schemeClr val="tx1"/>
              </a:solidFill>
            </a:endParaRPr>
          </a:p>
        </p:txBody>
      </p:sp>
      <p:sp>
        <p:nvSpPr>
          <p:cNvPr id="4" name="Title 3">
            <a:extLst>
              <a:ext uri="{FF2B5EF4-FFF2-40B4-BE49-F238E27FC236}">
                <a16:creationId xmlns:a16="http://schemas.microsoft.com/office/drawing/2014/main" id="{17CDB10E-E5A3-4E56-A439-78C4179BBA0C}"/>
              </a:ext>
            </a:extLst>
          </p:cNvPr>
          <p:cNvSpPr>
            <a:spLocks noGrp="1"/>
          </p:cNvSpPr>
          <p:nvPr>
            <p:ph type="title"/>
          </p:nvPr>
        </p:nvSpPr>
        <p:spPr/>
        <p:txBody>
          <a:bodyPr vert="horz"/>
          <a:lstStyle/>
          <a:p>
            <a:r>
              <a:rPr lang="en-GB"/>
              <a:t>Agenda for this chapter</a:t>
            </a:r>
            <a:endParaRPr lang="en-GB" sz="1600" b="0" cap="none">
              <a:latin typeface="+mn-lt"/>
              <a:ea typeface="+mn-ea"/>
              <a:cs typeface="+mn-cs"/>
            </a:endParaRPr>
          </a:p>
        </p:txBody>
      </p:sp>
      <p:sp>
        <p:nvSpPr>
          <p:cNvPr id="6" name="Textfeld 31">
            <a:extLst>
              <a:ext uri="{FF2B5EF4-FFF2-40B4-BE49-F238E27FC236}">
                <a16:creationId xmlns:a16="http://schemas.microsoft.com/office/drawing/2014/main" id="{50C3C86C-BDE4-498E-9617-D0A62E398E01}"/>
              </a:ext>
            </a:extLst>
          </p:cNvPr>
          <p:cNvSpPr txBox="1"/>
          <p:nvPr/>
        </p:nvSpPr>
        <p:spPr bwMode="gray">
          <a:xfrm>
            <a:off x="5789332" y="2273430"/>
            <a:ext cx="5945468" cy="738664"/>
          </a:xfrm>
          <a:prstGeom prst="rect">
            <a:avLst/>
          </a:prstGeom>
          <a:noFill/>
        </p:spPr>
        <p:txBody>
          <a:bodyPr wrap="square" lIns="0" tIns="0" rIns="0" bIns="0" rtlCol="0" anchor="ctr" anchorCtr="0">
            <a:spAutoFit/>
          </a:bodyPr>
          <a:lstStyle>
            <a:defPPr>
              <a:defRPr lang="en-US"/>
            </a:defPPr>
            <a:lvl1pPr>
              <a:defRPr sz="1600" b="1"/>
            </a:lvl1pPr>
          </a:lstStyle>
          <a:p>
            <a:r>
              <a:rPr lang="en-GB" b="0"/>
              <a:t>We will present </a:t>
            </a:r>
            <a:r>
              <a:rPr lang="en-GB"/>
              <a:t>global risks</a:t>
            </a:r>
            <a:r>
              <a:rPr lang="en-GB" b="0"/>
              <a:t> </a:t>
            </a:r>
            <a:r>
              <a:rPr lang="en-GB"/>
              <a:t>&amp;</a:t>
            </a:r>
            <a:r>
              <a:rPr lang="en-GB" b="0"/>
              <a:t> </a:t>
            </a:r>
            <a:r>
              <a:rPr lang="en-GB"/>
              <a:t>opportunities </a:t>
            </a:r>
            <a:r>
              <a:rPr lang="en-GB" b="0"/>
              <a:t>we have identified for </a:t>
            </a:r>
            <a:r>
              <a:rPr lang="en-GB"/>
              <a:t>Nexans D&amp;U APAC</a:t>
            </a:r>
            <a:r>
              <a:rPr lang="en-GB" b="0"/>
              <a:t>, based on interviews performed before the workshop</a:t>
            </a:r>
          </a:p>
        </p:txBody>
      </p:sp>
      <p:sp>
        <p:nvSpPr>
          <p:cNvPr id="7" name="Textfeld 31">
            <a:extLst>
              <a:ext uri="{FF2B5EF4-FFF2-40B4-BE49-F238E27FC236}">
                <a16:creationId xmlns:a16="http://schemas.microsoft.com/office/drawing/2014/main" id="{EFE69A09-8846-43A7-A87A-4334398442A3}"/>
              </a:ext>
            </a:extLst>
          </p:cNvPr>
          <p:cNvSpPr txBox="1"/>
          <p:nvPr/>
        </p:nvSpPr>
        <p:spPr bwMode="gray">
          <a:xfrm>
            <a:off x="5789332" y="4082174"/>
            <a:ext cx="5945468" cy="492443"/>
          </a:xfrm>
          <a:prstGeom prst="rect">
            <a:avLst/>
          </a:prstGeom>
          <a:noFill/>
        </p:spPr>
        <p:txBody>
          <a:bodyPr wrap="square" lIns="0" tIns="0" rIns="0" bIns="0" rtlCol="0" anchor="ctr" anchorCtr="0">
            <a:spAutoFit/>
          </a:bodyPr>
          <a:lstStyle/>
          <a:p>
            <a:r>
              <a:rPr lang="en-GB" sz="1600" b="0"/>
              <a:t>We will </a:t>
            </a:r>
            <a:r>
              <a:rPr lang="en-GB" sz="1600" b="1"/>
              <a:t>deep-dive</a:t>
            </a:r>
            <a:r>
              <a:rPr lang="en-GB" sz="1600" b="0"/>
              <a:t> into each of these risks, and discuss </a:t>
            </a:r>
            <a:r>
              <a:rPr lang="en-GB" sz="1600" b="1"/>
              <a:t>what</a:t>
            </a:r>
            <a:r>
              <a:rPr lang="en-GB" sz="1600" b="0"/>
              <a:t> </a:t>
            </a:r>
            <a:r>
              <a:rPr lang="en-GB" sz="1600" b="1"/>
              <a:t>they mean </a:t>
            </a:r>
            <a:r>
              <a:rPr lang="en-GB" sz="1600"/>
              <a:t>to your businesses, and how well </a:t>
            </a:r>
            <a:r>
              <a:rPr lang="en-GB" sz="1600" b="1"/>
              <a:t>you feel prepared</a:t>
            </a:r>
          </a:p>
        </p:txBody>
      </p:sp>
      <p:sp>
        <p:nvSpPr>
          <p:cNvPr id="12" name="Oval 11">
            <a:extLst>
              <a:ext uri="{FF2B5EF4-FFF2-40B4-BE49-F238E27FC236}">
                <a16:creationId xmlns:a16="http://schemas.microsoft.com/office/drawing/2014/main" id="{EF3D4CC0-075B-4709-B6D1-D07AD15ACF99}"/>
              </a:ext>
            </a:extLst>
          </p:cNvPr>
          <p:cNvSpPr>
            <a:spLocks noChangeAspect="1"/>
          </p:cNvSpPr>
          <p:nvPr/>
        </p:nvSpPr>
        <p:spPr>
          <a:xfrm>
            <a:off x="4574110" y="2160274"/>
            <a:ext cx="964977" cy="964977"/>
          </a:xfrm>
          <a:prstGeom prst="ellipse">
            <a:avLst/>
          </a:prstGeom>
          <a:solidFill>
            <a:schemeClr val="accent1"/>
          </a:solidFill>
          <a:ln w="9525" cap="rnd">
            <a:solidFill>
              <a:schemeClr val="accent1"/>
            </a:solidFill>
            <a:prstDash val="solid"/>
            <a:headEnd type="none" w="med" len="med"/>
            <a:tailEnd type="oval" w="lg" len="lg"/>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GB" sz="3200" b="1">
                <a:solidFill>
                  <a:schemeClr val="bg1"/>
                </a:solidFill>
                <a:latin typeface="+mj-lt"/>
              </a:rPr>
              <a:t>1</a:t>
            </a:r>
          </a:p>
        </p:txBody>
      </p:sp>
      <p:cxnSp>
        <p:nvCxnSpPr>
          <p:cNvPr id="13" name="Straight Arrow Connector 12">
            <a:extLst>
              <a:ext uri="{FF2B5EF4-FFF2-40B4-BE49-F238E27FC236}">
                <a16:creationId xmlns:a16="http://schemas.microsoft.com/office/drawing/2014/main" id="{2DECB9FF-C97C-4651-A97F-B3C5E7BF0B18}"/>
              </a:ext>
            </a:extLst>
          </p:cNvPr>
          <p:cNvCxnSpPr>
            <a:cxnSpLocks/>
            <a:stCxn id="12" idx="2"/>
          </p:cNvCxnSpPr>
          <p:nvPr/>
        </p:nvCxnSpPr>
        <p:spPr>
          <a:xfrm flipH="1" flipV="1">
            <a:off x="3177685" y="2637785"/>
            <a:ext cx="1396425" cy="4978"/>
          </a:xfrm>
          <a:prstGeom prst="straightConnector1">
            <a:avLst/>
          </a:prstGeom>
          <a:ln w="952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BE2425-EAA8-40E0-BF17-EE49C6672CA2}"/>
              </a:ext>
            </a:extLst>
          </p:cNvPr>
          <p:cNvSpPr>
            <a:spLocks noChangeAspect="1"/>
          </p:cNvSpPr>
          <p:nvPr/>
        </p:nvSpPr>
        <p:spPr>
          <a:xfrm>
            <a:off x="4574111" y="3845907"/>
            <a:ext cx="964977" cy="964977"/>
          </a:xfrm>
          <a:prstGeom prst="ellipse">
            <a:avLst/>
          </a:prstGeom>
          <a:solidFill>
            <a:schemeClr val="accent2"/>
          </a:solidFill>
          <a:ln w="9525" cap="rnd">
            <a:solidFill>
              <a:srgbClr val="F0F0F0"/>
            </a:solidFill>
            <a:prstDash val="solid"/>
            <a:headEnd type="none" w="med" len="med"/>
            <a:tailEnd type="oval" w="lg" len="lg"/>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GB" sz="3200" b="1">
                <a:solidFill>
                  <a:schemeClr val="bg1"/>
                </a:solidFill>
                <a:latin typeface="+mj-lt"/>
              </a:rPr>
              <a:t>2</a:t>
            </a:r>
          </a:p>
        </p:txBody>
      </p:sp>
      <p:cxnSp>
        <p:nvCxnSpPr>
          <p:cNvPr id="15" name="Straight Arrow Connector 14">
            <a:extLst>
              <a:ext uri="{FF2B5EF4-FFF2-40B4-BE49-F238E27FC236}">
                <a16:creationId xmlns:a16="http://schemas.microsoft.com/office/drawing/2014/main" id="{7B19B4BB-07ED-4615-9528-915B41CD90DF}"/>
              </a:ext>
            </a:extLst>
          </p:cNvPr>
          <p:cNvCxnSpPr>
            <a:cxnSpLocks/>
            <a:stCxn id="14" idx="2"/>
            <a:endCxn id="21" idx="6"/>
          </p:cNvCxnSpPr>
          <p:nvPr/>
        </p:nvCxnSpPr>
        <p:spPr>
          <a:xfrm flipH="1" flipV="1">
            <a:off x="3585864" y="4327248"/>
            <a:ext cx="988247" cy="1148"/>
          </a:xfrm>
          <a:prstGeom prst="straightConnector1">
            <a:avLst/>
          </a:prstGeom>
          <a:ln w="9525" cap="rnd">
            <a:solidFill>
              <a:schemeClr val="tx1"/>
            </a:solidFill>
            <a:prstDash val="solid"/>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FDB04C3B-F99A-4D5A-8A5C-70AEBB354ED9}"/>
              </a:ext>
            </a:extLst>
          </p:cNvPr>
          <p:cNvSpPr>
            <a:spLocks noChangeAspect="1"/>
          </p:cNvSpPr>
          <p:nvPr/>
        </p:nvSpPr>
        <p:spPr>
          <a:xfrm>
            <a:off x="3093332" y="2561767"/>
            <a:ext cx="160830" cy="160830"/>
          </a:xfrm>
          <a:prstGeom prst="ellipse">
            <a:avLst/>
          </a:prstGeom>
          <a:solidFill>
            <a:schemeClr val="tx1"/>
          </a:solidFill>
          <a:ln w="317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21" name="Oval 20">
            <a:extLst>
              <a:ext uri="{FF2B5EF4-FFF2-40B4-BE49-F238E27FC236}">
                <a16:creationId xmlns:a16="http://schemas.microsoft.com/office/drawing/2014/main" id="{43A1CCBF-93A8-4E7C-B1D2-FE634DE43A62}"/>
              </a:ext>
            </a:extLst>
          </p:cNvPr>
          <p:cNvSpPr>
            <a:spLocks noChangeAspect="1"/>
          </p:cNvSpPr>
          <p:nvPr/>
        </p:nvSpPr>
        <p:spPr>
          <a:xfrm>
            <a:off x="3425034" y="4246833"/>
            <a:ext cx="160830" cy="160830"/>
          </a:xfrm>
          <a:prstGeom prst="ellipse">
            <a:avLst/>
          </a:prstGeom>
          <a:solidFill>
            <a:schemeClr val="tx1"/>
          </a:solidFill>
          <a:ln w="317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Tree>
    <p:extLst>
      <p:ext uri="{BB962C8B-B14F-4D97-AF65-F5344CB8AC3E}">
        <p14:creationId xmlns:p14="http://schemas.microsoft.com/office/powerpoint/2010/main" val="38986509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46CCEF0-A968-A376-AAF0-EB415FAF5074}"/>
              </a:ext>
            </a:extLst>
          </p:cNvPr>
          <p:cNvGraphicFramePr>
            <a:graphicFrameLocks noChangeAspect="1"/>
          </p:cNvGraphicFramePr>
          <p:nvPr>
            <p:custDataLst>
              <p:tags r:id="rId1"/>
            </p:custDataLst>
            <p:extLst>
              <p:ext uri="{D42A27DB-BD31-4B8C-83A1-F6EECF244321}">
                <p14:modId xmlns:p14="http://schemas.microsoft.com/office/powerpoint/2010/main" val="1387396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846CCEF0-A968-A376-AAF0-EB415FAF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itle 59">
            <a:extLst>
              <a:ext uri="{FF2B5EF4-FFF2-40B4-BE49-F238E27FC236}">
                <a16:creationId xmlns:a16="http://schemas.microsoft.com/office/drawing/2014/main" id="{F42292D1-D543-2533-9455-D539268E4FF1}"/>
              </a:ext>
            </a:extLst>
          </p:cNvPr>
          <p:cNvSpPr>
            <a:spLocks noGrp="1"/>
          </p:cNvSpPr>
          <p:nvPr>
            <p:ph type="title"/>
          </p:nvPr>
        </p:nvSpPr>
        <p:spPr/>
        <p:txBody>
          <a:bodyPr vert="horz"/>
          <a:lstStyle/>
          <a:p>
            <a:r>
              <a:rPr lang="en-GB"/>
              <a:t>Nexans’ D&amp;U business is particularly exposed to 11 major risks &amp; opportunities, most of which are symptoms of a world in permacrisis</a:t>
            </a:r>
          </a:p>
        </p:txBody>
      </p:sp>
      <p:sp>
        <p:nvSpPr>
          <p:cNvPr id="21" name="Rectangle 20">
            <a:extLst>
              <a:ext uri="{FF2B5EF4-FFF2-40B4-BE49-F238E27FC236}">
                <a16:creationId xmlns:a16="http://schemas.microsoft.com/office/drawing/2014/main" id="{1BF5B6EF-DA49-CE55-7A3D-DC786640CC7F}"/>
              </a:ext>
            </a:extLst>
          </p:cNvPr>
          <p:cNvSpPr/>
          <p:nvPr/>
        </p:nvSpPr>
        <p:spPr>
          <a:xfrm>
            <a:off x="457200" y="1397000"/>
            <a:ext cx="5572197" cy="3574650"/>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rPr>
              <a:t>New World Order</a:t>
            </a:r>
          </a:p>
        </p:txBody>
      </p:sp>
      <p:sp>
        <p:nvSpPr>
          <p:cNvPr id="22" name="Text">
            <a:extLst>
              <a:ext uri="{FF2B5EF4-FFF2-40B4-BE49-F238E27FC236}">
                <a16:creationId xmlns:a16="http://schemas.microsoft.com/office/drawing/2014/main" id="{1D8A51A2-7EF8-86FC-88B2-C594685DFB57}"/>
              </a:ext>
            </a:extLst>
          </p:cNvPr>
          <p:cNvSpPr txBox="1">
            <a:spLocks/>
          </p:cNvSpPr>
          <p:nvPr/>
        </p:nvSpPr>
        <p:spPr bwMode="gray">
          <a:xfrm>
            <a:off x="1256929" y="1886414"/>
            <a:ext cx="4437030" cy="723275"/>
          </a:xfrm>
          <a:prstGeom prst="rect">
            <a:avLst/>
          </a:prstGeom>
        </p:spPr>
        <p:txBody>
          <a:bodyPr wrap="square" lIns="0" tIns="0" rIns="0" bIns="0" anchor="t">
            <a:spAutoFit/>
          </a:bodyPr>
          <a:lstStyle/>
          <a:p>
            <a:r>
              <a:rPr lang="en-GB" sz="1400" b="1" kern="0">
                <a:latin typeface="MMC Display Condensed"/>
                <a:cs typeface="Calibri" panose="020F0502020204030204" pitchFamily="34" charset="0"/>
              </a:rPr>
              <a:t>Geopolitical tension in Asia</a:t>
            </a:r>
            <a:endParaRPr kumimoji="0" lang="en-GB" sz="1400" b="1" i="0" u="none" strike="noStrike" kern="0" cap="none" spc="0" normalizeH="0" baseline="0" noProof="0">
              <a:ln>
                <a:noFill/>
              </a:ln>
              <a:effectLst/>
              <a:uLnTx/>
              <a:uFillTx/>
              <a:latin typeface="MMC Display Condensed"/>
              <a:cs typeface="Calibri" panose="020F0502020204030204" pitchFamily="34" charset="0"/>
            </a:endParaRPr>
          </a:p>
          <a:p>
            <a:r>
              <a:rPr lang="en-GB" sz="1100">
                <a:solidFill>
                  <a:schemeClr val="tx1"/>
                </a:solidFill>
              </a:rPr>
              <a:t>International conflicts and political instability (e.g., China-Taiwan or South China Sea) putting at risk Nexans’ operations and hindering long-term planning</a:t>
            </a:r>
          </a:p>
        </p:txBody>
      </p:sp>
      <p:sp>
        <p:nvSpPr>
          <p:cNvPr id="23" name="Text">
            <a:extLst>
              <a:ext uri="{FF2B5EF4-FFF2-40B4-BE49-F238E27FC236}">
                <a16:creationId xmlns:a16="http://schemas.microsoft.com/office/drawing/2014/main" id="{0FE4C577-6D8D-1441-2D9E-906A40009A41}"/>
              </a:ext>
            </a:extLst>
          </p:cNvPr>
          <p:cNvSpPr txBox="1">
            <a:spLocks/>
          </p:cNvSpPr>
          <p:nvPr/>
        </p:nvSpPr>
        <p:spPr bwMode="gray">
          <a:xfrm>
            <a:off x="1256929" y="2835367"/>
            <a:ext cx="4437030" cy="761747"/>
          </a:xfrm>
          <a:prstGeom prst="rect">
            <a:avLst/>
          </a:prstGeom>
        </p:spPr>
        <p:txBody>
          <a:bodyPr wrap="square" lIns="0" tIns="0" rIns="0" bIns="0" anchor="t">
            <a:spAutoFit/>
          </a:bodyPr>
          <a:lstStyle/>
          <a:p>
            <a:pPr>
              <a:spcAft>
                <a:spcPts val="300"/>
              </a:spcAft>
            </a:pPr>
            <a:r>
              <a:rPr lang="en-GB" sz="1400" b="1">
                <a:latin typeface="+mj-lt"/>
                <a:ea typeface="+mj-ea"/>
                <a:cs typeface="+mj-cs"/>
              </a:rPr>
              <a:t>Natural hazards</a:t>
            </a:r>
          </a:p>
          <a:p>
            <a:pPr>
              <a:spcAft>
                <a:spcPts val="300"/>
              </a:spcAft>
            </a:pPr>
            <a:r>
              <a:rPr lang="en-GB" sz="1100"/>
              <a:t>Effects of increasingly frequent typhoons in SE Asia, wildfires in Australia, floods in New Zealand, its supply chain, and demand profiles (e.g., damaged cables to be replaced)</a:t>
            </a:r>
          </a:p>
        </p:txBody>
      </p:sp>
      <p:sp>
        <p:nvSpPr>
          <p:cNvPr id="24" name="Text">
            <a:extLst>
              <a:ext uri="{FF2B5EF4-FFF2-40B4-BE49-F238E27FC236}">
                <a16:creationId xmlns:a16="http://schemas.microsoft.com/office/drawing/2014/main" id="{09959738-B125-6059-C249-2EE19BB4DB94}"/>
              </a:ext>
            </a:extLst>
          </p:cNvPr>
          <p:cNvSpPr txBox="1">
            <a:spLocks/>
          </p:cNvSpPr>
          <p:nvPr/>
        </p:nvSpPr>
        <p:spPr bwMode="gray">
          <a:xfrm>
            <a:off x="1256929" y="4007458"/>
            <a:ext cx="4437030" cy="592470"/>
          </a:xfrm>
          <a:prstGeom prst="rect">
            <a:avLst/>
          </a:prstGeom>
        </p:spPr>
        <p:txBody>
          <a:bodyPr wrap="square" lIns="0" tIns="0" rIns="0" bIns="0" anchor="t">
            <a:spAutoFit/>
          </a:bodyPr>
          <a:lstStyle/>
          <a:p>
            <a:pPr>
              <a:spcAft>
                <a:spcPts val="300"/>
              </a:spcAft>
            </a:pPr>
            <a:r>
              <a:rPr lang="en-GB" sz="1400" b="1">
                <a:latin typeface="+mj-lt"/>
                <a:ea typeface="+mj-ea"/>
                <a:cs typeface="+mj-cs"/>
              </a:rPr>
              <a:t>Compliance</a:t>
            </a:r>
          </a:p>
          <a:p>
            <a:pPr>
              <a:spcAft>
                <a:spcPts val="300"/>
              </a:spcAft>
            </a:pPr>
            <a:r>
              <a:rPr lang="en-GB" sz="1100"/>
              <a:t>e.g., adverse competitive position in China compared to local competitors, and other situations below Nexans’ ethics level</a:t>
            </a:r>
          </a:p>
        </p:txBody>
      </p:sp>
      <p:pic>
        <p:nvPicPr>
          <p:cNvPr id="25" name="ico-cloud-light">
            <a:extLst>
              <a:ext uri="{FF2B5EF4-FFF2-40B4-BE49-F238E27FC236}">
                <a16:creationId xmlns:a16="http://schemas.microsoft.com/office/drawing/2014/main" id="{AE73CC86-BEA1-108F-63F8-9A8A3414529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8867" y="3038484"/>
            <a:ext cx="348437" cy="348437"/>
          </a:xfrm>
          <a:prstGeom prst="rect">
            <a:avLst/>
          </a:prstGeom>
        </p:spPr>
      </p:pic>
      <p:pic>
        <p:nvPicPr>
          <p:cNvPr id="26" name="ico-globe">
            <a:extLst>
              <a:ext uri="{FF2B5EF4-FFF2-40B4-BE49-F238E27FC236}">
                <a16:creationId xmlns:a16="http://schemas.microsoft.com/office/drawing/2014/main" id="{16583AB0-E8E4-B094-6D98-88CD1ACE4CB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98867" y="2035361"/>
            <a:ext cx="348437" cy="348437"/>
          </a:xfrm>
          <a:prstGeom prst="rect">
            <a:avLst/>
          </a:prstGeom>
        </p:spPr>
      </p:pic>
      <p:pic>
        <p:nvPicPr>
          <p:cNvPr id="27" name="ico-grammar-check">
            <a:extLst>
              <a:ext uri="{FF2B5EF4-FFF2-40B4-BE49-F238E27FC236}">
                <a16:creationId xmlns:a16="http://schemas.microsoft.com/office/drawing/2014/main" id="{D9665F28-E7E1-805B-0F4F-005B4379BBF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98867" y="4041608"/>
            <a:ext cx="286575" cy="286575"/>
          </a:xfrm>
          <a:prstGeom prst="rect">
            <a:avLst/>
          </a:prstGeom>
        </p:spPr>
      </p:pic>
      <p:sp>
        <p:nvSpPr>
          <p:cNvPr id="28" name="Rectangle 27">
            <a:extLst>
              <a:ext uri="{FF2B5EF4-FFF2-40B4-BE49-F238E27FC236}">
                <a16:creationId xmlns:a16="http://schemas.microsoft.com/office/drawing/2014/main" id="{698E1EE0-5EEC-C74B-1AAD-A1ECAFF65EB9}"/>
              </a:ext>
            </a:extLst>
          </p:cNvPr>
          <p:cNvSpPr/>
          <p:nvPr/>
        </p:nvSpPr>
        <p:spPr>
          <a:xfrm>
            <a:off x="6154010" y="1397000"/>
            <a:ext cx="5572197" cy="3574650"/>
          </a:xfrm>
          <a:prstGeom prst="rect">
            <a:avLst/>
          </a:prstGeom>
          <a:solidFill>
            <a:srgbClr val="CAE9D3">
              <a:alpha val="50196"/>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rPr>
              <a:t>Amplified Volatility</a:t>
            </a:r>
          </a:p>
        </p:txBody>
      </p:sp>
      <p:pic>
        <p:nvPicPr>
          <p:cNvPr id="29" name="ico-trend-down">
            <a:extLst>
              <a:ext uri="{FF2B5EF4-FFF2-40B4-BE49-F238E27FC236}">
                <a16:creationId xmlns:a16="http://schemas.microsoft.com/office/drawing/2014/main" id="{006192A3-EF1E-894D-BE04-C69D503F258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411846" y="2757264"/>
            <a:ext cx="348437" cy="348437"/>
          </a:xfrm>
          <a:prstGeom prst="rect">
            <a:avLst/>
          </a:prstGeom>
        </p:spPr>
      </p:pic>
      <p:pic>
        <p:nvPicPr>
          <p:cNvPr id="30" name="ico-line-chart">
            <a:extLst>
              <a:ext uri="{FF2B5EF4-FFF2-40B4-BE49-F238E27FC236}">
                <a16:creationId xmlns:a16="http://schemas.microsoft.com/office/drawing/2014/main" id="{03C8FB16-435E-64AF-24B7-DB329EDD863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411846" y="1864500"/>
            <a:ext cx="348437" cy="348437"/>
          </a:xfrm>
          <a:prstGeom prst="rect">
            <a:avLst/>
          </a:prstGeom>
        </p:spPr>
      </p:pic>
      <p:pic>
        <p:nvPicPr>
          <p:cNvPr id="31" name="ico-hat-3">
            <a:extLst>
              <a:ext uri="{FF2B5EF4-FFF2-40B4-BE49-F238E27FC236}">
                <a16:creationId xmlns:a16="http://schemas.microsoft.com/office/drawing/2014/main" id="{BCFEC657-0090-3C82-76CD-07B7C01CD5CB}"/>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411846" y="3559617"/>
            <a:ext cx="348437" cy="348437"/>
          </a:xfrm>
          <a:prstGeom prst="rect">
            <a:avLst/>
          </a:prstGeom>
        </p:spPr>
      </p:pic>
      <p:sp>
        <p:nvSpPr>
          <p:cNvPr id="32" name="Text">
            <a:extLst>
              <a:ext uri="{FF2B5EF4-FFF2-40B4-BE49-F238E27FC236}">
                <a16:creationId xmlns:a16="http://schemas.microsoft.com/office/drawing/2014/main" id="{2CEAAFFC-5611-CB9E-2EAA-E1C690A0FED1}"/>
              </a:ext>
            </a:extLst>
          </p:cNvPr>
          <p:cNvSpPr txBox="1">
            <a:spLocks/>
          </p:cNvSpPr>
          <p:nvPr/>
        </p:nvSpPr>
        <p:spPr bwMode="gray">
          <a:xfrm>
            <a:off x="6953472" y="1766255"/>
            <a:ext cx="4437030" cy="761747"/>
          </a:xfrm>
          <a:prstGeom prst="rect">
            <a:avLst/>
          </a:prstGeom>
        </p:spPr>
        <p:txBody>
          <a:bodyPr wrap="square" lIns="0" tIns="0" rIns="0" bIns="0" anchor="t">
            <a:spAutoFit/>
          </a:bodyPr>
          <a:lstStyle/>
          <a:p>
            <a:pPr>
              <a:spcAft>
                <a:spcPts val="300"/>
              </a:spcAft>
            </a:pPr>
            <a:r>
              <a:rPr lang="en-GB" sz="1400" b="1">
                <a:latin typeface="+mj-lt"/>
                <a:ea typeface="+mj-ea"/>
                <a:cs typeface="+mj-cs"/>
              </a:rPr>
              <a:t>Volatile inflation</a:t>
            </a:r>
          </a:p>
          <a:p>
            <a:pPr>
              <a:spcAft>
                <a:spcPts val="300"/>
              </a:spcAft>
            </a:pPr>
            <a:r>
              <a:rPr lang="en-GB" sz="1100"/>
              <a:t>Unpredictable inflation levels in China, SE Asia and Oceania (e.g., peaking in Dec. 2022 and back to historical level in July 2023), with local differences impacting export competitiveness</a:t>
            </a:r>
          </a:p>
        </p:txBody>
      </p:sp>
      <p:sp>
        <p:nvSpPr>
          <p:cNvPr id="33" name="Text">
            <a:extLst>
              <a:ext uri="{FF2B5EF4-FFF2-40B4-BE49-F238E27FC236}">
                <a16:creationId xmlns:a16="http://schemas.microsoft.com/office/drawing/2014/main" id="{C0A7CC86-883E-9DAE-9DB6-47EE0520D8B2}"/>
              </a:ext>
            </a:extLst>
          </p:cNvPr>
          <p:cNvSpPr txBox="1">
            <a:spLocks/>
          </p:cNvSpPr>
          <p:nvPr/>
        </p:nvSpPr>
        <p:spPr bwMode="gray">
          <a:xfrm>
            <a:off x="6953472" y="2711459"/>
            <a:ext cx="4437030" cy="592470"/>
          </a:xfrm>
          <a:prstGeom prst="rect">
            <a:avLst/>
          </a:prstGeom>
        </p:spPr>
        <p:txBody>
          <a:bodyPr wrap="square" lIns="0" tIns="0" rIns="0" bIns="0" anchor="t">
            <a:spAutoFit/>
          </a:bodyPr>
          <a:lstStyle/>
          <a:p>
            <a:pPr>
              <a:spcAft>
                <a:spcPts val="300"/>
              </a:spcAft>
            </a:pPr>
            <a:r>
              <a:rPr lang="en-GB" sz="1400" b="1">
                <a:latin typeface="+mj-lt"/>
                <a:ea typeface="+mj-ea"/>
                <a:cs typeface="+mj-cs"/>
              </a:rPr>
              <a:t>Economic or financial crisis</a:t>
            </a:r>
          </a:p>
          <a:p>
            <a:pPr>
              <a:spcAft>
                <a:spcPts val="300"/>
              </a:spcAft>
            </a:pPr>
            <a:r>
              <a:rPr lang="en-GB" sz="1100"/>
              <a:t>Signs pointing towards recession, stagflation, bursting of sovereign debt bubbles, real estate crash, etc., either in single markets or globally.</a:t>
            </a:r>
          </a:p>
        </p:txBody>
      </p:sp>
      <p:sp>
        <p:nvSpPr>
          <p:cNvPr id="34" name="Text">
            <a:extLst>
              <a:ext uri="{FF2B5EF4-FFF2-40B4-BE49-F238E27FC236}">
                <a16:creationId xmlns:a16="http://schemas.microsoft.com/office/drawing/2014/main" id="{3FA78379-F9DB-A19A-681B-F07AF8B5FDE5}"/>
              </a:ext>
            </a:extLst>
          </p:cNvPr>
          <p:cNvSpPr txBox="1">
            <a:spLocks/>
          </p:cNvSpPr>
          <p:nvPr/>
        </p:nvSpPr>
        <p:spPr bwMode="gray">
          <a:xfrm>
            <a:off x="6953472" y="3487386"/>
            <a:ext cx="4437030" cy="592470"/>
          </a:xfrm>
          <a:prstGeom prst="rect">
            <a:avLst/>
          </a:prstGeom>
        </p:spPr>
        <p:txBody>
          <a:bodyPr wrap="square" lIns="0" tIns="0" rIns="0" bIns="0" anchor="t">
            <a:spAutoFit/>
          </a:bodyPr>
          <a:lstStyle/>
          <a:p>
            <a:pPr>
              <a:spcAft>
                <a:spcPts val="300"/>
              </a:spcAft>
            </a:pPr>
            <a:r>
              <a:rPr lang="en-GB" sz="1400" b="1">
                <a:latin typeface="+mj-lt"/>
                <a:ea typeface="+mj-ea"/>
                <a:cs typeface="+mj-cs"/>
              </a:rPr>
              <a:t>War for talent</a:t>
            </a:r>
          </a:p>
          <a:p>
            <a:pPr>
              <a:spcAft>
                <a:spcPts val="300"/>
              </a:spcAft>
            </a:pPr>
            <a:r>
              <a:rPr lang="en-GB" sz="1100"/>
              <a:t>Employment tension exacerbated by demographic trends (e.g., China) &amp; loss of attractiveness of industrial companies (esp. in transitioning countries)</a:t>
            </a:r>
          </a:p>
        </p:txBody>
      </p:sp>
      <p:sp>
        <p:nvSpPr>
          <p:cNvPr id="2" name="Rectangle 1">
            <a:extLst>
              <a:ext uri="{FF2B5EF4-FFF2-40B4-BE49-F238E27FC236}">
                <a16:creationId xmlns:a16="http://schemas.microsoft.com/office/drawing/2014/main" id="{CAAF2709-4B7F-866A-0AEF-978E51FB5922}"/>
              </a:ext>
            </a:extLst>
          </p:cNvPr>
          <p:cNvSpPr/>
          <p:nvPr/>
        </p:nvSpPr>
        <p:spPr>
          <a:xfrm>
            <a:off x="457200" y="5010272"/>
            <a:ext cx="11267392" cy="1399093"/>
          </a:xfrm>
          <a:prstGeom prst="rect">
            <a:avLst/>
          </a:prstGeom>
          <a:solidFill>
            <a:srgbClr val="C6EEFF">
              <a:alpha val="50196"/>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rPr>
              <a:t>Evolving Cable Industry</a:t>
            </a:r>
          </a:p>
        </p:txBody>
      </p:sp>
      <p:sp>
        <p:nvSpPr>
          <p:cNvPr id="10" name="Text">
            <a:extLst>
              <a:ext uri="{FF2B5EF4-FFF2-40B4-BE49-F238E27FC236}">
                <a16:creationId xmlns:a16="http://schemas.microsoft.com/office/drawing/2014/main" id="{D221CF52-1D4E-1E85-49E7-EE6AA9B8C8F6}"/>
              </a:ext>
            </a:extLst>
          </p:cNvPr>
          <p:cNvSpPr txBox="1">
            <a:spLocks/>
          </p:cNvSpPr>
          <p:nvPr/>
        </p:nvSpPr>
        <p:spPr bwMode="gray">
          <a:xfrm>
            <a:off x="4070404" y="5428028"/>
            <a:ext cx="1941272" cy="892552"/>
          </a:xfrm>
          <a:prstGeom prst="rect">
            <a:avLst/>
          </a:prstGeom>
        </p:spPr>
        <p:txBody>
          <a:bodyPr vert="horz" wrap="square" lIns="0" tIns="0" rIns="0" bIns="0" anchor="t">
            <a:spAutoFit/>
          </a:bodyPr>
          <a:lstStyle/>
          <a:p>
            <a:r>
              <a:rPr lang="en-GB" sz="1400" b="1" kern="0">
                <a:latin typeface="MMC Display Condensed"/>
                <a:cs typeface="Calibri" panose="020F0502020204030204" pitchFamily="34" charset="0"/>
              </a:rPr>
              <a:t>resource crisis</a:t>
            </a:r>
          </a:p>
          <a:p>
            <a:pPr>
              <a:spcAft>
                <a:spcPts val="300"/>
              </a:spcAft>
            </a:pPr>
            <a:r>
              <a:rPr lang="en-GB" sz="1100"/>
              <a:t>Tension on material prices, driven by a hypercycle of DSO demand, energy prices and limits on recycling capacity</a:t>
            </a:r>
          </a:p>
        </p:txBody>
      </p:sp>
      <p:sp>
        <p:nvSpPr>
          <p:cNvPr id="11" name="Text">
            <a:extLst>
              <a:ext uri="{FF2B5EF4-FFF2-40B4-BE49-F238E27FC236}">
                <a16:creationId xmlns:a16="http://schemas.microsoft.com/office/drawing/2014/main" id="{0D98ED6C-7DD9-7457-8BA5-04485E00DCE4}"/>
              </a:ext>
            </a:extLst>
          </p:cNvPr>
          <p:cNvSpPr txBox="1">
            <a:spLocks/>
          </p:cNvSpPr>
          <p:nvPr/>
        </p:nvSpPr>
        <p:spPr bwMode="gray">
          <a:xfrm>
            <a:off x="6869694" y="5428028"/>
            <a:ext cx="1941272" cy="984885"/>
          </a:xfrm>
          <a:prstGeom prst="rect">
            <a:avLst/>
          </a:prstGeom>
        </p:spPr>
        <p:txBody>
          <a:bodyPr wrap="square" lIns="0" tIns="0" rIns="0" bIns="0" anchor="t">
            <a:spAutoFit/>
          </a:bodyPr>
          <a:lstStyle/>
          <a:p>
            <a:pPr>
              <a:spcAft>
                <a:spcPts val="300"/>
              </a:spcAft>
            </a:pPr>
            <a:r>
              <a:rPr lang="en-GB" sz="1400" b="1">
                <a:latin typeface="+mj-lt"/>
                <a:ea typeface="+mj-ea"/>
                <a:cs typeface="+mj-cs"/>
              </a:rPr>
              <a:t>Commoditization</a:t>
            </a:r>
          </a:p>
          <a:p>
            <a:pPr>
              <a:spcAft>
                <a:spcPts val="300"/>
              </a:spcAft>
            </a:pPr>
            <a:r>
              <a:rPr lang="en-GB" sz="1100"/>
              <a:t>Rising threat from competition on legacy products, which have become commodities</a:t>
            </a:r>
          </a:p>
          <a:p>
            <a:pPr>
              <a:spcAft>
                <a:spcPts val="300"/>
              </a:spcAft>
            </a:pPr>
            <a:endParaRPr lang="en-GB" sz="1200"/>
          </a:p>
        </p:txBody>
      </p:sp>
      <p:pic>
        <p:nvPicPr>
          <p:cNvPr id="13" name="ico-coal">
            <a:extLst>
              <a:ext uri="{FF2B5EF4-FFF2-40B4-BE49-F238E27FC236}">
                <a16:creationId xmlns:a16="http://schemas.microsoft.com/office/drawing/2014/main" id="{BE924CAF-1682-49C1-46D5-82FA962568AD}"/>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572247" y="5619922"/>
            <a:ext cx="348437" cy="348437"/>
          </a:xfrm>
          <a:prstGeom prst="rect">
            <a:avLst/>
          </a:prstGeom>
        </p:spPr>
      </p:pic>
      <p:pic>
        <p:nvPicPr>
          <p:cNvPr id="16" name="ico-stack">
            <a:extLst>
              <a:ext uri="{FF2B5EF4-FFF2-40B4-BE49-F238E27FC236}">
                <a16:creationId xmlns:a16="http://schemas.microsoft.com/office/drawing/2014/main" id="{4EA208AA-15EF-5949-E023-FFD6309B2AE9}"/>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355427" y="5654405"/>
            <a:ext cx="348437" cy="348437"/>
          </a:xfrm>
          <a:prstGeom prst="rect">
            <a:avLst/>
          </a:prstGeom>
        </p:spPr>
      </p:pic>
      <p:sp>
        <p:nvSpPr>
          <p:cNvPr id="18" name="Text">
            <a:extLst>
              <a:ext uri="{FF2B5EF4-FFF2-40B4-BE49-F238E27FC236}">
                <a16:creationId xmlns:a16="http://schemas.microsoft.com/office/drawing/2014/main" id="{7708F8E2-E377-63EE-8738-BF9A5E6AF9E6}"/>
              </a:ext>
            </a:extLst>
          </p:cNvPr>
          <p:cNvSpPr txBox="1">
            <a:spLocks/>
          </p:cNvSpPr>
          <p:nvPr/>
        </p:nvSpPr>
        <p:spPr bwMode="gray">
          <a:xfrm>
            <a:off x="9668985" y="5428028"/>
            <a:ext cx="1941272" cy="892552"/>
          </a:xfrm>
          <a:prstGeom prst="rect">
            <a:avLst/>
          </a:prstGeom>
        </p:spPr>
        <p:txBody>
          <a:bodyPr vert="horz" wrap="square" lIns="0" tIns="0" rIns="0" bIns="0" anchor="t">
            <a:spAutoFit/>
          </a:bodyPr>
          <a:lstStyle/>
          <a:p>
            <a:r>
              <a:rPr lang="en-GB" sz="1400" b="1" kern="0">
                <a:latin typeface="MMC Display Condensed"/>
                <a:cs typeface="Calibri" panose="020F0502020204030204" pitchFamily="34" charset="0"/>
              </a:rPr>
              <a:t>Strategic consolidation</a:t>
            </a:r>
          </a:p>
          <a:p>
            <a:pPr>
              <a:spcAft>
                <a:spcPts val="300"/>
              </a:spcAft>
            </a:pPr>
            <a:r>
              <a:rPr lang="en-GB" sz="1100"/>
              <a:t>Conjunctural &amp; localized events will create M&amp;A / partnership opportunities, especially in SE Asia</a:t>
            </a:r>
          </a:p>
        </p:txBody>
      </p:sp>
      <p:pic>
        <p:nvPicPr>
          <p:cNvPr id="19" name="ico-group">
            <a:extLst>
              <a:ext uri="{FF2B5EF4-FFF2-40B4-BE49-F238E27FC236}">
                <a16:creationId xmlns:a16="http://schemas.microsoft.com/office/drawing/2014/main" id="{1906F625-614E-1376-13EF-F2FFC02A5D5D}"/>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9195313" y="5639158"/>
            <a:ext cx="348437" cy="348437"/>
          </a:xfrm>
          <a:prstGeom prst="rect">
            <a:avLst/>
          </a:prstGeom>
        </p:spPr>
      </p:pic>
      <p:sp>
        <p:nvSpPr>
          <p:cNvPr id="20" name="Text">
            <a:extLst>
              <a:ext uri="{FF2B5EF4-FFF2-40B4-BE49-F238E27FC236}">
                <a16:creationId xmlns:a16="http://schemas.microsoft.com/office/drawing/2014/main" id="{F262AE07-4610-EF64-D9E1-CCFAD5A90E24}"/>
              </a:ext>
            </a:extLst>
          </p:cNvPr>
          <p:cNvSpPr txBox="1">
            <a:spLocks/>
          </p:cNvSpPr>
          <p:nvPr/>
        </p:nvSpPr>
        <p:spPr bwMode="gray">
          <a:xfrm>
            <a:off x="1271114" y="5428028"/>
            <a:ext cx="1941272" cy="892552"/>
          </a:xfrm>
          <a:prstGeom prst="rect">
            <a:avLst/>
          </a:prstGeom>
        </p:spPr>
        <p:txBody>
          <a:bodyPr vert="horz" wrap="square" lIns="0" tIns="0" rIns="0" bIns="0" anchor="t">
            <a:spAutoFit/>
          </a:bodyPr>
          <a:lstStyle/>
          <a:p>
            <a:r>
              <a:rPr lang="en-GB" sz="1400" b="1" kern="0">
                <a:latin typeface="MMC Display Condensed"/>
                <a:cs typeface="Calibri" panose="020F0502020204030204" pitchFamily="34" charset="0"/>
              </a:rPr>
              <a:t>Grid dynamics</a:t>
            </a:r>
          </a:p>
          <a:p>
            <a:pPr>
              <a:spcAft>
                <a:spcPts val="300"/>
              </a:spcAft>
            </a:pPr>
            <a:r>
              <a:rPr lang="en-GB" sz="1100"/>
              <a:t>Large demand in grid expansion, focused on RE in ANZ, but with limited government financing in China</a:t>
            </a:r>
          </a:p>
        </p:txBody>
      </p:sp>
      <p:pic>
        <p:nvPicPr>
          <p:cNvPr id="36" name="ico-energy-tower">
            <a:extLst>
              <a:ext uri="{FF2B5EF4-FFF2-40B4-BE49-F238E27FC236}">
                <a16:creationId xmlns:a16="http://schemas.microsoft.com/office/drawing/2014/main" id="{DEF18857-7F2C-41D6-373C-56AB3FF350CD}"/>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89067" y="5619922"/>
            <a:ext cx="348437" cy="348437"/>
          </a:xfrm>
          <a:prstGeom prst="rect">
            <a:avLst/>
          </a:prstGeom>
        </p:spPr>
      </p:pic>
      <p:pic>
        <p:nvPicPr>
          <p:cNvPr id="41" name="ico-cyber">
            <a:extLst>
              <a:ext uri="{FF2B5EF4-FFF2-40B4-BE49-F238E27FC236}">
                <a16:creationId xmlns:a16="http://schemas.microsoft.com/office/drawing/2014/main" id="{F1E2CD07-4B36-411D-79DE-4722A33E884F}"/>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6411846" y="4361970"/>
            <a:ext cx="348437" cy="348437"/>
          </a:xfrm>
          <a:prstGeom prst="rect">
            <a:avLst/>
          </a:prstGeom>
        </p:spPr>
      </p:pic>
      <p:sp>
        <p:nvSpPr>
          <p:cNvPr id="40" name="Text">
            <a:extLst>
              <a:ext uri="{FF2B5EF4-FFF2-40B4-BE49-F238E27FC236}">
                <a16:creationId xmlns:a16="http://schemas.microsoft.com/office/drawing/2014/main" id="{9F016DA6-C43A-685A-DF7F-7CEEEA23D984}"/>
              </a:ext>
            </a:extLst>
          </p:cNvPr>
          <p:cNvSpPr txBox="1">
            <a:spLocks/>
          </p:cNvSpPr>
          <p:nvPr/>
        </p:nvSpPr>
        <p:spPr bwMode="gray">
          <a:xfrm>
            <a:off x="6953472" y="4263313"/>
            <a:ext cx="4437030" cy="592470"/>
          </a:xfrm>
          <a:prstGeom prst="rect">
            <a:avLst/>
          </a:prstGeom>
        </p:spPr>
        <p:txBody>
          <a:bodyPr wrap="square" lIns="0" tIns="0" rIns="0" bIns="0" anchor="t">
            <a:spAutoFit/>
          </a:bodyPr>
          <a:lstStyle/>
          <a:p>
            <a:pPr>
              <a:spcAft>
                <a:spcPts val="300"/>
              </a:spcAft>
            </a:pPr>
            <a:r>
              <a:rPr lang="en-GB" sz="1400" b="1">
                <a:latin typeface="+mj-lt"/>
                <a:ea typeface="+mj-ea"/>
                <a:cs typeface="+mj-cs"/>
              </a:rPr>
              <a:t>Cyber, AI &amp; automation</a:t>
            </a:r>
          </a:p>
          <a:p>
            <a:pPr>
              <a:spcAft>
                <a:spcPts val="300"/>
              </a:spcAft>
            </a:pPr>
            <a:r>
              <a:rPr lang="en-GB" sz="1100"/>
              <a:t>Increasing cyber threats on plant operations &amp; information, opportunities linked to AI and race to robotization </a:t>
            </a:r>
          </a:p>
        </p:txBody>
      </p:sp>
    </p:spTree>
    <p:extLst>
      <p:ext uri="{BB962C8B-B14F-4D97-AF65-F5344CB8AC3E}">
        <p14:creationId xmlns:p14="http://schemas.microsoft.com/office/powerpoint/2010/main" val="15438080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46CCEF0-A968-A376-AAF0-EB415FAF50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846CCEF0-A968-A376-AAF0-EB415FAF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itle 59">
            <a:extLst>
              <a:ext uri="{FF2B5EF4-FFF2-40B4-BE49-F238E27FC236}">
                <a16:creationId xmlns:a16="http://schemas.microsoft.com/office/drawing/2014/main" id="{F42292D1-D543-2533-9455-D539268E4FF1}"/>
              </a:ext>
            </a:extLst>
          </p:cNvPr>
          <p:cNvSpPr>
            <a:spLocks noGrp="1"/>
          </p:cNvSpPr>
          <p:nvPr>
            <p:ph type="title"/>
          </p:nvPr>
        </p:nvSpPr>
        <p:spPr/>
        <p:txBody>
          <a:bodyPr vert="horz"/>
          <a:lstStyle/>
          <a:p>
            <a:r>
              <a:rPr lang="en-GB"/>
              <a:t>Nexans’ D&amp;U business is particularly exposed to 11 major risks &amp; opportunities, most of which are symptoms of a world in permacrisis</a:t>
            </a:r>
          </a:p>
        </p:txBody>
      </p:sp>
      <p:sp>
        <p:nvSpPr>
          <p:cNvPr id="21" name="Rectangle 20">
            <a:extLst>
              <a:ext uri="{FF2B5EF4-FFF2-40B4-BE49-F238E27FC236}">
                <a16:creationId xmlns:a16="http://schemas.microsoft.com/office/drawing/2014/main" id="{1BF5B6EF-DA49-CE55-7A3D-DC786640CC7F}"/>
              </a:ext>
            </a:extLst>
          </p:cNvPr>
          <p:cNvSpPr/>
          <p:nvPr/>
        </p:nvSpPr>
        <p:spPr>
          <a:xfrm>
            <a:off x="457200" y="1397000"/>
            <a:ext cx="5572197" cy="3574650"/>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rPr>
              <a:t>New World Order</a:t>
            </a:r>
          </a:p>
        </p:txBody>
      </p:sp>
      <p:sp>
        <p:nvSpPr>
          <p:cNvPr id="22" name="Text">
            <a:extLst>
              <a:ext uri="{FF2B5EF4-FFF2-40B4-BE49-F238E27FC236}">
                <a16:creationId xmlns:a16="http://schemas.microsoft.com/office/drawing/2014/main" id="{1D8A51A2-7EF8-86FC-88B2-C594685DFB57}"/>
              </a:ext>
            </a:extLst>
          </p:cNvPr>
          <p:cNvSpPr txBox="1">
            <a:spLocks/>
          </p:cNvSpPr>
          <p:nvPr/>
        </p:nvSpPr>
        <p:spPr bwMode="gray">
          <a:xfrm>
            <a:off x="1256929" y="1886414"/>
            <a:ext cx="4437030" cy="723275"/>
          </a:xfrm>
          <a:prstGeom prst="rect">
            <a:avLst/>
          </a:prstGeom>
        </p:spPr>
        <p:txBody>
          <a:bodyPr wrap="square" lIns="0" tIns="0" rIns="0" bIns="0" anchor="t">
            <a:spAutoFit/>
          </a:bodyPr>
          <a:lstStyle/>
          <a:p>
            <a:r>
              <a:rPr lang="en-GB" sz="1400" b="1" kern="0">
                <a:latin typeface="MMC Display Condensed"/>
                <a:cs typeface="Calibri" panose="020F0502020204030204" pitchFamily="34" charset="0"/>
              </a:rPr>
              <a:t>Geopolitical tension in Asia</a:t>
            </a:r>
            <a:endParaRPr kumimoji="0" lang="en-GB" sz="1400" b="1" i="0" u="none" strike="noStrike" kern="0" cap="none" spc="0" normalizeH="0" baseline="0" noProof="0">
              <a:ln>
                <a:noFill/>
              </a:ln>
              <a:effectLst/>
              <a:uLnTx/>
              <a:uFillTx/>
              <a:latin typeface="MMC Display Condensed"/>
              <a:cs typeface="Calibri" panose="020F0502020204030204" pitchFamily="34" charset="0"/>
            </a:endParaRPr>
          </a:p>
          <a:p>
            <a:r>
              <a:rPr lang="en-GB" sz="1100">
                <a:solidFill>
                  <a:schemeClr val="tx1"/>
                </a:solidFill>
              </a:rPr>
              <a:t>International conflicts and political instability (e.g., China-Taiwan or South China Sea) putting at risk Nexans’ operations and hindering long-term planning</a:t>
            </a:r>
          </a:p>
        </p:txBody>
      </p:sp>
      <p:sp>
        <p:nvSpPr>
          <p:cNvPr id="23" name="Text">
            <a:extLst>
              <a:ext uri="{FF2B5EF4-FFF2-40B4-BE49-F238E27FC236}">
                <a16:creationId xmlns:a16="http://schemas.microsoft.com/office/drawing/2014/main" id="{0FE4C577-6D8D-1441-2D9E-906A40009A41}"/>
              </a:ext>
            </a:extLst>
          </p:cNvPr>
          <p:cNvSpPr txBox="1">
            <a:spLocks/>
          </p:cNvSpPr>
          <p:nvPr/>
        </p:nvSpPr>
        <p:spPr bwMode="gray">
          <a:xfrm>
            <a:off x="1256929" y="2835367"/>
            <a:ext cx="4437030" cy="761747"/>
          </a:xfrm>
          <a:prstGeom prst="rect">
            <a:avLst/>
          </a:prstGeom>
        </p:spPr>
        <p:txBody>
          <a:bodyPr wrap="square" lIns="0" tIns="0" rIns="0" bIns="0" anchor="t">
            <a:spAutoFit/>
          </a:bodyPr>
          <a:lstStyle/>
          <a:p>
            <a:pPr>
              <a:spcAft>
                <a:spcPts val="300"/>
              </a:spcAft>
            </a:pPr>
            <a:r>
              <a:rPr lang="en-GB" sz="1400" b="1">
                <a:latin typeface="+mj-lt"/>
                <a:ea typeface="+mj-ea"/>
                <a:cs typeface="+mj-cs"/>
              </a:rPr>
              <a:t>Natural hazards</a:t>
            </a:r>
          </a:p>
          <a:p>
            <a:pPr>
              <a:spcAft>
                <a:spcPts val="300"/>
              </a:spcAft>
            </a:pPr>
            <a:r>
              <a:rPr lang="en-GB" sz="1100"/>
              <a:t>Effects of increasingly frequent typhoons in SE Asia, wildfires in Australia, floods in New Zealand, its supply chain, and demand profiles (e.g., damaged cables to be replaced)</a:t>
            </a:r>
          </a:p>
        </p:txBody>
      </p:sp>
      <p:sp>
        <p:nvSpPr>
          <p:cNvPr id="24" name="Text">
            <a:extLst>
              <a:ext uri="{FF2B5EF4-FFF2-40B4-BE49-F238E27FC236}">
                <a16:creationId xmlns:a16="http://schemas.microsoft.com/office/drawing/2014/main" id="{09959738-B125-6059-C249-2EE19BB4DB94}"/>
              </a:ext>
            </a:extLst>
          </p:cNvPr>
          <p:cNvSpPr txBox="1">
            <a:spLocks/>
          </p:cNvSpPr>
          <p:nvPr/>
        </p:nvSpPr>
        <p:spPr bwMode="gray">
          <a:xfrm>
            <a:off x="1256929" y="4007458"/>
            <a:ext cx="4437030" cy="592470"/>
          </a:xfrm>
          <a:prstGeom prst="rect">
            <a:avLst/>
          </a:prstGeom>
        </p:spPr>
        <p:txBody>
          <a:bodyPr wrap="square" lIns="0" tIns="0" rIns="0" bIns="0" anchor="t">
            <a:spAutoFit/>
          </a:bodyPr>
          <a:lstStyle/>
          <a:p>
            <a:pPr>
              <a:spcAft>
                <a:spcPts val="300"/>
              </a:spcAft>
            </a:pPr>
            <a:r>
              <a:rPr lang="en-GB" sz="1400" b="1">
                <a:latin typeface="+mj-lt"/>
                <a:ea typeface="+mj-ea"/>
                <a:cs typeface="+mj-cs"/>
              </a:rPr>
              <a:t>Compliance</a:t>
            </a:r>
          </a:p>
          <a:p>
            <a:pPr>
              <a:spcAft>
                <a:spcPts val="300"/>
              </a:spcAft>
            </a:pPr>
            <a:r>
              <a:rPr lang="en-GB" sz="1100"/>
              <a:t>e.g., adverse competitive position in China compared to local competitors, and other situations below Nexans’ ethics level</a:t>
            </a:r>
          </a:p>
        </p:txBody>
      </p:sp>
      <p:pic>
        <p:nvPicPr>
          <p:cNvPr id="25" name="ico-cloud-light">
            <a:extLst>
              <a:ext uri="{FF2B5EF4-FFF2-40B4-BE49-F238E27FC236}">
                <a16:creationId xmlns:a16="http://schemas.microsoft.com/office/drawing/2014/main" id="{AE73CC86-BEA1-108F-63F8-9A8A3414529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8867" y="3038484"/>
            <a:ext cx="348437" cy="348437"/>
          </a:xfrm>
          <a:prstGeom prst="rect">
            <a:avLst/>
          </a:prstGeom>
        </p:spPr>
      </p:pic>
      <p:pic>
        <p:nvPicPr>
          <p:cNvPr id="26" name="ico-globe">
            <a:extLst>
              <a:ext uri="{FF2B5EF4-FFF2-40B4-BE49-F238E27FC236}">
                <a16:creationId xmlns:a16="http://schemas.microsoft.com/office/drawing/2014/main" id="{16583AB0-E8E4-B094-6D98-88CD1ACE4CB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98867" y="2035361"/>
            <a:ext cx="348437" cy="348437"/>
          </a:xfrm>
          <a:prstGeom prst="rect">
            <a:avLst/>
          </a:prstGeom>
        </p:spPr>
      </p:pic>
      <p:pic>
        <p:nvPicPr>
          <p:cNvPr id="27" name="ico-grammar-check">
            <a:extLst>
              <a:ext uri="{FF2B5EF4-FFF2-40B4-BE49-F238E27FC236}">
                <a16:creationId xmlns:a16="http://schemas.microsoft.com/office/drawing/2014/main" id="{D9665F28-E7E1-805B-0F4F-005B4379BBF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98867" y="4041608"/>
            <a:ext cx="286575" cy="286575"/>
          </a:xfrm>
          <a:prstGeom prst="rect">
            <a:avLst/>
          </a:prstGeom>
        </p:spPr>
      </p:pic>
      <p:sp>
        <p:nvSpPr>
          <p:cNvPr id="28" name="Rectangle 27">
            <a:extLst>
              <a:ext uri="{FF2B5EF4-FFF2-40B4-BE49-F238E27FC236}">
                <a16:creationId xmlns:a16="http://schemas.microsoft.com/office/drawing/2014/main" id="{698E1EE0-5EEC-C74B-1AAD-A1ECAFF65EB9}"/>
              </a:ext>
            </a:extLst>
          </p:cNvPr>
          <p:cNvSpPr/>
          <p:nvPr/>
        </p:nvSpPr>
        <p:spPr>
          <a:xfrm>
            <a:off x="6154010" y="1397000"/>
            <a:ext cx="5572197" cy="3574650"/>
          </a:xfrm>
          <a:prstGeom prst="rect">
            <a:avLst/>
          </a:prstGeom>
          <a:solidFill>
            <a:srgbClr val="CAE9D3">
              <a:alpha val="50196"/>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rPr>
              <a:t>Amplified Volatility</a:t>
            </a:r>
          </a:p>
        </p:txBody>
      </p:sp>
      <p:pic>
        <p:nvPicPr>
          <p:cNvPr id="29" name="ico-trend-down">
            <a:extLst>
              <a:ext uri="{FF2B5EF4-FFF2-40B4-BE49-F238E27FC236}">
                <a16:creationId xmlns:a16="http://schemas.microsoft.com/office/drawing/2014/main" id="{006192A3-EF1E-894D-BE04-C69D503F258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411846" y="2757264"/>
            <a:ext cx="348437" cy="348437"/>
          </a:xfrm>
          <a:prstGeom prst="rect">
            <a:avLst/>
          </a:prstGeom>
        </p:spPr>
      </p:pic>
      <p:pic>
        <p:nvPicPr>
          <p:cNvPr id="30" name="ico-line-chart">
            <a:extLst>
              <a:ext uri="{FF2B5EF4-FFF2-40B4-BE49-F238E27FC236}">
                <a16:creationId xmlns:a16="http://schemas.microsoft.com/office/drawing/2014/main" id="{03C8FB16-435E-64AF-24B7-DB329EDD863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411846" y="1864500"/>
            <a:ext cx="348437" cy="348437"/>
          </a:xfrm>
          <a:prstGeom prst="rect">
            <a:avLst/>
          </a:prstGeom>
        </p:spPr>
      </p:pic>
      <p:pic>
        <p:nvPicPr>
          <p:cNvPr id="31" name="ico-hat-3">
            <a:extLst>
              <a:ext uri="{FF2B5EF4-FFF2-40B4-BE49-F238E27FC236}">
                <a16:creationId xmlns:a16="http://schemas.microsoft.com/office/drawing/2014/main" id="{BCFEC657-0090-3C82-76CD-07B7C01CD5CB}"/>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411846" y="3559617"/>
            <a:ext cx="348437" cy="348437"/>
          </a:xfrm>
          <a:prstGeom prst="rect">
            <a:avLst/>
          </a:prstGeom>
        </p:spPr>
      </p:pic>
      <p:sp>
        <p:nvSpPr>
          <p:cNvPr id="32" name="Text">
            <a:extLst>
              <a:ext uri="{FF2B5EF4-FFF2-40B4-BE49-F238E27FC236}">
                <a16:creationId xmlns:a16="http://schemas.microsoft.com/office/drawing/2014/main" id="{2CEAAFFC-5611-CB9E-2EAA-E1C690A0FED1}"/>
              </a:ext>
            </a:extLst>
          </p:cNvPr>
          <p:cNvSpPr txBox="1">
            <a:spLocks/>
          </p:cNvSpPr>
          <p:nvPr/>
        </p:nvSpPr>
        <p:spPr bwMode="gray">
          <a:xfrm>
            <a:off x="6953472" y="1766255"/>
            <a:ext cx="4437030" cy="761747"/>
          </a:xfrm>
          <a:prstGeom prst="rect">
            <a:avLst/>
          </a:prstGeom>
        </p:spPr>
        <p:txBody>
          <a:bodyPr wrap="square" lIns="0" tIns="0" rIns="0" bIns="0" anchor="t">
            <a:spAutoFit/>
          </a:bodyPr>
          <a:lstStyle/>
          <a:p>
            <a:pPr>
              <a:spcAft>
                <a:spcPts val="300"/>
              </a:spcAft>
            </a:pPr>
            <a:r>
              <a:rPr lang="en-GB" sz="1400" b="1">
                <a:latin typeface="+mj-lt"/>
                <a:ea typeface="+mj-ea"/>
                <a:cs typeface="+mj-cs"/>
              </a:rPr>
              <a:t>Volatile inflation</a:t>
            </a:r>
          </a:p>
          <a:p>
            <a:pPr>
              <a:spcAft>
                <a:spcPts val="300"/>
              </a:spcAft>
            </a:pPr>
            <a:r>
              <a:rPr lang="en-GB" sz="1100"/>
              <a:t>Unpredictable inflation levels in China, SE Asia and Oceania (e.g., peaking in Dec. 2022 and back to historical level in July 2023), with local differences impacting export competitiveness</a:t>
            </a:r>
          </a:p>
        </p:txBody>
      </p:sp>
      <p:sp>
        <p:nvSpPr>
          <p:cNvPr id="33" name="Text">
            <a:extLst>
              <a:ext uri="{FF2B5EF4-FFF2-40B4-BE49-F238E27FC236}">
                <a16:creationId xmlns:a16="http://schemas.microsoft.com/office/drawing/2014/main" id="{C0A7CC86-883E-9DAE-9DB6-47EE0520D8B2}"/>
              </a:ext>
            </a:extLst>
          </p:cNvPr>
          <p:cNvSpPr txBox="1">
            <a:spLocks/>
          </p:cNvSpPr>
          <p:nvPr/>
        </p:nvSpPr>
        <p:spPr bwMode="gray">
          <a:xfrm>
            <a:off x="6953472" y="2711459"/>
            <a:ext cx="4437030" cy="592470"/>
          </a:xfrm>
          <a:prstGeom prst="rect">
            <a:avLst/>
          </a:prstGeom>
        </p:spPr>
        <p:txBody>
          <a:bodyPr wrap="square" lIns="0" tIns="0" rIns="0" bIns="0" anchor="t">
            <a:spAutoFit/>
          </a:bodyPr>
          <a:lstStyle/>
          <a:p>
            <a:pPr>
              <a:spcAft>
                <a:spcPts val="300"/>
              </a:spcAft>
            </a:pPr>
            <a:r>
              <a:rPr lang="en-GB" sz="1400" b="1">
                <a:latin typeface="+mj-lt"/>
                <a:ea typeface="+mj-ea"/>
                <a:cs typeface="+mj-cs"/>
              </a:rPr>
              <a:t>Economic or financial crisis</a:t>
            </a:r>
          </a:p>
          <a:p>
            <a:pPr>
              <a:spcAft>
                <a:spcPts val="300"/>
              </a:spcAft>
            </a:pPr>
            <a:r>
              <a:rPr lang="en-GB" sz="1100"/>
              <a:t>Signs pointing towards recession, stagflation, bursting of sovereign debt bubbles, real estate crash, etc., either in single markets or globally.</a:t>
            </a:r>
          </a:p>
        </p:txBody>
      </p:sp>
      <p:sp>
        <p:nvSpPr>
          <p:cNvPr id="34" name="Text">
            <a:extLst>
              <a:ext uri="{FF2B5EF4-FFF2-40B4-BE49-F238E27FC236}">
                <a16:creationId xmlns:a16="http://schemas.microsoft.com/office/drawing/2014/main" id="{3FA78379-F9DB-A19A-681B-F07AF8B5FDE5}"/>
              </a:ext>
            </a:extLst>
          </p:cNvPr>
          <p:cNvSpPr txBox="1">
            <a:spLocks/>
          </p:cNvSpPr>
          <p:nvPr/>
        </p:nvSpPr>
        <p:spPr bwMode="gray">
          <a:xfrm>
            <a:off x="6953472" y="3487386"/>
            <a:ext cx="4437030" cy="592470"/>
          </a:xfrm>
          <a:prstGeom prst="rect">
            <a:avLst/>
          </a:prstGeom>
        </p:spPr>
        <p:txBody>
          <a:bodyPr wrap="square" lIns="0" tIns="0" rIns="0" bIns="0" anchor="t">
            <a:spAutoFit/>
          </a:bodyPr>
          <a:lstStyle/>
          <a:p>
            <a:pPr>
              <a:spcAft>
                <a:spcPts val="300"/>
              </a:spcAft>
            </a:pPr>
            <a:r>
              <a:rPr lang="en-GB" sz="1400" b="1">
                <a:latin typeface="+mj-lt"/>
                <a:ea typeface="+mj-ea"/>
                <a:cs typeface="+mj-cs"/>
              </a:rPr>
              <a:t>War for talent</a:t>
            </a:r>
          </a:p>
          <a:p>
            <a:pPr>
              <a:spcAft>
                <a:spcPts val="300"/>
              </a:spcAft>
            </a:pPr>
            <a:r>
              <a:rPr lang="en-GB" sz="1100"/>
              <a:t>Employment tension exacerbated by demographic trends (e.g., China) &amp; loss of attractiveness of industrial companies (esp. in transitioning countries)</a:t>
            </a:r>
          </a:p>
        </p:txBody>
      </p:sp>
      <p:sp>
        <p:nvSpPr>
          <p:cNvPr id="2" name="Rectangle 1">
            <a:extLst>
              <a:ext uri="{FF2B5EF4-FFF2-40B4-BE49-F238E27FC236}">
                <a16:creationId xmlns:a16="http://schemas.microsoft.com/office/drawing/2014/main" id="{CAAF2709-4B7F-866A-0AEF-978E51FB5922}"/>
              </a:ext>
            </a:extLst>
          </p:cNvPr>
          <p:cNvSpPr/>
          <p:nvPr/>
        </p:nvSpPr>
        <p:spPr>
          <a:xfrm>
            <a:off x="457200" y="5010272"/>
            <a:ext cx="11267392" cy="1399093"/>
          </a:xfrm>
          <a:prstGeom prst="rect">
            <a:avLst/>
          </a:prstGeom>
          <a:solidFill>
            <a:srgbClr val="C6EEFF">
              <a:alpha val="50196"/>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rPr>
              <a:t>Evolving Cable Industry</a:t>
            </a:r>
          </a:p>
        </p:txBody>
      </p:sp>
      <p:sp>
        <p:nvSpPr>
          <p:cNvPr id="10" name="Text">
            <a:extLst>
              <a:ext uri="{FF2B5EF4-FFF2-40B4-BE49-F238E27FC236}">
                <a16:creationId xmlns:a16="http://schemas.microsoft.com/office/drawing/2014/main" id="{D221CF52-1D4E-1E85-49E7-EE6AA9B8C8F6}"/>
              </a:ext>
            </a:extLst>
          </p:cNvPr>
          <p:cNvSpPr txBox="1">
            <a:spLocks/>
          </p:cNvSpPr>
          <p:nvPr/>
        </p:nvSpPr>
        <p:spPr bwMode="gray">
          <a:xfrm>
            <a:off x="4070404" y="5428028"/>
            <a:ext cx="1941272" cy="892552"/>
          </a:xfrm>
          <a:prstGeom prst="rect">
            <a:avLst/>
          </a:prstGeom>
        </p:spPr>
        <p:txBody>
          <a:bodyPr vert="horz" wrap="square" lIns="0" tIns="0" rIns="0" bIns="0" anchor="t">
            <a:spAutoFit/>
          </a:bodyPr>
          <a:lstStyle/>
          <a:p>
            <a:r>
              <a:rPr lang="en-GB" sz="1400" b="1" kern="0">
                <a:latin typeface="MMC Display Condensed"/>
                <a:cs typeface="Calibri" panose="020F0502020204030204" pitchFamily="34" charset="0"/>
              </a:rPr>
              <a:t>resource crisis</a:t>
            </a:r>
          </a:p>
          <a:p>
            <a:pPr>
              <a:spcAft>
                <a:spcPts val="300"/>
              </a:spcAft>
            </a:pPr>
            <a:r>
              <a:rPr lang="en-GB" sz="1100"/>
              <a:t>Tension on material prices, driven by a hypercycle of DSO demand, energy prices and limits on recycling capacity</a:t>
            </a:r>
          </a:p>
        </p:txBody>
      </p:sp>
      <p:sp>
        <p:nvSpPr>
          <p:cNvPr id="11" name="Text">
            <a:extLst>
              <a:ext uri="{FF2B5EF4-FFF2-40B4-BE49-F238E27FC236}">
                <a16:creationId xmlns:a16="http://schemas.microsoft.com/office/drawing/2014/main" id="{0D98ED6C-7DD9-7457-8BA5-04485E00DCE4}"/>
              </a:ext>
            </a:extLst>
          </p:cNvPr>
          <p:cNvSpPr txBox="1">
            <a:spLocks/>
          </p:cNvSpPr>
          <p:nvPr/>
        </p:nvSpPr>
        <p:spPr bwMode="gray">
          <a:xfrm>
            <a:off x="6869694" y="5428028"/>
            <a:ext cx="1941272" cy="984885"/>
          </a:xfrm>
          <a:prstGeom prst="rect">
            <a:avLst/>
          </a:prstGeom>
        </p:spPr>
        <p:txBody>
          <a:bodyPr wrap="square" lIns="0" tIns="0" rIns="0" bIns="0" anchor="t">
            <a:spAutoFit/>
          </a:bodyPr>
          <a:lstStyle/>
          <a:p>
            <a:pPr>
              <a:spcAft>
                <a:spcPts val="300"/>
              </a:spcAft>
            </a:pPr>
            <a:r>
              <a:rPr lang="en-GB" sz="1400" b="1">
                <a:latin typeface="+mj-lt"/>
                <a:ea typeface="+mj-ea"/>
                <a:cs typeface="+mj-cs"/>
              </a:rPr>
              <a:t>Commoditization</a:t>
            </a:r>
          </a:p>
          <a:p>
            <a:pPr>
              <a:spcAft>
                <a:spcPts val="300"/>
              </a:spcAft>
            </a:pPr>
            <a:r>
              <a:rPr lang="en-GB" sz="1100"/>
              <a:t>Rising threat from competition on legacy products, which have become commodities</a:t>
            </a:r>
          </a:p>
          <a:p>
            <a:pPr>
              <a:spcAft>
                <a:spcPts val="300"/>
              </a:spcAft>
            </a:pPr>
            <a:endParaRPr lang="en-GB" sz="1200"/>
          </a:p>
        </p:txBody>
      </p:sp>
      <p:pic>
        <p:nvPicPr>
          <p:cNvPr id="13" name="ico-coal">
            <a:extLst>
              <a:ext uri="{FF2B5EF4-FFF2-40B4-BE49-F238E27FC236}">
                <a16:creationId xmlns:a16="http://schemas.microsoft.com/office/drawing/2014/main" id="{BE924CAF-1682-49C1-46D5-82FA962568AD}"/>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572247" y="5619922"/>
            <a:ext cx="348437" cy="348437"/>
          </a:xfrm>
          <a:prstGeom prst="rect">
            <a:avLst/>
          </a:prstGeom>
        </p:spPr>
      </p:pic>
      <p:pic>
        <p:nvPicPr>
          <p:cNvPr id="16" name="ico-stack">
            <a:extLst>
              <a:ext uri="{FF2B5EF4-FFF2-40B4-BE49-F238E27FC236}">
                <a16:creationId xmlns:a16="http://schemas.microsoft.com/office/drawing/2014/main" id="{4EA208AA-15EF-5949-E023-FFD6309B2AE9}"/>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355427" y="5654405"/>
            <a:ext cx="348437" cy="348437"/>
          </a:xfrm>
          <a:prstGeom prst="rect">
            <a:avLst/>
          </a:prstGeom>
        </p:spPr>
      </p:pic>
      <p:sp>
        <p:nvSpPr>
          <p:cNvPr id="18" name="Text">
            <a:extLst>
              <a:ext uri="{FF2B5EF4-FFF2-40B4-BE49-F238E27FC236}">
                <a16:creationId xmlns:a16="http://schemas.microsoft.com/office/drawing/2014/main" id="{7708F8E2-E377-63EE-8738-BF9A5E6AF9E6}"/>
              </a:ext>
            </a:extLst>
          </p:cNvPr>
          <p:cNvSpPr txBox="1">
            <a:spLocks/>
          </p:cNvSpPr>
          <p:nvPr/>
        </p:nvSpPr>
        <p:spPr bwMode="gray">
          <a:xfrm>
            <a:off x="9668985" y="5428028"/>
            <a:ext cx="1941272" cy="892552"/>
          </a:xfrm>
          <a:prstGeom prst="rect">
            <a:avLst/>
          </a:prstGeom>
        </p:spPr>
        <p:txBody>
          <a:bodyPr vert="horz" wrap="square" lIns="0" tIns="0" rIns="0" bIns="0" anchor="t">
            <a:spAutoFit/>
          </a:bodyPr>
          <a:lstStyle/>
          <a:p>
            <a:r>
              <a:rPr lang="en-GB" sz="1400" b="1" kern="0">
                <a:latin typeface="MMC Display Condensed"/>
                <a:cs typeface="Calibri" panose="020F0502020204030204" pitchFamily="34" charset="0"/>
              </a:rPr>
              <a:t>Strategic consolidation</a:t>
            </a:r>
          </a:p>
          <a:p>
            <a:pPr>
              <a:spcAft>
                <a:spcPts val="300"/>
              </a:spcAft>
            </a:pPr>
            <a:r>
              <a:rPr lang="en-GB" sz="1100"/>
              <a:t>Conjunctural &amp; localized events will create M&amp;A / partnership opportunities, especially in SE Asia</a:t>
            </a:r>
          </a:p>
        </p:txBody>
      </p:sp>
      <p:pic>
        <p:nvPicPr>
          <p:cNvPr id="19" name="ico-group">
            <a:extLst>
              <a:ext uri="{FF2B5EF4-FFF2-40B4-BE49-F238E27FC236}">
                <a16:creationId xmlns:a16="http://schemas.microsoft.com/office/drawing/2014/main" id="{1906F625-614E-1376-13EF-F2FFC02A5D5D}"/>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9195313" y="5639158"/>
            <a:ext cx="348437" cy="348437"/>
          </a:xfrm>
          <a:prstGeom prst="rect">
            <a:avLst/>
          </a:prstGeom>
        </p:spPr>
      </p:pic>
      <p:sp>
        <p:nvSpPr>
          <p:cNvPr id="20" name="Text">
            <a:extLst>
              <a:ext uri="{FF2B5EF4-FFF2-40B4-BE49-F238E27FC236}">
                <a16:creationId xmlns:a16="http://schemas.microsoft.com/office/drawing/2014/main" id="{F262AE07-4610-EF64-D9E1-CCFAD5A90E24}"/>
              </a:ext>
            </a:extLst>
          </p:cNvPr>
          <p:cNvSpPr txBox="1">
            <a:spLocks/>
          </p:cNvSpPr>
          <p:nvPr/>
        </p:nvSpPr>
        <p:spPr bwMode="gray">
          <a:xfrm>
            <a:off x="1271114" y="5428028"/>
            <a:ext cx="1941272" cy="892552"/>
          </a:xfrm>
          <a:prstGeom prst="rect">
            <a:avLst/>
          </a:prstGeom>
        </p:spPr>
        <p:txBody>
          <a:bodyPr vert="horz" wrap="square" lIns="0" tIns="0" rIns="0" bIns="0" anchor="t">
            <a:spAutoFit/>
          </a:bodyPr>
          <a:lstStyle/>
          <a:p>
            <a:r>
              <a:rPr lang="en-GB" sz="1400" b="1" kern="0">
                <a:latin typeface="MMC Display Condensed"/>
                <a:cs typeface="Calibri" panose="020F0502020204030204" pitchFamily="34" charset="0"/>
              </a:rPr>
              <a:t>Grid dynamics</a:t>
            </a:r>
          </a:p>
          <a:p>
            <a:pPr>
              <a:spcAft>
                <a:spcPts val="300"/>
              </a:spcAft>
            </a:pPr>
            <a:r>
              <a:rPr lang="en-GB" sz="1100"/>
              <a:t>Large demand in grid expansion, focused on RE in ANZ, but with limited government financing in China</a:t>
            </a:r>
          </a:p>
        </p:txBody>
      </p:sp>
      <p:pic>
        <p:nvPicPr>
          <p:cNvPr id="36" name="ico-energy-tower">
            <a:extLst>
              <a:ext uri="{FF2B5EF4-FFF2-40B4-BE49-F238E27FC236}">
                <a16:creationId xmlns:a16="http://schemas.microsoft.com/office/drawing/2014/main" id="{DEF18857-7F2C-41D6-373C-56AB3FF350CD}"/>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89067" y="5619922"/>
            <a:ext cx="348437" cy="348437"/>
          </a:xfrm>
          <a:prstGeom prst="rect">
            <a:avLst/>
          </a:prstGeom>
        </p:spPr>
      </p:pic>
      <p:pic>
        <p:nvPicPr>
          <p:cNvPr id="41" name="ico-cyber">
            <a:extLst>
              <a:ext uri="{FF2B5EF4-FFF2-40B4-BE49-F238E27FC236}">
                <a16:creationId xmlns:a16="http://schemas.microsoft.com/office/drawing/2014/main" id="{F1E2CD07-4B36-411D-79DE-4722A33E884F}"/>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6411846" y="4361970"/>
            <a:ext cx="348437" cy="348437"/>
          </a:xfrm>
          <a:prstGeom prst="rect">
            <a:avLst/>
          </a:prstGeom>
        </p:spPr>
      </p:pic>
      <p:sp>
        <p:nvSpPr>
          <p:cNvPr id="40" name="Text">
            <a:extLst>
              <a:ext uri="{FF2B5EF4-FFF2-40B4-BE49-F238E27FC236}">
                <a16:creationId xmlns:a16="http://schemas.microsoft.com/office/drawing/2014/main" id="{9F016DA6-C43A-685A-DF7F-7CEEEA23D984}"/>
              </a:ext>
            </a:extLst>
          </p:cNvPr>
          <p:cNvSpPr txBox="1">
            <a:spLocks/>
          </p:cNvSpPr>
          <p:nvPr/>
        </p:nvSpPr>
        <p:spPr bwMode="gray">
          <a:xfrm>
            <a:off x="6953472" y="4263313"/>
            <a:ext cx="4437030" cy="592470"/>
          </a:xfrm>
          <a:prstGeom prst="rect">
            <a:avLst/>
          </a:prstGeom>
        </p:spPr>
        <p:txBody>
          <a:bodyPr wrap="square" lIns="0" tIns="0" rIns="0" bIns="0" anchor="t">
            <a:spAutoFit/>
          </a:bodyPr>
          <a:lstStyle/>
          <a:p>
            <a:pPr>
              <a:spcAft>
                <a:spcPts val="300"/>
              </a:spcAft>
            </a:pPr>
            <a:r>
              <a:rPr lang="en-GB" sz="1400" b="1">
                <a:latin typeface="+mj-lt"/>
                <a:ea typeface="+mj-ea"/>
                <a:cs typeface="+mj-cs"/>
              </a:rPr>
              <a:t>Cyber, AI &amp; automation</a:t>
            </a:r>
          </a:p>
          <a:p>
            <a:pPr>
              <a:spcAft>
                <a:spcPts val="300"/>
              </a:spcAft>
            </a:pPr>
            <a:r>
              <a:rPr lang="en-GB" sz="1100"/>
              <a:t>Increasing cyber threats on plant operations &amp; information, opportunities linked to AI and race to robotization </a:t>
            </a:r>
          </a:p>
        </p:txBody>
      </p:sp>
      <p:sp>
        <p:nvSpPr>
          <p:cNvPr id="3" name="Speech Bubble: Rectangle 2">
            <a:extLst>
              <a:ext uri="{FF2B5EF4-FFF2-40B4-BE49-F238E27FC236}">
                <a16:creationId xmlns:a16="http://schemas.microsoft.com/office/drawing/2014/main" id="{7AD18985-090E-050C-FDCE-2A6C2B5E1748}"/>
              </a:ext>
            </a:extLst>
          </p:cNvPr>
          <p:cNvSpPr/>
          <p:nvPr/>
        </p:nvSpPr>
        <p:spPr>
          <a:xfrm>
            <a:off x="8666570" y="815772"/>
            <a:ext cx="2943687" cy="984885"/>
          </a:xfrm>
          <a:prstGeom prst="wedgeRectCallout">
            <a:avLst>
              <a:gd name="adj1" fmla="val -55122"/>
              <a:gd name="adj2" fmla="val -5078"/>
            </a:avLst>
          </a:prstGeom>
          <a:solidFill>
            <a:schemeClr val="accent1"/>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marL="179994" indent="-179994">
              <a:spcBef>
                <a:spcPts val="600"/>
              </a:spcBef>
              <a:buSzPct val="100000"/>
              <a:buFont typeface="Arial" panose="020B0604020202020204" pitchFamily="34" charset="0"/>
              <a:buChar char="•"/>
            </a:pPr>
            <a:r>
              <a:rPr lang="en-GB" sz="1200" kern="0">
                <a:solidFill>
                  <a:schemeClr val="bg1"/>
                </a:solidFill>
                <a:sym typeface="+mn-lt"/>
              </a:rPr>
              <a:t>What are the impacts for your business?</a:t>
            </a:r>
          </a:p>
          <a:p>
            <a:pPr marL="179994" indent="-179994">
              <a:spcBef>
                <a:spcPts val="600"/>
              </a:spcBef>
              <a:buSzPct val="100000"/>
              <a:buFont typeface="Arial" panose="020B0604020202020204" pitchFamily="34" charset="0"/>
              <a:buChar char="•"/>
            </a:pPr>
            <a:r>
              <a:rPr lang="en-GB" sz="1200" kern="0">
                <a:solidFill>
                  <a:schemeClr val="bg1"/>
                </a:solidFill>
                <a:sym typeface="+mn-lt"/>
              </a:rPr>
              <a:t>What is your level of internal readiness?</a:t>
            </a:r>
          </a:p>
          <a:p>
            <a:pPr marL="179994" indent="-179994">
              <a:spcBef>
                <a:spcPts val="600"/>
              </a:spcBef>
              <a:buSzPct val="100000"/>
              <a:buFont typeface="Arial" panose="020B0604020202020204" pitchFamily="34" charset="0"/>
              <a:buChar char="•"/>
            </a:pPr>
            <a:r>
              <a:rPr lang="en-GB" sz="1200" kern="0">
                <a:solidFill>
                  <a:schemeClr val="bg1"/>
                </a:solidFill>
                <a:sym typeface="+mn-lt"/>
              </a:rPr>
              <a:t>Which best practices could you share?</a:t>
            </a:r>
          </a:p>
        </p:txBody>
      </p:sp>
    </p:spTree>
    <p:extLst>
      <p:ext uri="{BB962C8B-B14F-4D97-AF65-F5344CB8AC3E}">
        <p14:creationId xmlns:p14="http://schemas.microsoft.com/office/powerpoint/2010/main" val="40145536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E737F9-FE3B-4444-983F-29591B60E9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DAE737F9-FE3B-4444-983F-29591B60E9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building with many windows&#10;&#10;Description automatically generated">
            <a:extLst>
              <a:ext uri="{FF2B5EF4-FFF2-40B4-BE49-F238E27FC236}">
                <a16:creationId xmlns:a16="http://schemas.microsoft.com/office/drawing/2014/main" id="{4D30B53C-A46D-3E1B-8BAE-7ED7BB26899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6DB987E9-A8AF-34B9-2918-CA8EE864BBE2}"/>
              </a:ext>
            </a:extLst>
          </p:cNvPr>
          <p:cNvSpPr/>
          <p:nvPr/>
        </p:nvSpPr>
        <p:spPr>
          <a:xfrm>
            <a:off x="-1" y="-1"/>
            <a:ext cx="12192001" cy="6857999"/>
          </a:xfrm>
          <a:prstGeom prst="rect">
            <a:avLst/>
          </a:prstGeom>
          <a:gradFill flip="none" rotWithShape="1">
            <a:gsLst>
              <a:gs pos="0">
                <a:schemeClr val="tx1">
                  <a:alpha val="92000"/>
                </a:schemeClr>
              </a:gs>
              <a:gs pos="100000">
                <a:schemeClr val="tx1">
                  <a:alpha val="1000"/>
                </a:schemeClr>
              </a:gs>
            </a:gsLst>
            <a:lin ang="540000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18" name="Rectangle 17">
            <a:extLst>
              <a:ext uri="{FF2B5EF4-FFF2-40B4-BE49-F238E27FC236}">
                <a16:creationId xmlns:a16="http://schemas.microsoft.com/office/drawing/2014/main" id="{56678D64-35E3-4F13-8D11-A6F0E86407B0}"/>
              </a:ext>
            </a:extLst>
          </p:cNvPr>
          <p:cNvSpPr/>
          <p:nvPr/>
        </p:nvSpPr>
        <p:spPr>
          <a:xfrm>
            <a:off x="3909235" y="1501298"/>
            <a:ext cx="4373528" cy="1016000"/>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defTabSz="914370">
              <a:buClr>
                <a:srgbClr val="000000"/>
              </a:buClr>
            </a:pPr>
            <a:r>
              <a:rPr lang="en-GB" sz="3800" b="1" kern="0">
                <a:solidFill>
                  <a:srgbClr val="FFFFFF"/>
                </a:solidFill>
                <a:latin typeface="+mj-lt"/>
                <a:cs typeface="Calibri" panose="020F0502020204030204" pitchFamily="34" charset="0"/>
              </a:rPr>
              <a:t>WHAT DOES IT MEAN FOR </a:t>
            </a:r>
            <a:r>
              <a:rPr lang="en-GB" sz="3800" b="1" kern="0" err="1">
                <a:solidFill>
                  <a:srgbClr val="FFFFFF"/>
                </a:solidFill>
                <a:latin typeface="+mj-lt"/>
                <a:cs typeface="Calibri" panose="020F0502020204030204" pitchFamily="34" charset="0"/>
              </a:rPr>
              <a:t>d&amp;u</a:t>
            </a:r>
            <a:r>
              <a:rPr lang="en-GB" sz="3800" b="1" kern="0">
                <a:solidFill>
                  <a:srgbClr val="FFFFFF"/>
                </a:solidFill>
                <a:latin typeface="+mj-lt"/>
                <a:cs typeface="Calibri" panose="020F0502020204030204" pitchFamily="34" charset="0"/>
              </a:rPr>
              <a:t>?</a:t>
            </a:r>
            <a:endParaRPr lang="en-GB" sz="3800" kern="0">
              <a:solidFill>
                <a:srgbClr val="FFFFFF"/>
              </a:solidFill>
              <a:latin typeface="+mj-lt"/>
              <a:cs typeface="Calibri" panose="020F0502020204030204" pitchFamily="34" charset="0"/>
            </a:endParaRPr>
          </a:p>
        </p:txBody>
      </p:sp>
    </p:spTree>
    <p:extLst>
      <p:ext uri="{BB962C8B-B14F-4D97-AF65-F5344CB8AC3E}">
        <p14:creationId xmlns:p14="http://schemas.microsoft.com/office/powerpoint/2010/main" val="2135208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8661F13-3014-F488-0E6A-7A9A92404476}"/>
              </a:ext>
            </a:extLst>
          </p:cNvPr>
          <p:cNvGraphicFramePr>
            <a:graphicFrameLocks noChangeAspect="1"/>
          </p:cNvGraphicFramePr>
          <p:nvPr>
            <p:custDataLst>
              <p:tags r:id="rId1"/>
            </p:custDataLst>
            <p:extLst>
              <p:ext uri="{D42A27DB-BD31-4B8C-83A1-F6EECF244321}">
                <p14:modId xmlns:p14="http://schemas.microsoft.com/office/powerpoint/2010/main" val="321961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think-cell data - do not delete" hidden="1">
                        <a:extLst>
                          <a:ext uri="{FF2B5EF4-FFF2-40B4-BE49-F238E27FC236}">
                            <a16:creationId xmlns:a16="http://schemas.microsoft.com/office/drawing/2014/main" id="{F8661F13-3014-F488-0E6A-7A9A924044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Overhead of team office desk">
            <a:extLst>
              <a:ext uri="{FF2B5EF4-FFF2-40B4-BE49-F238E27FC236}">
                <a16:creationId xmlns:a16="http://schemas.microsoft.com/office/drawing/2014/main" id="{DC89664A-4CED-905D-757E-A1E01E9B5C3E}"/>
              </a:ext>
            </a:extLst>
          </p:cNvPr>
          <p:cNvPicPr>
            <a:picLocks noChangeAspect="1"/>
          </p:cNvPicPr>
          <p:nvPr/>
        </p:nvPicPr>
        <p:blipFill rotWithShape="1">
          <a:blip r:embed="rId6" cstate="screen">
            <a:alphaModFix amt="50000"/>
            <a:extLst>
              <a:ext uri="{28A0092B-C50C-407E-A947-70E740481C1C}">
                <a14:useLocalDpi xmlns:a14="http://schemas.microsoft.com/office/drawing/2010/main"/>
              </a:ext>
            </a:extLst>
          </a:blip>
          <a:srcRect/>
          <a:stretch/>
        </p:blipFill>
        <p:spPr>
          <a:xfrm>
            <a:off x="0" y="0"/>
            <a:ext cx="12192000" cy="1195832"/>
          </a:xfrm>
          <a:prstGeom prst="rect">
            <a:avLst/>
          </a:prstGeom>
        </p:spPr>
      </p:pic>
      <p:sp>
        <p:nvSpPr>
          <p:cNvPr id="2" name="Title 1">
            <a:extLst>
              <a:ext uri="{FF2B5EF4-FFF2-40B4-BE49-F238E27FC236}">
                <a16:creationId xmlns:a16="http://schemas.microsoft.com/office/drawing/2014/main" id="{D4B22102-9F9F-AD9E-F6F8-D11A64E4FE88}"/>
              </a:ext>
            </a:extLst>
          </p:cNvPr>
          <p:cNvSpPr>
            <a:spLocks noGrp="1"/>
          </p:cNvSpPr>
          <p:nvPr>
            <p:ph type="title"/>
          </p:nvPr>
        </p:nvSpPr>
        <p:spPr/>
        <p:txBody>
          <a:bodyPr vert="horz"/>
          <a:lstStyle/>
          <a:p>
            <a:r>
              <a:rPr lang="en-GB"/>
              <a:t>Collaboration Rules &amp; guidelines for this workshop</a:t>
            </a:r>
          </a:p>
        </p:txBody>
      </p:sp>
      <p:sp>
        <p:nvSpPr>
          <p:cNvPr id="11" name="Text Placeholder 10">
            <a:extLst>
              <a:ext uri="{FF2B5EF4-FFF2-40B4-BE49-F238E27FC236}">
                <a16:creationId xmlns:a16="http://schemas.microsoft.com/office/drawing/2014/main" id="{6B5881BA-F60F-176C-562F-3943F7A319DB}"/>
              </a:ext>
            </a:extLst>
          </p:cNvPr>
          <p:cNvSpPr>
            <a:spLocks noGrp="1"/>
          </p:cNvSpPr>
          <p:nvPr>
            <p:ph type="body" idx="10"/>
          </p:nvPr>
        </p:nvSpPr>
        <p:spPr>
          <a:xfrm>
            <a:off x="457200" y="1399032"/>
            <a:ext cx="6528122" cy="429768"/>
          </a:xfrm>
          <a:solidFill>
            <a:schemeClr val="accent2"/>
          </a:solidFill>
        </p:spPr>
        <p:txBody>
          <a:bodyPr lIns="72009" anchor="ctr"/>
          <a:lstStyle/>
          <a:p>
            <a:r>
              <a:rPr lang="en-GB" sz="1600">
                <a:solidFill>
                  <a:schemeClr val="bg1"/>
                </a:solidFill>
              </a:rPr>
              <a:t>Interaction format for today</a:t>
            </a:r>
          </a:p>
        </p:txBody>
      </p:sp>
      <p:sp>
        <p:nvSpPr>
          <p:cNvPr id="12" name="Content Placeholder 11">
            <a:extLst>
              <a:ext uri="{FF2B5EF4-FFF2-40B4-BE49-F238E27FC236}">
                <a16:creationId xmlns:a16="http://schemas.microsoft.com/office/drawing/2014/main" id="{74AAE2D2-A366-AC03-BFEA-9A2719B42BC2}"/>
              </a:ext>
            </a:extLst>
          </p:cNvPr>
          <p:cNvSpPr>
            <a:spLocks noGrp="1"/>
          </p:cNvSpPr>
          <p:nvPr>
            <p:ph sz="half" idx="11"/>
          </p:nvPr>
        </p:nvSpPr>
        <p:spPr>
          <a:xfrm>
            <a:off x="1575122" y="1965960"/>
            <a:ext cx="5324247" cy="4434840"/>
          </a:xfrm>
        </p:spPr>
        <p:txBody>
          <a:bodyPr/>
          <a:lstStyle/>
          <a:p>
            <a:pPr marL="0" indent="0">
              <a:buNone/>
            </a:pPr>
            <a:r>
              <a:rPr lang="en-GB" b="1"/>
              <a:t>Chapter 1: Permacrisis overview</a:t>
            </a:r>
          </a:p>
          <a:p>
            <a:pPr>
              <a:buSzPct val="100000"/>
            </a:pPr>
            <a:r>
              <a:rPr lang="en-GB"/>
              <a:t>Presentation lead by Oliver Wyman team</a:t>
            </a:r>
          </a:p>
          <a:p>
            <a:pPr>
              <a:buSzPct val="100000"/>
            </a:pPr>
            <a:r>
              <a:rPr lang="en-GB"/>
              <a:t>Open to questions and reactions at any time</a:t>
            </a:r>
          </a:p>
          <a:p>
            <a:pPr marL="0" indent="0">
              <a:buNone/>
            </a:pPr>
            <a:endParaRPr lang="en-GB"/>
          </a:p>
          <a:p>
            <a:pPr marL="0" indent="0">
              <a:buNone/>
            </a:pPr>
            <a:r>
              <a:rPr lang="en-GB" b="1"/>
              <a:t>Chapter 2: Risks &amp; opportunities deep-dive</a:t>
            </a:r>
          </a:p>
          <a:p>
            <a:pPr>
              <a:buSzPct val="100000"/>
            </a:pPr>
            <a:r>
              <a:rPr lang="en-GB"/>
              <a:t>Presentation of the prepared risks &amp; opportunities prioritization (done through pre-workshop interviews)</a:t>
            </a:r>
          </a:p>
          <a:p>
            <a:pPr>
              <a:buSzPct val="100000"/>
            </a:pPr>
            <a:r>
              <a:rPr lang="en-GB"/>
              <a:t>Debate on priority risks &amp; opportunities and how they impact Nexans D&amp;U in Asia &amp; Oceania</a:t>
            </a:r>
          </a:p>
          <a:p>
            <a:pPr marL="0" indent="0">
              <a:buNone/>
            </a:pPr>
            <a:endParaRPr lang="en-GB"/>
          </a:p>
          <a:p>
            <a:pPr marL="0" indent="0">
              <a:buNone/>
            </a:pPr>
            <a:endParaRPr lang="en-GB"/>
          </a:p>
          <a:p>
            <a:pPr marL="0" indent="0">
              <a:buNone/>
            </a:pPr>
            <a:r>
              <a:rPr lang="en-GB" b="1"/>
              <a:t>Chapter 3: Permacrisis Profit Patterns design</a:t>
            </a:r>
          </a:p>
          <a:p>
            <a:pPr>
              <a:buSzPct val="100000"/>
            </a:pPr>
            <a:r>
              <a:rPr lang="en-GB"/>
              <a:t>Presentation of pre-designed Permacrisis Profit Patterns, answering top risks &amp; opportunities</a:t>
            </a:r>
          </a:p>
          <a:p>
            <a:pPr>
              <a:buSzPct val="100000"/>
            </a:pPr>
            <a:r>
              <a:rPr lang="en-GB"/>
              <a:t>Open discussions on selected Permacrisis Profit Patterns</a:t>
            </a:r>
          </a:p>
          <a:p>
            <a:pPr>
              <a:buSzPct val="100000"/>
            </a:pPr>
            <a:r>
              <a:rPr lang="en-GB"/>
              <a:t>Recording of results through pre-filled templates</a:t>
            </a:r>
          </a:p>
        </p:txBody>
      </p:sp>
      <p:sp>
        <p:nvSpPr>
          <p:cNvPr id="14" name="Text Placeholder 13">
            <a:extLst>
              <a:ext uri="{FF2B5EF4-FFF2-40B4-BE49-F238E27FC236}">
                <a16:creationId xmlns:a16="http://schemas.microsoft.com/office/drawing/2014/main" id="{BECAC13A-690F-C60A-91EB-F25669DF8803}"/>
              </a:ext>
            </a:extLst>
          </p:cNvPr>
          <p:cNvSpPr>
            <a:spLocks noGrp="1"/>
          </p:cNvSpPr>
          <p:nvPr>
            <p:ph type="body" sz="quarter" idx="13"/>
          </p:nvPr>
        </p:nvSpPr>
        <p:spPr>
          <a:xfrm>
            <a:off x="7454096" y="1399032"/>
            <a:ext cx="4280703" cy="429768"/>
          </a:xfrm>
          <a:solidFill>
            <a:schemeClr val="accent6"/>
          </a:solidFill>
        </p:spPr>
        <p:txBody>
          <a:bodyPr lIns="72009" anchor="ctr"/>
          <a:lstStyle/>
          <a:p>
            <a:r>
              <a:rPr lang="en-GB" sz="1600">
                <a:solidFill>
                  <a:schemeClr val="bg1"/>
                </a:solidFill>
              </a:rPr>
              <a:t>Key principles</a:t>
            </a:r>
          </a:p>
        </p:txBody>
      </p:sp>
      <p:sp>
        <p:nvSpPr>
          <p:cNvPr id="13" name="Content Placeholder 12">
            <a:extLst>
              <a:ext uri="{FF2B5EF4-FFF2-40B4-BE49-F238E27FC236}">
                <a16:creationId xmlns:a16="http://schemas.microsoft.com/office/drawing/2014/main" id="{95169C2F-3DDF-2D3B-0A3E-EC899A9155B2}"/>
              </a:ext>
            </a:extLst>
          </p:cNvPr>
          <p:cNvSpPr>
            <a:spLocks noGrp="1"/>
          </p:cNvSpPr>
          <p:nvPr>
            <p:ph sz="quarter" idx="12"/>
          </p:nvPr>
        </p:nvSpPr>
        <p:spPr>
          <a:xfrm>
            <a:off x="7998106" y="1965960"/>
            <a:ext cx="3736694" cy="4434840"/>
          </a:xfrm>
        </p:spPr>
        <p:txBody>
          <a:bodyPr/>
          <a:lstStyle/>
          <a:p>
            <a:pPr marL="0" indent="0">
              <a:buNone/>
            </a:pPr>
            <a:r>
              <a:rPr lang="en-GB" b="1"/>
              <a:t>Everyone’s opinion is valued</a:t>
            </a:r>
            <a:r>
              <a:rPr lang="en-GB"/>
              <a:t>, and we expect you to voice your perspective – we need your inputs to make the workshop a success</a:t>
            </a:r>
          </a:p>
          <a:p>
            <a:pPr marL="0" indent="0">
              <a:buNone/>
            </a:pPr>
            <a:endParaRPr lang="en-GB"/>
          </a:p>
          <a:p>
            <a:pPr marL="0" indent="0">
              <a:buNone/>
            </a:pPr>
            <a:r>
              <a:rPr lang="en-GB"/>
              <a:t>We will frequently </a:t>
            </a:r>
            <a:r>
              <a:rPr lang="en-GB" b="1"/>
              <a:t>take time to collect your comments </a:t>
            </a:r>
            <a:r>
              <a:rPr lang="en-GB"/>
              <a:t>and feedback on the content being shared</a:t>
            </a:r>
          </a:p>
          <a:p>
            <a:pPr marL="0" indent="0">
              <a:buNone/>
            </a:pPr>
            <a:endParaRPr lang="en-GB"/>
          </a:p>
          <a:p>
            <a:pPr marL="0" indent="0">
              <a:buNone/>
            </a:pPr>
            <a:r>
              <a:rPr lang="en-GB" b="1"/>
              <a:t>Focus on major topics </a:t>
            </a:r>
            <a:r>
              <a:rPr lang="en-GB"/>
              <a:t>and aim for </a:t>
            </a:r>
            <a:r>
              <a:rPr lang="en-GB" b="1"/>
              <a:t>precise answers</a:t>
            </a:r>
            <a:r>
              <a:rPr lang="en-GB"/>
              <a:t>, to guarantee everyone’s opinion will be taken into account</a:t>
            </a:r>
          </a:p>
          <a:p>
            <a:pPr marL="0" indent="0">
              <a:buNone/>
            </a:pPr>
            <a:endParaRPr lang="en-GB"/>
          </a:p>
          <a:p>
            <a:pPr marL="0" indent="0">
              <a:buNone/>
            </a:pPr>
            <a:r>
              <a:rPr lang="en-GB"/>
              <a:t>We understand </a:t>
            </a:r>
            <a:r>
              <a:rPr lang="en-GB" b="1"/>
              <a:t>diversity</a:t>
            </a:r>
            <a:r>
              <a:rPr lang="en-GB"/>
              <a:t> across the group, but we should </a:t>
            </a:r>
            <a:r>
              <a:rPr lang="en-GB" b="1"/>
              <a:t>refrain</a:t>
            </a:r>
            <a:r>
              <a:rPr lang="en-GB"/>
              <a:t> from looking at </a:t>
            </a:r>
            <a:r>
              <a:rPr lang="en-GB" b="1"/>
              <a:t>too specific cases</a:t>
            </a:r>
          </a:p>
        </p:txBody>
      </p:sp>
      <p:pic>
        <p:nvPicPr>
          <p:cNvPr id="18" name="ico-b-meeting">
            <a:extLst>
              <a:ext uri="{FF2B5EF4-FFF2-40B4-BE49-F238E27FC236}">
                <a16:creationId xmlns:a16="http://schemas.microsoft.com/office/drawing/2014/main" id="{A589C3E5-D854-BC7F-3CD2-ADF230BD046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49723" y="2032000"/>
            <a:ext cx="279400" cy="279400"/>
          </a:xfrm>
          <a:prstGeom prst="rect">
            <a:avLst/>
          </a:prstGeom>
        </p:spPr>
      </p:pic>
      <p:pic>
        <p:nvPicPr>
          <p:cNvPr id="19" name="ico-btn-play">
            <a:extLst>
              <a:ext uri="{FF2B5EF4-FFF2-40B4-BE49-F238E27FC236}">
                <a16:creationId xmlns:a16="http://schemas.microsoft.com/office/drawing/2014/main" id="{DD12DF8E-F32F-46BB-67A0-6149A8DF7B3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549723" y="3021346"/>
            <a:ext cx="279400" cy="279400"/>
          </a:xfrm>
          <a:prstGeom prst="rect">
            <a:avLst/>
          </a:prstGeom>
        </p:spPr>
      </p:pic>
      <p:pic>
        <p:nvPicPr>
          <p:cNvPr id="22" name="ico-archery-target">
            <a:extLst>
              <a:ext uri="{FF2B5EF4-FFF2-40B4-BE49-F238E27FC236}">
                <a16:creationId xmlns:a16="http://schemas.microsoft.com/office/drawing/2014/main" id="{73948A22-A0ED-D890-DFD2-5FDA140FEFC0}"/>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549723" y="3971784"/>
            <a:ext cx="279400" cy="279400"/>
          </a:xfrm>
          <a:prstGeom prst="rect">
            <a:avLst/>
          </a:prstGeom>
        </p:spPr>
      </p:pic>
      <p:pic>
        <p:nvPicPr>
          <p:cNvPr id="21" name="ico-globe">
            <a:extLst>
              <a:ext uri="{FF2B5EF4-FFF2-40B4-BE49-F238E27FC236}">
                <a16:creationId xmlns:a16="http://schemas.microsoft.com/office/drawing/2014/main" id="{0501302C-0D0D-D5C6-8BD0-467D283EC190}"/>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549723" y="5032858"/>
            <a:ext cx="279400" cy="279400"/>
          </a:xfrm>
          <a:prstGeom prst="rect">
            <a:avLst/>
          </a:prstGeom>
        </p:spPr>
      </p:pic>
      <p:cxnSp>
        <p:nvCxnSpPr>
          <p:cNvPr id="9" name="Straight Connector 8">
            <a:extLst>
              <a:ext uri="{FF2B5EF4-FFF2-40B4-BE49-F238E27FC236}">
                <a16:creationId xmlns:a16="http://schemas.microsoft.com/office/drawing/2014/main" id="{FBDE62B1-41C0-9673-5629-77C4E57B645D}"/>
              </a:ext>
            </a:extLst>
          </p:cNvPr>
          <p:cNvCxnSpPr>
            <a:cxnSpLocks/>
          </p:cNvCxnSpPr>
          <p:nvPr/>
        </p:nvCxnSpPr>
        <p:spPr>
          <a:xfrm>
            <a:off x="943337" y="2032000"/>
            <a:ext cx="0" cy="2325242"/>
          </a:xfrm>
          <a:prstGeom prst="line">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E63DBC9-051B-6439-DE69-09E0F0DF213C}"/>
              </a:ext>
            </a:extLst>
          </p:cNvPr>
          <p:cNvCxnSpPr>
            <a:cxnSpLocks/>
          </p:cNvCxnSpPr>
          <p:nvPr/>
        </p:nvCxnSpPr>
        <p:spPr>
          <a:xfrm>
            <a:off x="943337" y="5032858"/>
            <a:ext cx="0" cy="1367942"/>
          </a:xfrm>
          <a:prstGeom prst="line">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564943D-3C85-A887-B4C9-27A9560884B9}"/>
              </a:ext>
            </a:extLst>
          </p:cNvPr>
          <p:cNvSpPr txBox="1"/>
          <p:nvPr/>
        </p:nvSpPr>
        <p:spPr>
          <a:xfrm rot="16200000">
            <a:off x="338652" y="3086899"/>
            <a:ext cx="1183640" cy="215444"/>
          </a:xfrm>
          <a:prstGeom prst="rect">
            <a:avLst/>
          </a:prstGeom>
          <a:solidFill>
            <a:schemeClr val="bg1"/>
          </a:solidFill>
        </p:spPr>
        <p:txBody>
          <a:bodyPr wrap="square" lIns="0" tIns="0" rIns="0" bIns="0" rtlCol="0">
            <a:spAutoFit/>
          </a:bodyPr>
          <a:lstStyle/>
          <a:p>
            <a:pPr algn="ctr"/>
            <a:r>
              <a:rPr lang="en-GB" sz="1400" kern="0"/>
              <a:t>Plenary session</a:t>
            </a:r>
          </a:p>
        </p:txBody>
      </p:sp>
      <p:sp>
        <p:nvSpPr>
          <p:cNvPr id="20" name="TextBox 19">
            <a:extLst>
              <a:ext uri="{FF2B5EF4-FFF2-40B4-BE49-F238E27FC236}">
                <a16:creationId xmlns:a16="http://schemas.microsoft.com/office/drawing/2014/main" id="{3D122232-1406-DF9F-FEDB-59E2DFB01441}"/>
              </a:ext>
            </a:extLst>
          </p:cNvPr>
          <p:cNvSpPr txBox="1"/>
          <p:nvPr/>
        </p:nvSpPr>
        <p:spPr>
          <a:xfrm rot="16200000">
            <a:off x="524983" y="5501385"/>
            <a:ext cx="810978" cy="430887"/>
          </a:xfrm>
          <a:prstGeom prst="rect">
            <a:avLst/>
          </a:prstGeom>
          <a:solidFill>
            <a:schemeClr val="bg1"/>
          </a:solidFill>
        </p:spPr>
        <p:txBody>
          <a:bodyPr wrap="square" lIns="0" tIns="0" rIns="0" bIns="0" rtlCol="0" anchor="ctr">
            <a:spAutoFit/>
          </a:bodyPr>
          <a:lstStyle/>
          <a:p>
            <a:pPr algn="ctr"/>
            <a:r>
              <a:rPr lang="en-GB" sz="1400" kern="0"/>
              <a:t>2 groups</a:t>
            </a:r>
          </a:p>
          <a:p>
            <a:pPr algn="ctr"/>
            <a:r>
              <a:rPr lang="en-GB" sz="1400" kern="0"/>
              <a:t>Asia &amp; ANZ</a:t>
            </a:r>
          </a:p>
        </p:txBody>
      </p:sp>
      <p:sp>
        <p:nvSpPr>
          <p:cNvPr id="23" name="TextBox 22">
            <a:extLst>
              <a:ext uri="{FF2B5EF4-FFF2-40B4-BE49-F238E27FC236}">
                <a16:creationId xmlns:a16="http://schemas.microsoft.com/office/drawing/2014/main" id="{5B6213C0-B274-39B2-B3D1-0DCD23F605DC}"/>
              </a:ext>
            </a:extLst>
          </p:cNvPr>
          <p:cNvSpPr txBox="1"/>
          <p:nvPr/>
        </p:nvSpPr>
        <p:spPr>
          <a:xfrm>
            <a:off x="351003" y="4587328"/>
            <a:ext cx="1183640" cy="215444"/>
          </a:xfrm>
          <a:prstGeom prst="rect">
            <a:avLst/>
          </a:prstGeom>
          <a:solidFill>
            <a:schemeClr val="bg1"/>
          </a:solidFill>
        </p:spPr>
        <p:txBody>
          <a:bodyPr wrap="square" lIns="0" tIns="0" rIns="0" bIns="0" rtlCol="0">
            <a:spAutoFit/>
          </a:bodyPr>
          <a:lstStyle/>
          <a:p>
            <a:pPr algn="ctr"/>
            <a:r>
              <a:rPr lang="en-GB" sz="1400" kern="0"/>
              <a:t>Break</a:t>
            </a:r>
          </a:p>
        </p:txBody>
      </p:sp>
    </p:spTree>
    <p:extLst>
      <p:ext uri="{BB962C8B-B14F-4D97-AF65-F5344CB8AC3E}">
        <p14:creationId xmlns:p14="http://schemas.microsoft.com/office/powerpoint/2010/main" val="25843027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B2F9871-8EFF-5ACB-E596-0653F9EB89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think-cell data - do not delete" hidden="1">
                        <a:extLst>
                          <a:ext uri="{FF2B5EF4-FFF2-40B4-BE49-F238E27FC236}">
                            <a16:creationId xmlns:a16="http://schemas.microsoft.com/office/drawing/2014/main" id="{1B2F9871-8EFF-5ACB-E596-0653F9EB89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BE826D8-805A-5E9C-9F29-F70BFDEA6EB7}"/>
              </a:ext>
            </a:extLst>
          </p:cNvPr>
          <p:cNvSpPr>
            <a:spLocks noGrp="1"/>
          </p:cNvSpPr>
          <p:nvPr>
            <p:ph type="title"/>
          </p:nvPr>
        </p:nvSpPr>
        <p:spPr/>
        <p:txBody>
          <a:bodyPr vert="horz"/>
          <a:lstStyle/>
          <a:p>
            <a:r>
              <a:rPr lang="en-US"/>
              <a:t>MARKET TRENDS: DISTRIBUTION MARKET EXPECTED TO GROW, SUPPORTED BY POWER GRID DEVELOPMENT AND REPLACEMENT</a:t>
            </a:r>
          </a:p>
        </p:txBody>
      </p:sp>
      <p:sp>
        <p:nvSpPr>
          <p:cNvPr id="28" name="Text Placeholder 27">
            <a:extLst>
              <a:ext uri="{FF2B5EF4-FFF2-40B4-BE49-F238E27FC236}">
                <a16:creationId xmlns:a16="http://schemas.microsoft.com/office/drawing/2014/main" id="{39B86D97-70F7-4FBB-0C66-F995D8AF95A0}"/>
              </a:ext>
            </a:extLst>
          </p:cNvPr>
          <p:cNvSpPr>
            <a:spLocks noGrp="1"/>
          </p:cNvSpPr>
          <p:nvPr>
            <p:ph type="body" idx="10"/>
          </p:nvPr>
        </p:nvSpPr>
        <p:spPr/>
        <p:txBody>
          <a:bodyPr/>
          <a:lstStyle/>
          <a:p>
            <a:r>
              <a:rPr lang="en-US"/>
              <a:t>Cable market for distribution</a:t>
            </a:r>
          </a:p>
        </p:txBody>
      </p:sp>
      <p:sp>
        <p:nvSpPr>
          <p:cNvPr id="29" name="Content Placeholder 28">
            <a:extLst>
              <a:ext uri="{FF2B5EF4-FFF2-40B4-BE49-F238E27FC236}">
                <a16:creationId xmlns:a16="http://schemas.microsoft.com/office/drawing/2014/main" id="{D4BC8266-DA0D-225C-239F-BA293CEA238C}"/>
              </a:ext>
            </a:extLst>
          </p:cNvPr>
          <p:cNvSpPr>
            <a:spLocks noGrp="1"/>
          </p:cNvSpPr>
          <p:nvPr>
            <p:ph sz="half" idx="11"/>
          </p:nvPr>
        </p:nvSpPr>
        <p:spPr>
          <a:xfrm>
            <a:off x="457200" y="1883664"/>
            <a:ext cx="3454400" cy="575956"/>
          </a:xfrm>
        </p:spPr>
        <p:txBody>
          <a:bodyPr/>
          <a:lstStyle/>
          <a:p>
            <a:pPr marL="0" indent="0">
              <a:spcBef>
                <a:spcPts val="0"/>
              </a:spcBef>
              <a:buNone/>
            </a:pPr>
            <a:r>
              <a:rPr lang="en-US"/>
              <a:t>Distribution cable market, forecast</a:t>
            </a:r>
          </a:p>
          <a:p>
            <a:pPr marL="0" indent="0">
              <a:spcBef>
                <a:spcPts val="0"/>
              </a:spcBef>
              <a:buNone/>
            </a:pPr>
            <a:r>
              <a:rPr lang="en-US"/>
              <a:t>(EUR bn; 2019-30)</a:t>
            </a:r>
          </a:p>
        </p:txBody>
      </p:sp>
      <p:sp>
        <p:nvSpPr>
          <p:cNvPr id="31" name="Text Placeholder 30">
            <a:extLst>
              <a:ext uri="{FF2B5EF4-FFF2-40B4-BE49-F238E27FC236}">
                <a16:creationId xmlns:a16="http://schemas.microsoft.com/office/drawing/2014/main" id="{820E47F5-A715-3A4E-CF6D-4EDF6BAA3A55}"/>
              </a:ext>
            </a:extLst>
          </p:cNvPr>
          <p:cNvSpPr>
            <a:spLocks noGrp="1"/>
          </p:cNvSpPr>
          <p:nvPr>
            <p:ph type="body" sz="quarter" idx="13"/>
          </p:nvPr>
        </p:nvSpPr>
        <p:spPr/>
        <p:txBody>
          <a:bodyPr/>
          <a:lstStyle/>
          <a:p>
            <a:r>
              <a:rPr lang="en-US"/>
              <a:t>Key figures</a:t>
            </a:r>
          </a:p>
        </p:txBody>
      </p:sp>
      <p:sp>
        <p:nvSpPr>
          <p:cNvPr id="30" name="Content Placeholder 29">
            <a:extLst>
              <a:ext uri="{FF2B5EF4-FFF2-40B4-BE49-F238E27FC236}">
                <a16:creationId xmlns:a16="http://schemas.microsoft.com/office/drawing/2014/main" id="{78558AB3-B700-4D3C-82C1-1F1272BDEFFE}"/>
              </a:ext>
            </a:extLst>
          </p:cNvPr>
          <p:cNvSpPr>
            <a:spLocks noGrp="1"/>
          </p:cNvSpPr>
          <p:nvPr>
            <p:ph sz="quarter" idx="12"/>
          </p:nvPr>
        </p:nvSpPr>
        <p:spPr>
          <a:xfrm>
            <a:off x="4368799" y="1883664"/>
            <a:ext cx="3454400" cy="1067880"/>
          </a:xfrm>
        </p:spPr>
        <p:txBody>
          <a:bodyPr/>
          <a:lstStyle/>
          <a:p>
            <a:pPr marL="0" indent="0">
              <a:buNone/>
            </a:pPr>
            <a:r>
              <a:rPr lang="en-US" sz="1800" b="1"/>
              <a:t>+17% (+4,500 TWh)</a:t>
            </a:r>
          </a:p>
          <a:p>
            <a:pPr marL="0" indent="0">
              <a:buNone/>
            </a:pPr>
            <a:r>
              <a:rPr lang="en-US"/>
              <a:t>Additional yearly electrical energy to be produced in 2030 compared to 2019 in 2°C scenario</a:t>
            </a:r>
          </a:p>
        </p:txBody>
      </p:sp>
      <p:sp>
        <p:nvSpPr>
          <p:cNvPr id="33" name="Text Placeholder 32">
            <a:extLst>
              <a:ext uri="{FF2B5EF4-FFF2-40B4-BE49-F238E27FC236}">
                <a16:creationId xmlns:a16="http://schemas.microsoft.com/office/drawing/2014/main" id="{5968B267-64DA-5FF2-1C3D-66971AEEC982}"/>
              </a:ext>
            </a:extLst>
          </p:cNvPr>
          <p:cNvSpPr>
            <a:spLocks noGrp="1"/>
          </p:cNvSpPr>
          <p:nvPr>
            <p:ph type="body" sz="quarter" idx="15"/>
          </p:nvPr>
        </p:nvSpPr>
        <p:spPr/>
        <p:txBody>
          <a:bodyPr/>
          <a:lstStyle/>
          <a:p>
            <a:r>
              <a:rPr lang="en-US"/>
              <a:t>Main growth drivers</a:t>
            </a:r>
          </a:p>
        </p:txBody>
      </p:sp>
      <p:sp>
        <p:nvSpPr>
          <p:cNvPr id="32" name="Content Placeholder 31">
            <a:extLst>
              <a:ext uri="{FF2B5EF4-FFF2-40B4-BE49-F238E27FC236}">
                <a16:creationId xmlns:a16="http://schemas.microsoft.com/office/drawing/2014/main" id="{F49F8F68-EC79-29F2-1A80-4C9A471AD4DC}"/>
              </a:ext>
            </a:extLst>
          </p:cNvPr>
          <p:cNvSpPr>
            <a:spLocks noGrp="1"/>
          </p:cNvSpPr>
          <p:nvPr>
            <p:ph sz="quarter" idx="14"/>
          </p:nvPr>
        </p:nvSpPr>
        <p:spPr/>
        <p:txBody>
          <a:bodyPr/>
          <a:lstStyle/>
          <a:p>
            <a:r>
              <a:rPr lang="en-US"/>
              <a:t>Network development supported by:</a:t>
            </a:r>
          </a:p>
          <a:p>
            <a:pPr lvl="1">
              <a:buSzPct val="100000"/>
            </a:pPr>
            <a:r>
              <a:rPr lang="en-US"/>
              <a:t>Global electrification with </a:t>
            </a:r>
            <a:r>
              <a:rPr lang="en-US" err="1"/>
              <a:t>i</a:t>
            </a:r>
            <a:r>
              <a:rPr lang="en-US"/>
              <a:t>) rising needs of emerging countries and ii) substitution of thermal energy sources in most countries</a:t>
            </a:r>
          </a:p>
          <a:p>
            <a:pPr lvl="1">
              <a:buSzPct val="100000"/>
            </a:pPr>
            <a:r>
              <a:rPr lang="en-US"/>
              <a:t>Decentralized networks with renewable energies growth</a:t>
            </a:r>
          </a:p>
          <a:p>
            <a:pPr lvl="1">
              <a:buSzPct val="100000"/>
            </a:pPr>
            <a:r>
              <a:rPr lang="en-US"/>
              <a:t>Increase interconnections to insure network resilience</a:t>
            </a:r>
          </a:p>
          <a:p>
            <a:pPr lvl="1">
              <a:buSzPct val="100000"/>
            </a:pPr>
            <a:r>
              <a:rPr lang="en-US"/>
              <a:t>Increase of EV charging infra as well as PV Rooftop diffusion and batteries storage techno dev.</a:t>
            </a:r>
          </a:p>
          <a:p>
            <a:pPr>
              <a:buSzPct val="100000"/>
            </a:pPr>
            <a:r>
              <a:rPr lang="en-US"/>
              <a:t>Network ageing infrastructures in industrialized countries (EU, NAM) that </a:t>
            </a:r>
            <a:br>
              <a:rPr lang="en-US"/>
            </a:br>
            <a:r>
              <a:rPr lang="en-US"/>
              <a:t>will lead to a generalized power grid replacement and need to reinforce </a:t>
            </a:r>
            <a:br>
              <a:rPr lang="en-US"/>
            </a:br>
            <a:r>
              <a:rPr lang="en-US"/>
              <a:t>grid reliability</a:t>
            </a:r>
          </a:p>
        </p:txBody>
      </p:sp>
      <p:sp>
        <p:nvSpPr>
          <p:cNvPr id="24" name="Ghost">
            <a:extLst>
              <a:ext uri="{FF2B5EF4-FFF2-40B4-BE49-F238E27FC236}">
                <a16:creationId xmlns:a16="http://schemas.microsoft.com/office/drawing/2014/main" id="{5C2445CA-DCBF-41D2-4945-C3D9FD5090CD}"/>
              </a:ext>
            </a:extLst>
          </p:cNvPr>
          <p:cNvSpPr/>
          <p:nvPr/>
        </p:nvSpPr>
        <p:spPr>
          <a:xfrm>
            <a:off x="457200" y="107385"/>
            <a:ext cx="2096728"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100" kern="0">
                <a:solidFill>
                  <a:schemeClr val="accent3"/>
                </a:solidFill>
              </a:rPr>
              <a:t>Nexans-specific trends – Distribution</a:t>
            </a:r>
          </a:p>
        </p:txBody>
      </p:sp>
      <p:sp>
        <p:nvSpPr>
          <p:cNvPr id="34" name="Content Placeholder 29">
            <a:extLst>
              <a:ext uri="{FF2B5EF4-FFF2-40B4-BE49-F238E27FC236}">
                <a16:creationId xmlns:a16="http://schemas.microsoft.com/office/drawing/2014/main" id="{56F6D306-2578-53C4-D07E-F9840BA10D69}"/>
              </a:ext>
            </a:extLst>
          </p:cNvPr>
          <p:cNvSpPr txBox="1">
            <a:spLocks/>
          </p:cNvSpPr>
          <p:nvPr/>
        </p:nvSpPr>
        <p:spPr>
          <a:xfrm>
            <a:off x="4368799" y="3185816"/>
            <a:ext cx="3454400" cy="1067880"/>
          </a:xfrm>
          <a:prstGeom prst="rect">
            <a:avLst/>
          </a:prstGeom>
        </p:spPr>
        <p:txBody>
          <a:bodyPr vert="horz" lIns="0" tIns="0" rIns="0" bIns="0" rtlCol="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buFont typeface="Arial" panose="020B0604020202020204" pitchFamily="34" charset="0"/>
              <a:buNone/>
            </a:pPr>
            <a:r>
              <a:rPr lang="en-US" sz="1800" b="1"/>
              <a:t>X2.6 (+4,330 GW)</a:t>
            </a:r>
          </a:p>
          <a:p>
            <a:pPr marL="0" indent="0">
              <a:buFont typeface="Arial" panose="020B0604020202020204" pitchFamily="34" charset="0"/>
              <a:buNone/>
            </a:pPr>
            <a:r>
              <a:rPr lang="en-US"/>
              <a:t>Renewable electricity capacity to be installed by 2030, mainly via photovoltaic and wind</a:t>
            </a:r>
          </a:p>
        </p:txBody>
      </p:sp>
      <p:sp>
        <p:nvSpPr>
          <p:cNvPr id="35" name="Content Placeholder 29">
            <a:extLst>
              <a:ext uri="{FF2B5EF4-FFF2-40B4-BE49-F238E27FC236}">
                <a16:creationId xmlns:a16="http://schemas.microsoft.com/office/drawing/2014/main" id="{137147A6-558E-B065-07AF-52594FB7376D}"/>
              </a:ext>
            </a:extLst>
          </p:cNvPr>
          <p:cNvSpPr txBox="1">
            <a:spLocks/>
          </p:cNvSpPr>
          <p:nvPr/>
        </p:nvSpPr>
        <p:spPr>
          <a:xfrm>
            <a:off x="4368799" y="4487968"/>
            <a:ext cx="3454400" cy="1067880"/>
          </a:xfrm>
          <a:prstGeom prst="rect">
            <a:avLst/>
          </a:prstGeom>
        </p:spPr>
        <p:txBody>
          <a:bodyPr vert="horz" lIns="0" tIns="0" rIns="0" bIns="0" rtlCol="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buFont typeface="Arial" panose="020B0604020202020204" pitchFamily="34" charset="0"/>
              <a:buNone/>
            </a:pPr>
            <a:r>
              <a:rPr lang="en-US" sz="1800" b="1"/>
              <a:t>€4.4 trillion</a:t>
            </a:r>
          </a:p>
          <a:p>
            <a:pPr marL="0" indent="0">
              <a:buFont typeface="Arial" panose="020B0604020202020204" pitchFamily="34" charset="0"/>
              <a:buNone/>
            </a:pPr>
            <a:r>
              <a:rPr lang="en-US"/>
              <a:t>To be in invested on electricity network during 2020-30 period:</a:t>
            </a:r>
          </a:p>
          <a:p>
            <a:pPr>
              <a:buSzPct val="100000"/>
            </a:pPr>
            <a:r>
              <a:rPr lang="en-US"/>
              <a:t>70% for new network development</a:t>
            </a:r>
          </a:p>
          <a:p>
            <a:pPr>
              <a:buSzPct val="100000"/>
            </a:pPr>
            <a:r>
              <a:rPr lang="en-US"/>
              <a:t>30% for ageing infrastructures replacement</a:t>
            </a:r>
          </a:p>
        </p:txBody>
      </p:sp>
      <p:sp>
        <p:nvSpPr>
          <p:cNvPr id="36" name="Oval 35">
            <a:extLst>
              <a:ext uri="{FF2B5EF4-FFF2-40B4-BE49-F238E27FC236}">
                <a16:creationId xmlns:a16="http://schemas.microsoft.com/office/drawing/2014/main" id="{9A6E6234-935C-6FBA-793E-1136988F5D15}"/>
              </a:ext>
            </a:extLst>
          </p:cNvPr>
          <p:cNvSpPr/>
          <p:nvPr/>
        </p:nvSpPr>
        <p:spPr>
          <a:xfrm>
            <a:off x="509286" y="3141022"/>
            <a:ext cx="1157468" cy="1157468"/>
          </a:xfrm>
          <a:prstGeom prst="ellipse">
            <a:avLst/>
          </a:prstGeom>
          <a:solidFill>
            <a:srgbClr val="DADADA"/>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3600" b="1" kern="0">
                <a:solidFill>
                  <a:schemeClr val="tx1"/>
                </a:solidFill>
              </a:rPr>
              <a:t>40</a:t>
            </a:r>
          </a:p>
          <a:p>
            <a:pPr algn="ctr"/>
            <a:r>
              <a:rPr lang="en-US" sz="1400" kern="0">
                <a:solidFill>
                  <a:schemeClr val="tx1"/>
                </a:solidFill>
              </a:rPr>
              <a:t>2019</a:t>
            </a:r>
            <a:endParaRPr lang="en-US" sz="1200" kern="0">
              <a:solidFill>
                <a:schemeClr val="tx1"/>
              </a:solidFill>
            </a:endParaRPr>
          </a:p>
        </p:txBody>
      </p:sp>
      <p:sp>
        <p:nvSpPr>
          <p:cNvPr id="37" name="Oval 36">
            <a:extLst>
              <a:ext uri="{FF2B5EF4-FFF2-40B4-BE49-F238E27FC236}">
                <a16:creationId xmlns:a16="http://schemas.microsoft.com/office/drawing/2014/main" id="{A87976E7-0AA3-B0BB-E265-0541C49B7617}"/>
              </a:ext>
            </a:extLst>
          </p:cNvPr>
          <p:cNvSpPr/>
          <p:nvPr/>
        </p:nvSpPr>
        <p:spPr>
          <a:xfrm>
            <a:off x="2349663" y="2938788"/>
            <a:ext cx="1561936" cy="1561936"/>
          </a:xfrm>
          <a:prstGeom prst="ellipse">
            <a:avLst/>
          </a:prstGeom>
          <a:solidFill>
            <a:srgbClr val="ADDFB3"/>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4000" b="1" kern="0">
                <a:solidFill>
                  <a:schemeClr val="tx1"/>
                </a:solidFill>
              </a:rPr>
              <a:t>62</a:t>
            </a:r>
          </a:p>
          <a:p>
            <a:pPr algn="ctr"/>
            <a:r>
              <a:rPr lang="en-US" sz="1400" kern="0">
                <a:solidFill>
                  <a:schemeClr val="tx1"/>
                </a:solidFill>
              </a:rPr>
              <a:t>2030e</a:t>
            </a:r>
          </a:p>
        </p:txBody>
      </p:sp>
      <p:sp>
        <p:nvSpPr>
          <p:cNvPr id="38" name="Speech Bubble: Rectangle 37">
            <a:extLst>
              <a:ext uri="{FF2B5EF4-FFF2-40B4-BE49-F238E27FC236}">
                <a16:creationId xmlns:a16="http://schemas.microsoft.com/office/drawing/2014/main" id="{F9EE9B4A-C98C-10DA-EEB4-81757227659B}"/>
              </a:ext>
            </a:extLst>
          </p:cNvPr>
          <p:cNvSpPr/>
          <p:nvPr/>
        </p:nvSpPr>
        <p:spPr>
          <a:xfrm>
            <a:off x="1331089" y="4823968"/>
            <a:ext cx="2580509" cy="1270000"/>
          </a:xfrm>
          <a:prstGeom prst="wedgeRectCallout">
            <a:avLst>
              <a:gd name="adj1" fmla="val 21447"/>
              <a:gd name="adj2" fmla="val -65551"/>
            </a:avLst>
          </a:prstGeom>
          <a:solidFill>
            <a:srgbClr val="F0F0F0"/>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r>
              <a:rPr lang="en-US" sz="1050" kern="0">
                <a:solidFill>
                  <a:schemeClr val="tx1"/>
                </a:solidFill>
                <a:sym typeface="+mn-lt"/>
              </a:rPr>
              <a:t>Market structure to consider as well with concentration &amp; maturity of DSOs varying </a:t>
            </a:r>
            <a:br>
              <a:rPr lang="en-US" sz="1050" kern="0">
                <a:solidFill>
                  <a:schemeClr val="tx1"/>
                </a:solidFill>
                <a:sym typeface="+mn-lt"/>
              </a:rPr>
            </a:br>
            <a:r>
              <a:rPr lang="en-US" sz="1050" kern="0">
                <a:solidFill>
                  <a:schemeClr val="tx1"/>
                </a:solidFill>
                <a:sym typeface="+mn-lt"/>
              </a:rPr>
              <a:t>from one country to another:</a:t>
            </a:r>
          </a:p>
          <a:p>
            <a:pPr marL="107996" indent="-107996">
              <a:spcBef>
                <a:spcPts val="500"/>
              </a:spcBef>
              <a:buSzPct val="100000"/>
              <a:buFont typeface="Arial" panose="020B0604020202020204" pitchFamily="34" charset="0"/>
              <a:buChar char="•"/>
            </a:pPr>
            <a:r>
              <a:rPr lang="en-US" sz="1050" kern="0">
                <a:solidFill>
                  <a:schemeClr val="tx1"/>
                </a:solidFill>
                <a:sym typeface="+mn-lt"/>
              </a:rPr>
              <a:t>Single DSO (e.g., </a:t>
            </a:r>
            <a:r>
              <a:rPr lang="en-US" sz="1050" kern="0" err="1">
                <a:solidFill>
                  <a:schemeClr val="tx1"/>
                </a:solidFill>
                <a:sym typeface="+mn-lt"/>
              </a:rPr>
              <a:t>Enedis</a:t>
            </a:r>
            <a:r>
              <a:rPr lang="en-US" sz="1050" kern="0">
                <a:solidFill>
                  <a:schemeClr val="tx1"/>
                </a:solidFill>
                <a:sym typeface="+mn-lt"/>
              </a:rPr>
              <a:t>, Enel)</a:t>
            </a:r>
          </a:p>
          <a:p>
            <a:pPr marL="107996" indent="-107996">
              <a:spcBef>
                <a:spcPts val="500"/>
              </a:spcBef>
              <a:buSzPct val="100000"/>
              <a:buFont typeface="Arial" panose="020B0604020202020204" pitchFamily="34" charset="0"/>
              <a:buChar char="•"/>
            </a:pPr>
            <a:r>
              <a:rPr lang="en-US" sz="1050" kern="0">
                <a:solidFill>
                  <a:schemeClr val="tx1"/>
                </a:solidFill>
                <a:sym typeface="+mn-lt"/>
              </a:rPr>
              <a:t>Vs. numerous ones (e.g., Germany)</a:t>
            </a:r>
          </a:p>
        </p:txBody>
      </p:sp>
      <p:cxnSp>
        <p:nvCxnSpPr>
          <p:cNvPr id="40" name="Straight Arrow Connector 39">
            <a:extLst>
              <a:ext uri="{FF2B5EF4-FFF2-40B4-BE49-F238E27FC236}">
                <a16:creationId xmlns:a16="http://schemas.microsoft.com/office/drawing/2014/main" id="{200AFF6F-B47B-64F1-AC4E-7E51426F8E51}"/>
              </a:ext>
            </a:extLst>
          </p:cNvPr>
          <p:cNvCxnSpPr>
            <a:cxnSpLocks/>
            <a:stCxn id="36" idx="6"/>
            <a:endCxn id="37" idx="2"/>
          </p:cNvCxnSpPr>
          <p:nvPr/>
        </p:nvCxnSpPr>
        <p:spPr>
          <a:xfrm>
            <a:off x="1666754" y="3719756"/>
            <a:ext cx="682909" cy="0"/>
          </a:xfrm>
          <a:prstGeom prst="straightConnector1">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B54BF41-E314-35C5-8F9E-BD801CEB5292}"/>
              </a:ext>
            </a:extLst>
          </p:cNvPr>
          <p:cNvSpPr txBox="1"/>
          <p:nvPr/>
        </p:nvSpPr>
        <p:spPr>
          <a:xfrm>
            <a:off x="1832207" y="3528753"/>
            <a:ext cx="309380" cy="161583"/>
          </a:xfrm>
          <a:prstGeom prst="rect">
            <a:avLst/>
          </a:prstGeom>
          <a:noFill/>
        </p:spPr>
        <p:txBody>
          <a:bodyPr wrap="none" lIns="0" tIns="0" rIns="0" bIns="0" rtlCol="0">
            <a:spAutoFit/>
          </a:bodyPr>
          <a:lstStyle/>
          <a:p>
            <a:pPr algn="l"/>
            <a:r>
              <a:rPr lang="en-US" sz="1050" kern="0"/>
              <a:t>CAGR</a:t>
            </a:r>
          </a:p>
        </p:txBody>
      </p:sp>
      <p:sp>
        <p:nvSpPr>
          <p:cNvPr id="44" name="TextBox 43">
            <a:extLst>
              <a:ext uri="{FF2B5EF4-FFF2-40B4-BE49-F238E27FC236}">
                <a16:creationId xmlns:a16="http://schemas.microsoft.com/office/drawing/2014/main" id="{FA38E87B-8C09-3B41-86EF-774E13829C14}"/>
              </a:ext>
            </a:extLst>
          </p:cNvPr>
          <p:cNvSpPr txBox="1"/>
          <p:nvPr/>
        </p:nvSpPr>
        <p:spPr>
          <a:xfrm>
            <a:off x="1850641" y="3766886"/>
            <a:ext cx="267702" cy="161583"/>
          </a:xfrm>
          <a:prstGeom prst="rect">
            <a:avLst/>
          </a:prstGeom>
          <a:noFill/>
        </p:spPr>
        <p:txBody>
          <a:bodyPr wrap="none" lIns="0" tIns="0" rIns="0" bIns="0" rtlCol="0">
            <a:spAutoFit/>
          </a:bodyPr>
          <a:lstStyle/>
          <a:p>
            <a:pPr algn="l"/>
            <a:r>
              <a:rPr lang="en-US" sz="1050" kern="0"/>
              <a:t>4.2%</a:t>
            </a:r>
          </a:p>
        </p:txBody>
      </p:sp>
      <p:pic>
        <p:nvPicPr>
          <p:cNvPr id="2" name="Picture 12">
            <a:extLst>
              <a:ext uri="{FF2B5EF4-FFF2-40B4-BE49-F238E27FC236}">
                <a16:creationId xmlns:a16="http://schemas.microsoft.com/office/drawing/2014/main" id="{0EF94C2B-EA4D-5B04-6786-EC8E1979D18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552923" y="5944644"/>
            <a:ext cx="987005" cy="29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4246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8687447-81B7-40E5-1DFC-06EC25342F4C}"/>
              </a:ext>
            </a:extLst>
          </p:cNvPr>
          <p:cNvGraphicFramePr>
            <a:graphicFrameLocks noChangeAspect="1"/>
          </p:cNvGraphicFramePr>
          <p:nvPr>
            <p:custDataLst>
              <p:tags r:id="rId1"/>
            </p:custDataLst>
            <p:extLst>
              <p:ext uri="{D42A27DB-BD31-4B8C-83A1-F6EECF244321}">
                <p14:modId xmlns:p14="http://schemas.microsoft.com/office/powerpoint/2010/main" val="274514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4" name="think-cell data - do not delete" hidden="1">
                        <a:extLst>
                          <a:ext uri="{FF2B5EF4-FFF2-40B4-BE49-F238E27FC236}">
                            <a16:creationId xmlns:a16="http://schemas.microsoft.com/office/drawing/2014/main" id="{18687447-81B7-40E5-1DFC-06EC25342F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5C67BB-1D24-19A5-030F-4B7C0AF3434F}"/>
              </a:ext>
            </a:extLst>
          </p:cNvPr>
          <p:cNvSpPr>
            <a:spLocks noGrp="1"/>
          </p:cNvSpPr>
          <p:nvPr>
            <p:ph type="title"/>
          </p:nvPr>
        </p:nvSpPr>
        <p:spPr/>
        <p:txBody>
          <a:bodyPr vert="horz"/>
          <a:lstStyle/>
          <a:p>
            <a:r>
              <a:rPr lang="en-GB"/>
              <a:t>Risks &amp; opportunities: utilities facing a “capex cliff”, while </a:t>
            </a:r>
            <a:r>
              <a:rPr lang="en-GB" err="1"/>
              <a:t>ewquiring</a:t>
            </a:r>
            <a:r>
              <a:rPr lang="en-GB"/>
              <a:t> to improve network resilience &amp; efficiency</a:t>
            </a:r>
          </a:p>
        </p:txBody>
      </p:sp>
      <p:sp>
        <p:nvSpPr>
          <p:cNvPr id="3" name="Ghost">
            <a:extLst>
              <a:ext uri="{FF2B5EF4-FFF2-40B4-BE49-F238E27FC236}">
                <a16:creationId xmlns:a16="http://schemas.microsoft.com/office/drawing/2014/main" id="{D59B7F6D-DD37-452B-1998-5E9ED33CEAA6}"/>
              </a:ext>
            </a:extLst>
          </p:cNvPr>
          <p:cNvSpPr/>
          <p:nvPr/>
        </p:nvSpPr>
        <p:spPr>
          <a:xfrm>
            <a:off x="457200" y="107385"/>
            <a:ext cx="2096728"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100" kern="0">
                <a:solidFill>
                  <a:schemeClr val="accent3"/>
                </a:solidFill>
              </a:rPr>
              <a:t>Nexans-specific trends – Distribution</a:t>
            </a:r>
          </a:p>
        </p:txBody>
      </p:sp>
      <p:grpSp>
        <p:nvGrpSpPr>
          <p:cNvPr id="15" name="Group 14">
            <a:extLst>
              <a:ext uri="{FF2B5EF4-FFF2-40B4-BE49-F238E27FC236}">
                <a16:creationId xmlns:a16="http://schemas.microsoft.com/office/drawing/2014/main" id="{7C90C894-545A-9ACA-4EC6-1B0B05980B3E}"/>
              </a:ext>
            </a:extLst>
          </p:cNvPr>
          <p:cNvGrpSpPr/>
          <p:nvPr/>
        </p:nvGrpSpPr>
        <p:grpSpPr>
          <a:xfrm>
            <a:off x="152821" y="1367758"/>
            <a:ext cx="11513500" cy="5033042"/>
            <a:chOff x="152821" y="1367758"/>
            <a:chExt cx="11513500" cy="5033042"/>
          </a:xfrm>
        </p:grpSpPr>
        <p:pic>
          <p:nvPicPr>
            <p:cNvPr id="4" name="Picture 3">
              <a:extLst>
                <a:ext uri="{FF2B5EF4-FFF2-40B4-BE49-F238E27FC236}">
                  <a16:creationId xmlns:a16="http://schemas.microsoft.com/office/drawing/2014/main" id="{5133DB3E-517E-686A-A6FC-67E9C6483DB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52821" y="1367758"/>
              <a:ext cx="11513500" cy="5033042"/>
            </a:xfrm>
            <a:prstGeom prst="rect">
              <a:avLst/>
            </a:prstGeom>
          </p:spPr>
        </p:pic>
        <p:sp>
          <p:nvSpPr>
            <p:cNvPr id="6" name="Rectangle 5">
              <a:extLst>
                <a:ext uri="{FF2B5EF4-FFF2-40B4-BE49-F238E27FC236}">
                  <a16:creationId xmlns:a16="http://schemas.microsoft.com/office/drawing/2014/main" id="{C4FEDA03-C885-E5EA-D183-EA64A044A483}"/>
                </a:ext>
              </a:extLst>
            </p:cNvPr>
            <p:cNvSpPr/>
            <p:nvPr/>
          </p:nvSpPr>
          <p:spPr>
            <a:xfrm>
              <a:off x="4418091" y="1367758"/>
              <a:ext cx="298764" cy="15322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7" name="Rectangle 6">
              <a:extLst>
                <a:ext uri="{FF2B5EF4-FFF2-40B4-BE49-F238E27FC236}">
                  <a16:creationId xmlns:a16="http://schemas.microsoft.com/office/drawing/2014/main" id="{4D975628-A45C-A789-DE6D-79DE32D7589C}"/>
                </a:ext>
              </a:extLst>
            </p:cNvPr>
            <p:cNvSpPr/>
            <p:nvPr/>
          </p:nvSpPr>
          <p:spPr>
            <a:xfrm>
              <a:off x="457199" y="5994078"/>
              <a:ext cx="140330" cy="298079"/>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 name="Rectangle 7">
              <a:extLst>
                <a:ext uri="{FF2B5EF4-FFF2-40B4-BE49-F238E27FC236}">
                  <a16:creationId xmlns:a16="http://schemas.microsoft.com/office/drawing/2014/main" id="{DC7643CB-2346-2E79-B5D3-AA65D126BB8F}"/>
                </a:ext>
              </a:extLst>
            </p:cNvPr>
            <p:cNvSpPr/>
            <p:nvPr/>
          </p:nvSpPr>
          <p:spPr>
            <a:xfrm>
              <a:off x="10560865" y="5812631"/>
              <a:ext cx="964195" cy="479525"/>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 name="Rectangle 8">
              <a:extLst>
                <a:ext uri="{FF2B5EF4-FFF2-40B4-BE49-F238E27FC236}">
                  <a16:creationId xmlns:a16="http://schemas.microsoft.com/office/drawing/2014/main" id="{315FEACA-5D61-D9BC-D40D-CD37EBCFAF6E}"/>
                </a:ext>
              </a:extLst>
            </p:cNvPr>
            <p:cNvSpPr/>
            <p:nvPr/>
          </p:nvSpPr>
          <p:spPr>
            <a:xfrm>
              <a:off x="10456090" y="5917406"/>
              <a:ext cx="104775" cy="298079"/>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grpSp>
      <p:pic>
        <p:nvPicPr>
          <p:cNvPr id="10" name="Picture 12">
            <a:extLst>
              <a:ext uri="{FF2B5EF4-FFF2-40B4-BE49-F238E27FC236}">
                <a16:creationId xmlns:a16="http://schemas.microsoft.com/office/drawing/2014/main" id="{83901265-9057-463B-3DD2-620D5E9C5DD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552923" y="5944644"/>
            <a:ext cx="987005" cy="29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2322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B2F9871-8EFF-5ACB-E596-0653F9EB89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think-cell data - do not delete" hidden="1">
                        <a:extLst>
                          <a:ext uri="{FF2B5EF4-FFF2-40B4-BE49-F238E27FC236}">
                            <a16:creationId xmlns:a16="http://schemas.microsoft.com/office/drawing/2014/main" id="{1B2F9871-8EFF-5ACB-E596-0653F9EB89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BE826D8-805A-5E9C-9F29-F70BFDEA6EB7}"/>
              </a:ext>
            </a:extLst>
          </p:cNvPr>
          <p:cNvSpPr>
            <a:spLocks noGrp="1"/>
          </p:cNvSpPr>
          <p:nvPr>
            <p:ph type="title"/>
          </p:nvPr>
        </p:nvSpPr>
        <p:spPr/>
        <p:txBody>
          <a:bodyPr vert="horz"/>
          <a:lstStyle/>
          <a:p>
            <a:r>
              <a:rPr lang="en-US"/>
              <a:t>MARKET TRENDS: Usages market is expected to grow in the mid term supported </a:t>
            </a:r>
            <a:br>
              <a:rPr lang="en-US"/>
            </a:br>
            <a:r>
              <a:rPr lang="en-US"/>
              <a:t>by demographics/urbanization, buildings electrification, etc.</a:t>
            </a:r>
          </a:p>
        </p:txBody>
      </p:sp>
      <p:sp>
        <p:nvSpPr>
          <p:cNvPr id="28" name="Text Placeholder 27">
            <a:extLst>
              <a:ext uri="{FF2B5EF4-FFF2-40B4-BE49-F238E27FC236}">
                <a16:creationId xmlns:a16="http://schemas.microsoft.com/office/drawing/2014/main" id="{39B86D97-70F7-4FBB-0C66-F995D8AF95A0}"/>
              </a:ext>
            </a:extLst>
          </p:cNvPr>
          <p:cNvSpPr>
            <a:spLocks noGrp="1"/>
          </p:cNvSpPr>
          <p:nvPr>
            <p:ph type="body" idx="10"/>
          </p:nvPr>
        </p:nvSpPr>
        <p:spPr/>
        <p:txBody>
          <a:bodyPr/>
          <a:lstStyle/>
          <a:p>
            <a:r>
              <a:rPr lang="en-US"/>
              <a:t>Cable market for distribution</a:t>
            </a:r>
          </a:p>
        </p:txBody>
      </p:sp>
      <p:sp>
        <p:nvSpPr>
          <p:cNvPr id="29" name="Content Placeholder 28">
            <a:extLst>
              <a:ext uri="{FF2B5EF4-FFF2-40B4-BE49-F238E27FC236}">
                <a16:creationId xmlns:a16="http://schemas.microsoft.com/office/drawing/2014/main" id="{D4BC8266-DA0D-225C-239F-BA293CEA238C}"/>
              </a:ext>
            </a:extLst>
          </p:cNvPr>
          <p:cNvSpPr>
            <a:spLocks noGrp="1"/>
          </p:cNvSpPr>
          <p:nvPr>
            <p:ph sz="half" idx="11"/>
          </p:nvPr>
        </p:nvSpPr>
        <p:spPr>
          <a:xfrm>
            <a:off x="457200" y="1883664"/>
            <a:ext cx="3454400" cy="575956"/>
          </a:xfrm>
        </p:spPr>
        <p:txBody>
          <a:bodyPr/>
          <a:lstStyle/>
          <a:p>
            <a:pPr marL="0" indent="0">
              <a:spcBef>
                <a:spcPts val="0"/>
              </a:spcBef>
              <a:buNone/>
            </a:pPr>
            <a:r>
              <a:rPr lang="en-US"/>
              <a:t>Distribution cable market, forecast</a:t>
            </a:r>
          </a:p>
          <a:p>
            <a:pPr marL="0" indent="0">
              <a:spcBef>
                <a:spcPts val="0"/>
              </a:spcBef>
              <a:buNone/>
            </a:pPr>
            <a:r>
              <a:rPr lang="en-US"/>
              <a:t>(EUR bn; 2019-30)</a:t>
            </a:r>
          </a:p>
        </p:txBody>
      </p:sp>
      <p:sp>
        <p:nvSpPr>
          <p:cNvPr id="31" name="Text Placeholder 30">
            <a:extLst>
              <a:ext uri="{FF2B5EF4-FFF2-40B4-BE49-F238E27FC236}">
                <a16:creationId xmlns:a16="http://schemas.microsoft.com/office/drawing/2014/main" id="{820E47F5-A715-3A4E-CF6D-4EDF6BAA3A55}"/>
              </a:ext>
            </a:extLst>
          </p:cNvPr>
          <p:cNvSpPr>
            <a:spLocks noGrp="1"/>
          </p:cNvSpPr>
          <p:nvPr>
            <p:ph type="body" sz="quarter" idx="13"/>
          </p:nvPr>
        </p:nvSpPr>
        <p:spPr/>
        <p:txBody>
          <a:bodyPr/>
          <a:lstStyle/>
          <a:p>
            <a:r>
              <a:rPr lang="en-US"/>
              <a:t>Key figures</a:t>
            </a:r>
          </a:p>
        </p:txBody>
      </p:sp>
      <p:sp>
        <p:nvSpPr>
          <p:cNvPr id="30" name="Content Placeholder 29">
            <a:extLst>
              <a:ext uri="{FF2B5EF4-FFF2-40B4-BE49-F238E27FC236}">
                <a16:creationId xmlns:a16="http://schemas.microsoft.com/office/drawing/2014/main" id="{78558AB3-B700-4D3C-82C1-1F1272BDEFFE}"/>
              </a:ext>
            </a:extLst>
          </p:cNvPr>
          <p:cNvSpPr>
            <a:spLocks noGrp="1"/>
          </p:cNvSpPr>
          <p:nvPr>
            <p:ph sz="quarter" idx="12"/>
          </p:nvPr>
        </p:nvSpPr>
        <p:spPr>
          <a:xfrm>
            <a:off x="4368799" y="1883664"/>
            <a:ext cx="3454400" cy="1067880"/>
          </a:xfrm>
        </p:spPr>
        <p:txBody>
          <a:bodyPr/>
          <a:lstStyle/>
          <a:p>
            <a:pPr marL="0" indent="0">
              <a:buNone/>
            </a:pPr>
            <a:r>
              <a:rPr lang="en-US" sz="1800" b="1"/>
              <a:t>+1.8 bn inhabitants</a:t>
            </a:r>
          </a:p>
          <a:p>
            <a:pPr marL="0" indent="0">
              <a:buNone/>
            </a:pPr>
            <a:r>
              <a:rPr lang="en-US"/>
              <a:t>To have access to electricity by 2030</a:t>
            </a:r>
          </a:p>
        </p:txBody>
      </p:sp>
      <p:sp>
        <p:nvSpPr>
          <p:cNvPr id="33" name="Text Placeholder 32">
            <a:extLst>
              <a:ext uri="{FF2B5EF4-FFF2-40B4-BE49-F238E27FC236}">
                <a16:creationId xmlns:a16="http://schemas.microsoft.com/office/drawing/2014/main" id="{5968B267-64DA-5FF2-1C3D-66971AEEC982}"/>
              </a:ext>
            </a:extLst>
          </p:cNvPr>
          <p:cNvSpPr>
            <a:spLocks noGrp="1"/>
          </p:cNvSpPr>
          <p:nvPr>
            <p:ph type="body" sz="quarter" idx="15"/>
          </p:nvPr>
        </p:nvSpPr>
        <p:spPr/>
        <p:txBody>
          <a:bodyPr/>
          <a:lstStyle/>
          <a:p>
            <a:r>
              <a:rPr lang="en-US"/>
              <a:t>Main growth drivers</a:t>
            </a:r>
          </a:p>
        </p:txBody>
      </p:sp>
      <p:sp>
        <p:nvSpPr>
          <p:cNvPr id="24" name="Ghost">
            <a:extLst>
              <a:ext uri="{FF2B5EF4-FFF2-40B4-BE49-F238E27FC236}">
                <a16:creationId xmlns:a16="http://schemas.microsoft.com/office/drawing/2014/main" id="{5C2445CA-DCBF-41D2-4945-C3D9FD5090CD}"/>
              </a:ext>
            </a:extLst>
          </p:cNvPr>
          <p:cNvSpPr/>
          <p:nvPr/>
        </p:nvSpPr>
        <p:spPr>
          <a:xfrm>
            <a:off x="457200" y="107385"/>
            <a:ext cx="182421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100" kern="0">
                <a:solidFill>
                  <a:schemeClr val="accent3"/>
                </a:solidFill>
              </a:rPr>
              <a:t>Nexans-specific trends – Usages</a:t>
            </a:r>
          </a:p>
        </p:txBody>
      </p:sp>
      <p:sp>
        <p:nvSpPr>
          <p:cNvPr id="34" name="Content Placeholder 29">
            <a:extLst>
              <a:ext uri="{FF2B5EF4-FFF2-40B4-BE49-F238E27FC236}">
                <a16:creationId xmlns:a16="http://schemas.microsoft.com/office/drawing/2014/main" id="{56F6D306-2578-53C4-D07E-F9840BA10D69}"/>
              </a:ext>
            </a:extLst>
          </p:cNvPr>
          <p:cNvSpPr txBox="1">
            <a:spLocks/>
          </p:cNvSpPr>
          <p:nvPr/>
        </p:nvSpPr>
        <p:spPr>
          <a:xfrm>
            <a:off x="4368799" y="2775950"/>
            <a:ext cx="3454400" cy="1067880"/>
          </a:xfrm>
          <a:prstGeom prst="rect">
            <a:avLst/>
          </a:prstGeom>
        </p:spPr>
        <p:txBody>
          <a:bodyPr vert="horz" lIns="0" tIns="0" rIns="0" bIns="0" rtlCol="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buFont typeface="Arial" panose="020B0604020202020204" pitchFamily="34" charset="0"/>
              <a:buNone/>
            </a:pPr>
            <a:r>
              <a:rPr lang="en-US" sz="1800" b="1"/>
              <a:t>-70% of imported power cables</a:t>
            </a:r>
          </a:p>
          <a:p>
            <a:pPr marL="0" indent="0">
              <a:buFont typeface="Arial" panose="020B0604020202020204" pitchFamily="34" charset="0"/>
              <a:buNone/>
            </a:pPr>
            <a:r>
              <a:rPr lang="en-US"/>
              <a:t>Are counterfeit in Sub-Saharan Africa</a:t>
            </a:r>
          </a:p>
        </p:txBody>
      </p:sp>
      <p:sp>
        <p:nvSpPr>
          <p:cNvPr id="35" name="Content Placeholder 29">
            <a:extLst>
              <a:ext uri="{FF2B5EF4-FFF2-40B4-BE49-F238E27FC236}">
                <a16:creationId xmlns:a16="http://schemas.microsoft.com/office/drawing/2014/main" id="{137147A6-558E-B065-07AF-52594FB7376D}"/>
              </a:ext>
            </a:extLst>
          </p:cNvPr>
          <p:cNvSpPr txBox="1">
            <a:spLocks/>
          </p:cNvSpPr>
          <p:nvPr/>
        </p:nvSpPr>
        <p:spPr>
          <a:xfrm>
            <a:off x="4368799" y="3735290"/>
            <a:ext cx="3454400" cy="1067880"/>
          </a:xfrm>
          <a:prstGeom prst="rect">
            <a:avLst/>
          </a:prstGeom>
        </p:spPr>
        <p:txBody>
          <a:bodyPr vert="horz" lIns="0" tIns="0" rIns="0" bIns="0" rtlCol="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buFont typeface="Arial" panose="020B0604020202020204" pitchFamily="34" charset="0"/>
              <a:buNone/>
            </a:pPr>
            <a:r>
              <a:rPr lang="en-US" sz="1800" b="1"/>
              <a:t>+3,5% growth in Europe</a:t>
            </a:r>
          </a:p>
          <a:p>
            <a:pPr marL="0" indent="0">
              <a:buFont typeface="Arial" panose="020B0604020202020204" pitchFamily="34" charset="0"/>
              <a:buNone/>
            </a:pPr>
            <a:r>
              <a:rPr lang="en-US"/>
              <a:t>For building cable market (CAGR 19-30)</a:t>
            </a:r>
          </a:p>
        </p:txBody>
      </p:sp>
      <p:sp>
        <p:nvSpPr>
          <p:cNvPr id="36" name="Oval 35">
            <a:extLst>
              <a:ext uri="{FF2B5EF4-FFF2-40B4-BE49-F238E27FC236}">
                <a16:creationId xmlns:a16="http://schemas.microsoft.com/office/drawing/2014/main" id="{9A6E6234-935C-6FBA-793E-1136988F5D15}"/>
              </a:ext>
            </a:extLst>
          </p:cNvPr>
          <p:cNvSpPr/>
          <p:nvPr/>
        </p:nvSpPr>
        <p:spPr>
          <a:xfrm>
            <a:off x="509286" y="3141022"/>
            <a:ext cx="1157468" cy="1157468"/>
          </a:xfrm>
          <a:prstGeom prst="ellipse">
            <a:avLst/>
          </a:prstGeom>
          <a:solidFill>
            <a:srgbClr val="DADADA"/>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3600" b="1" kern="0">
                <a:solidFill>
                  <a:schemeClr val="tx1"/>
                </a:solidFill>
              </a:rPr>
              <a:t>55</a:t>
            </a:r>
          </a:p>
          <a:p>
            <a:pPr algn="ctr"/>
            <a:r>
              <a:rPr lang="en-US" sz="1400" kern="0">
                <a:solidFill>
                  <a:schemeClr val="tx1"/>
                </a:solidFill>
              </a:rPr>
              <a:t>2019</a:t>
            </a:r>
          </a:p>
        </p:txBody>
      </p:sp>
      <p:sp>
        <p:nvSpPr>
          <p:cNvPr id="37" name="Oval 36">
            <a:extLst>
              <a:ext uri="{FF2B5EF4-FFF2-40B4-BE49-F238E27FC236}">
                <a16:creationId xmlns:a16="http://schemas.microsoft.com/office/drawing/2014/main" id="{A87976E7-0AA3-B0BB-E265-0541C49B7617}"/>
              </a:ext>
            </a:extLst>
          </p:cNvPr>
          <p:cNvSpPr/>
          <p:nvPr/>
        </p:nvSpPr>
        <p:spPr>
          <a:xfrm>
            <a:off x="2349663" y="2938788"/>
            <a:ext cx="1561936" cy="1561936"/>
          </a:xfrm>
          <a:prstGeom prst="ellipse">
            <a:avLst/>
          </a:prstGeom>
          <a:solidFill>
            <a:srgbClr val="FFE580"/>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4000" b="1" kern="0">
                <a:solidFill>
                  <a:schemeClr val="tx1"/>
                </a:solidFill>
              </a:rPr>
              <a:t>81</a:t>
            </a:r>
          </a:p>
          <a:p>
            <a:pPr algn="ctr"/>
            <a:r>
              <a:rPr lang="en-US" sz="1400" kern="0">
                <a:solidFill>
                  <a:schemeClr val="tx1"/>
                </a:solidFill>
              </a:rPr>
              <a:t>2030e</a:t>
            </a:r>
          </a:p>
        </p:txBody>
      </p:sp>
      <p:sp>
        <p:nvSpPr>
          <p:cNvPr id="38" name="Speech Bubble: Rectangle 37">
            <a:extLst>
              <a:ext uri="{FF2B5EF4-FFF2-40B4-BE49-F238E27FC236}">
                <a16:creationId xmlns:a16="http://schemas.microsoft.com/office/drawing/2014/main" id="{F9EE9B4A-C98C-10DA-EEB4-81757227659B}"/>
              </a:ext>
            </a:extLst>
          </p:cNvPr>
          <p:cNvSpPr/>
          <p:nvPr/>
        </p:nvSpPr>
        <p:spPr>
          <a:xfrm>
            <a:off x="1331089" y="4823968"/>
            <a:ext cx="2580509" cy="1270000"/>
          </a:xfrm>
          <a:prstGeom prst="wedgeRectCallout">
            <a:avLst>
              <a:gd name="adj1" fmla="val 21447"/>
              <a:gd name="adj2" fmla="val -65551"/>
            </a:avLst>
          </a:prstGeom>
          <a:solidFill>
            <a:srgbClr val="F0F0F0"/>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r>
              <a:rPr lang="en-US" sz="1050" kern="0">
                <a:solidFill>
                  <a:schemeClr val="tx1"/>
                </a:solidFill>
                <a:sym typeface="+mn-lt"/>
              </a:rPr>
              <a:t>Market structure to consider as well with presence of large distributors (e.g., Rexel, </a:t>
            </a:r>
            <a:r>
              <a:rPr lang="en-US" sz="1050" kern="0" err="1">
                <a:solidFill>
                  <a:schemeClr val="tx1"/>
                </a:solidFill>
                <a:sym typeface="+mn-lt"/>
              </a:rPr>
              <a:t>Sonepar</a:t>
            </a:r>
            <a:r>
              <a:rPr lang="en-US" sz="1050" kern="0">
                <a:solidFill>
                  <a:schemeClr val="tx1"/>
                </a:solidFill>
                <a:sym typeface="+mn-lt"/>
              </a:rPr>
              <a:t>) depending on market density and existing norms</a:t>
            </a:r>
          </a:p>
        </p:txBody>
      </p:sp>
      <p:cxnSp>
        <p:nvCxnSpPr>
          <p:cNvPr id="40" name="Straight Arrow Connector 39">
            <a:extLst>
              <a:ext uri="{FF2B5EF4-FFF2-40B4-BE49-F238E27FC236}">
                <a16:creationId xmlns:a16="http://schemas.microsoft.com/office/drawing/2014/main" id="{200AFF6F-B47B-64F1-AC4E-7E51426F8E51}"/>
              </a:ext>
            </a:extLst>
          </p:cNvPr>
          <p:cNvCxnSpPr>
            <a:cxnSpLocks/>
            <a:stCxn id="36" idx="6"/>
            <a:endCxn id="37" idx="2"/>
          </p:cNvCxnSpPr>
          <p:nvPr/>
        </p:nvCxnSpPr>
        <p:spPr>
          <a:xfrm>
            <a:off x="1666754" y="3719756"/>
            <a:ext cx="682909" cy="0"/>
          </a:xfrm>
          <a:prstGeom prst="straightConnector1">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B54BF41-E314-35C5-8F9E-BD801CEB5292}"/>
              </a:ext>
            </a:extLst>
          </p:cNvPr>
          <p:cNvSpPr txBox="1"/>
          <p:nvPr/>
        </p:nvSpPr>
        <p:spPr>
          <a:xfrm>
            <a:off x="1832207" y="3528753"/>
            <a:ext cx="309380" cy="161583"/>
          </a:xfrm>
          <a:prstGeom prst="rect">
            <a:avLst/>
          </a:prstGeom>
          <a:noFill/>
        </p:spPr>
        <p:txBody>
          <a:bodyPr wrap="none" lIns="0" tIns="0" rIns="0" bIns="0" rtlCol="0">
            <a:spAutoFit/>
          </a:bodyPr>
          <a:lstStyle/>
          <a:p>
            <a:pPr algn="l"/>
            <a:r>
              <a:rPr lang="en-US" sz="1050" kern="0"/>
              <a:t>CAGR</a:t>
            </a:r>
          </a:p>
        </p:txBody>
      </p:sp>
      <p:sp>
        <p:nvSpPr>
          <p:cNvPr id="44" name="TextBox 43">
            <a:extLst>
              <a:ext uri="{FF2B5EF4-FFF2-40B4-BE49-F238E27FC236}">
                <a16:creationId xmlns:a16="http://schemas.microsoft.com/office/drawing/2014/main" id="{FA38E87B-8C09-3B41-86EF-774E13829C14}"/>
              </a:ext>
            </a:extLst>
          </p:cNvPr>
          <p:cNvSpPr txBox="1"/>
          <p:nvPr/>
        </p:nvSpPr>
        <p:spPr>
          <a:xfrm>
            <a:off x="1850641" y="3766886"/>
            <a:ext cx="267702" cy="161583"/>
          </a:xfrm>
          <a:prstGeom prst="rect">
            <a:avLst/>
          </a:prstGeom>
          <a:noFill/>
        </p:spPr>
        <p:txBody>
          <a:bodyPr wrap="none" lIns="0" tIns="0" rIns="0" bIns="0" rtlCol="0">
            <a:spAutoFit/>
          </a:bodyPr>
          <a:lstStyle/>
          <a:p>
            <a:pPr algn="l"/>
            <a:r>
              <a:rPr lang="en-US" sz="1050" kern="0"/>
              <a:t>3.6%</a:t>
            </a:r>
          </a:p>
        </p:txBody>
      </p:sp>
      <p:sp>
        <p:nvSpPr>
          <p:cNvPr id="26" name="Content Placeholder 29">
            <a:extLst>
              <a:ext uri="{FF2B5EF4-FFF2-40B4-BE49-F238E27FC236}">
                <a16:creationId xmlns:a16="http://schemas.microsoft.com/office/drawing/2014/main" id="{8622E30A-660B-F770-C6EB-E1BAF0506F06}"/>
              </a:ext>
            </a:extLst>
          </p:cNvPr>
          <p:cNvSpPr txBox="1">
            <a:spLocks/>
          </p:cNvSpPr>
          <p:nvPr/>
        </p:nvSpPr>
        <p:spPr>
          <a:xfrm>
            <a:off x="4368799" y="4627576"/>
            <a:ext cx="3454400" cy="1067880"/>
          </a:xfrm>
          <a:prstGeom prst="rect">
            <a:avLst/>
          </a:prstGeom>
        </p:spPr>
        <p:txBody>
          <a:bodyPr vert="horz" lIns="0" tIns="0" rIns="0" bIns="0" rtlCol="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buFont typeface="Arial" panose="020B0604020202020204" pitchFamily="34" charset="0"/>
              <a:buNone/>
            </a:pPr>
            <a:r>
              <a:rPr lang="en-US" sz="1800" b="1"/>
              <a:t>+30M OF EVCS</a:t>
            </a:r>
          </a:p>
          <a:p>
            <a:pPr marL="0" indent="0">
              <a:buFont typeface="Arial" panose="020B0604020202020204" pitchFamily="34" charset="0"/>
              <a:buNone/>
            </a:pPr>
            <a:r>
              <a:rPr lang="en-US"/>
              <a:t>To be installed between 2019 and 2030 </a:t>
            </a:r>
            <a:br>
              <a:rPr lang="en-US"/>
            </a:br>
            <a:r>
              <a:rPr lang="en-US"/>
              <a:t>in Europe</a:t>
            </a:r>
          </a:p>
        </p:txBody>
      </p:sp>
      <p:sp>
        <p:nvSpPr>
          <p:cNvPr id="32" name="Content Placeholder 31">
            <a:extLst>
              <a:ext uri="{FF2B5EF4-FFF2-40B4-BE49-F238E27FC236}">
                <a16:creationId xmlns:a16="http://schemas.microsoft.com/office/drawing/2014/main" id="{F49F8F68-EC79-29F2-1A80-4C9A471AD4DC}"/>
              </a:ext>
            </a:extLst>
          </p:cNvPr>
          <p:cNvSpPr>
            <a:spLocks noGrp="1"/>
          </p:cNvSpPr>
          <p:nvPr>
            <p:ph sz="quarter" idx="14"/>
          </p:nvPr>
        </p:nvSpPr>
        <p:spPr/>
        <p:txBody>
          <a:bodyPr/>
          <a:lstStyle/>
          <a:p>
            <a:pPr marL="0" indent="0">
              <a:buNone/>
            </a:pPr>
            <a:r>
              <a:rPr lang="en-US" b="1"/>
              <a:t>In emerging countries:</a:t>
            </a:r>
          </a:p>
          <a:p>
            <a:r>
              <a:rPr lang="en-US"/>
              <a:t>New buildings with on going urbanization</a:t>
            </a:r>
          </a:p>
          <a:p>
            <a:r>
              <a:rPr lang="en-US"/>
              <a:t>Improvement of substandard housing in urban areas</a:t>
            </a:r>
          </a:p>
          <a:p>
            <a:r>
              <a:rPr lang="en-US"/>
              <a:t>Electrification of buildings in rural areas</a:t>
            </a:r>
          </a:p>
          <a:p>
            <a:endParaRPr lang="en-US"/>
          </a:p>
          <a:p>
            <a:pPr marL="0" indent="0">
              <a:buNone/>
            </a:pPr>
            <a:r>
              <a:rPr lang="en-US" b="1"/>
              <a:t>In industrialization countries:</a:t>
            </a:r>
          </a:p>
          <a:p>
            <a:r>
              <a:rPr lang="en-US"/>
              <a:t>Development of smart buildings with increase of connected devices</a:t>
            </a:r>
          </a:p>
          <a:p>
            <a:r>
              <a:rPr lang="en-US"/>
              <a:t>New constructions methods (incl. BIM </a:t>
            </a:r>
            <a:br>
              <a:rPr lang="en-US"/>
            </a:br>
            <a:r>
              <a:rPr lang="en-US"/>
              <a:t>and modular construction)</a:t>
            </a:r>
          </a:p>
          <a:p>
            <a:r>
              <a:rPr lang="en-US"/>
              <a:t>Energy savings drivers in exiting buildings </a:t>
            </a:r>
            <a:br>
              <a:rPr lang="en-US"/>
            </a:br>
            <a:r>
              <a:rPr lang="en-US"/>
              <a:t>to retrofit &amp; heat pump growth from gas</a:t>
            </a:r>
          </a:p>
        </p:txBody>
      </p:sp>
      <p:pic>
        <p:nvPicPr>
          <p:cNvPr id="3" name="Picture 12">
            <a:extLst>
              <a:ext uri="{FF2B5EF4-FFF2-40B4-BE49-F238E27FC236}">
                <a16:creationId xmlns:a16="http://schemas.microsoft.com/office/drawing/2014/main" id="{9E9283E6-6B13-4100-D9DB-A49F1668B3D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552923" y="5944644"/>
            <a:ext cx="987005" cy="29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92300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427025C-51A4-DCEA-28DF-95D9DE24D46E}"/>
              </a:ext>
            </a:extLst>
          </p:cNvPr>
          <p:cNvGraphicFramePr>
            <a:graphicFrameLocks noChangeAspect="1"/>
          </p:cNvGraphicFramePr>
          <p:nvPr>
            <p:custDataLst>
              <p:tags r:id="rId1"/>
            </p:custDataLst>
            <p:extLst>
              <p:ext uri="{D42A27DB-BD31-4B8C-83A1-F6EECF244321}">
                <p14:modId xmlns:p14="http://schemas.microsoft.com/office/powerpoint/2010/main" val="3284088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4427025C-51A4-DCEA-28DF-95D9DE24D4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C3E401-D526-0989-56AD-028DA802B5BB}"/>
              </a:ext>
            </a:extLst>
          </p:cNvPr>
          <p:cNvSpPr>
            <a:spLocks noGrp="1"/>
          </p:cNvSpPr>
          <p:nvPr>
            <p:ph type="title"/>
          </p:nvPr>
        </p:nvSpPr>
        <p:spPr/>
        <p:txBody>
          <a:bodyPr vert="horz"/>
          <a:lstStyle/>
          <a:p>
            <a:r>
              <a:rPr lang="en-GB"/>
              <a:t>Risks &amp; Opportunities – usages market exposed to likely economic slow down</a:t>
            </a:r>
          </a:p>
        </p:txBody>
      </p:sp>
      <p:sp>
        <p:nvSpPr>
          <p:cNvPr id="15" name="Ghost">
            <a:extLst>
              <a:ext uri="{FF2B5EF4-FFF2-40B4-BE49-F238E27FC236}">
                <a16:creationId xmlns:a16="http://schemas.microsoft.com/office/drawing/2014/main" id="{A218772E-9225-E18C-C23E-78266C987BBA}"/>
              </a:ext>
            </a:extLst>
          </p:cNvPr>
          <p:cNvSpPr/>
          <p:nvPr/>
        </p:nvSpPr>
        <p:spPr>
          <a:xfrm>
            <a:off x="457200" y="107385"/>
            <a:ext cx="182421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100" kern="0">
                <a:solidFill>
                  <a:schemeClr val="accent3"/>
                </a:solidFill>
              </a:rPr>
              <a:t>Nexans-specific trends – Usages</a:t>
            </a:r>
          </a:p>
        </p:txBody>
      </p:sp>
      <p:grpSp>
        <p:nvGrpSpPr>
          <p:cNvPr id="20" name="Group 19">
            <a:extLst>
              <a:ext uri="{FF2B5EF4-FFF2-40B4-BE49-F238E27FC236}">
                <a16:creationId xmlns:a16="http://schemas.microsoft.com/office/drawing/2014/main" id="{A8D8F425-C976-E6D8-D8AD-A43DDF794E37}"/>
              </a:ext>
            </a:extLst>
          </p:cNvPr>
          <p:cNvGrpSpPr/>
          <p:nvPr/>
        </p:nvGrpSpPr>
        <p:grpSpPr>
          <a:xfrm>
            <a:off x="216196" y="1142999"/>
            <a:ext cx="11480900" cy="5257801"/>
            <a:chOff x="216196" y="1142999"/>
            <a:chExt cx="11480900" cy="5257801"/>
          </a:xfrm>
        </p:grpSpPr>
        <p:pic>
          <p:nvPicPr>
            <p:cNvPr id="4" name="Picture 3">
              <a:extLst>
                <a:ext uri="{FF2B5EF4-FFF2-40B4-BE49-F238E27FC236}">
                  <a16:creationId xmlns:a16="http://schemas.microsoft.com/office/drawing/2014/main" id="{AA5D1483-5DE8-F906-679E-E37481FC195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16196" y="1142999"/>
              <a:ext cx="11480900" cy="5257801"/>
            </a:xfrm>
            <a:prstGeom prst="rect">
              <a:avLst/>
            </a:prstGeom>
          </p:spPr>
        </p:pic>
        <p:sp>
          <p:nvSpPr>
            <p:cNvPr id="16" name="Rectangle 15">
              <a:extLst>
                <a:ext uri="{FF2B5EF4-FFF2-40B4-BE49-F238E27FC236}">
                  <a16:creationId xmlns:a16="http://schemas.microsoft.com/office/drawing/2014/main" id="{8A7B0F8F-DAA3-9C8D-61B8-358D76E65A46}"/>
                </a:ext>
              </a:extLst>
            </p:cNvPr>
            <p:cNvSpPr/>
            <p:nvPr/>
          </p:nvSpPr>
          <p:spPr>
            <a:xfrm>
              <a:off x="457199" y="5994078"/>
              <a:ext cx="140330" cy="298079"/>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17" name="Rectangle 16">
              <a:extLst>
                <a:ext uri="{FF2B5EF4-FFF2-40B4-BE49-F238E27FC236}">
                  <a16:creationId xmlns:a16="http://schemas.microsoft.com/office/drawing/2014/main" id="{88F0A76E-F67F-76CC-1C10-0348D3481247}"/>
                </a:ext>
              </a:extLst>
            </p:cNvPr>
            <p:cNvSpPr/>
            <p:nvPr/>
          </p:nvSpPr>
          <p:spPr>
            <a:xfrm>
              <a:off x="10447699" y="5848540"/>
              <a:ext cx="1095469" cy="44361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grpSp>
      <p:pic>
        <p:nvPicPr>
          <p:cNvPr id="18" name="Picture 12">
            <a:extLst>
              <a:ext uri="{FF2B5EF4-FFF2-40B4-BE49-F238E27FC236}">
                <a16:creationId xmlns:a16="http://schemas.microsoft.com/office/drawing/2014/main" id="{AF587B12-27FE-2E88-6417-2339B31882EC}"/>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552923" y="5944644"/>
            <a:ext cx="987005" cy="29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1203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3FF5668-EBFF-42EF-88EA-CA906C8AA923}"/>
              </a:ext>
            </a:extLst>
          </p:cNvPr>
          <p:cNvPicPr>
            <a:picLocks noChangeAspect="1"/>
          </p:cNvPicPr>
          <p:nvPr/>
        </p:nvPicPr>
        <p:blipFill>
          <a:blip r:embed="rId3"/>
          <a:srcRect/>
          <a:stretch/>
        </p:blipFill>
        <p:spPr>
          <a:xfrm>
            <a:off x="1" y="0"/>
            <a:ext cx="12191998" cy="6857999"/>
          </a:xfrm>
          <a:prstGeom prst="rect">
            <a:avLst/>
          </a:prstGeom>
        </p:spPr>
      </p:pic>
      <p:sp>
        <p:nvSpPr>
          <p:cNvPr id="3" name="TextBox 2">
            <a:extLst>
              <a:ext uri="{FF2B5EF4-FFF2-40B4-BE49-F238E27FC236}">
                <a16:creationId xmlns:a16="http://schemas.microsoft.com/office/drawing/2014/main" id="{C243F4C3-A137-45E2-8717-8B666F35F61E}"/>
              </a:ext>
            </a:extLst>
          </p:cNvPr>
          <p:cNvSpPr txBox="1"/>
          <p:nvPr/>
        </p:nvSpPr>
        <p:spPr>
          <a:xfrm>
            <a:off x="457199" y="876470"/>
            <a:ext cx="2842259" cy="1737527"/>
          </a:xfrm>
          <a:prstGeom prst="rect">
            <a:avLst/>
          </a:prstGeom>
          <a:noFill/>
        </p:spPr>
        <p:txBody>
          <a:bodyPr wrap="square" lIns="0" tIns="0" rIns="0" bIns="0" rtlCol="0" anchor="b">
            <a:spAutoFit/>
          </a:bodyPr>
          <a:lstStyle/>
          <a:p>
            <a:pPr>
              <a:lnSpc>
                <a:spcPct val="85000"/>
              </a:lnSpc>
            </a:pPr>
            <a:r>
              <a:rPr lang="en-GB" sz="6600" b="1" cap="all">
                <a:solidFill>
                  <a:schemeClr val="bg1"/>
                </a:solidFill>
                <a:latin typeface="+mj-lt"/>
              </a:rPr>
              <a:t>SHORT BREAK</a:t>
            </a:r>
          </a:p>
        </p:txBody>
      </p:sp>
      <p:sp>
        <p:nvSpPr>
          <p:cNvPr id="4" name="TextBox 3">
            <a:extLst>
              <a:ext uri="{FF2B5EF4-FFF2-40B4-BE49-F238E27FC236}">
                <a16:creationId xmlns:a16="http://schemas.microsoft.com/office/drawing/2014/main" id="{C3C86BE1-5AB5-47B9-B816-90406AF33782}"/>
              </a:ext>
            </a:extLst>
          </p:cNvPr>
          <p:cNvSpPr txBox="1"/>
          <p:nvPr/>
        </p:nvSpPr>
        <p:spPr>
          <a:xfrm>
            <a:off x="457200" y="2699881"/>
            <a:ext cx="2842258" cy="861774"/>
          </a:xfrm>
          <a:prstGeom prst="rect">
            <a:avLst/>
          </a:prstGeom>
          <a:noFill/>
        </p:spPr>
        <p:txBody>
          <a:bodyPr wrap="square" lIns="0" tIns="0" rIns="0" bIns="0" rtlCol="0">
            <a:spAutoFit/>
          </a:bodyPr>
          <a:lstStyle/>
          <a:p>
            <a:r>
              <a:rPr lang="en-GB" sz="2800">
                <a:solidFill>
                  <a:schemeClr val="bg1"/>
                </a:solidFill>
              </a:rPr>
              <a:t>Workshop will resume at 10:30</a:t>
            </a:r>
          </a:p>
        </p:txBody>
      </p:sp>
    </p:spTree>
    <p:extLst>
      <p:ext uri="{BB962C8B-B14F-4D97-AF65-F5344CB8AC3E}">
        <p14:creationId xmlns:p14="http://schemas.microsoft.com/office/powerpoint/2010/main" val="33232057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748155-56E0-47A3-9A3B-4D595A1669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26748155-56E0-47A3-9A3B-4D595A1669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water&#10;&#10;Description automatically generated">
            <a:extLst>
              <a:ext uri="{FF2B5EF4-FFF2-40B4-BE49-F238E27FC236}">
                <a16:creationId xmlns:a16="http://schemas.microsoft.com/office/drawing/2014/main" id="{8871BC40-B834-E141-4B8E-119A3572854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
          <a:stretch/>
        </p:blipFill>
        <p:spPr>
          <a:xfrm>
            <a:off x="0" y="0"/>
            <a:ext cx="2524539" cy="6858000"/>
          </a:xfrm>
          <a:prstGeom prst="rect">
            <a:avLst/>
          </a:prstGeom>
        </p:spPr>
      </p:pic>
      <p:sp>
        <p:nvSpPr>
          <p:cNvPr id="2" name="Title 1">
            <a:extLst>
              <a:ext uri="{FF2B5EF4-FFF2-40B4-BE49-F238E27FC236}">
                <a16:creationId xmlns:a16="http://schemas.microsoft.com/office/drawing/2014/main" id="{E7B5CCD4-8826-4E2F-BE5D-170E8A517FFF}"/>
              </a:ext>
            </a:extLst>
          </p:cNvPr>
          <p:cNvSpPr>
            <a:spLocks noGrp="1"/>
          </p:cNvSpPr>
          <p:nvPr>
            <p:ph type="title"/>
          </p:nvPr>
        </p:nvSpPr>
        <p:spPr>
          <a:xfrm>
            <a:off x="2967382" y="384048"/>
            <a:ext cx="8767418" cy="758952"/>
          </a:xfrm>
        </p:spPr>
        <p:txBody>
          <a:bodyPr vert="horz"/>
          <a:lstStyle/>
          <a:p>
            <a:r>
              <a:rPr lang="en-GB"/>
              <a:t>Agenda for this workshop</a:t>
            </a:r>
          </a:p>
        </p:txBody>
      </p:sp>
      <p:sp>
        <p:nvSpPr>
          <p:cNvPr id="9" name="Oval 8">
            <a:extLst>
              <a:ext uri="{FF2B5EF4-FFF2-40B4-BE49-F238E27FC236}">
                <a16:creationId xmlns:a16="http://schemas.microsoft.com/office/drawing/2014/main" id="{3E7EB780-A806-4E1E-9B01-6077A71D2E33}"/>
              </a:ext>
            </a:extLst>
          </p:cNvPr>
          <p:cNvSpPr/>
          <p:nvPr/>
        </p:nvSpPr>
        <p:spPr>
          <a:xfrm>
            <a:off x="2133844" y="228846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800" b="1" kern="0">
                <a:solidFill>
                  <a:schemeClr val="accent3"/>
                </a:solidFill>
                <a:latin typeface="MMC Display Condensed"/>
              </a:rPr>
              <a:t>1</a:t>
            </a:r>
            <a:endParaRPr kumimoji="0" lang="en-GB" sz="2800" b="1" i="0" u="none" strike="noStrike" kern="0" cap="none" spc="0" normalizeH="0" baseline="0">
              <a:ln>
                <a:noFill/>
              </a:ln>
              <a:solidFill>
                <a:schemeClr val="accent3"/>
              </a:solidFill>
              <a:effectLst/>
              <a:uLnTx/>
              <a:uFillTx/>
              <a:latin typeface="MMC Display Condensed"/>
              <a:ea typeface="+mn-ea"/>
              <a:cs typeface="+mn-cs"/>
            </a:endParaRPr>
          </a:p>
        </p:txBody>
      </p:sp>
      <p:sp>
        <p:nvSpPr>
          <p:cNvPr id="10" name="Oval 9">
            <a:extLst>
              <a:ext uri="{FF2B5EF4-FFF2-40B4-BE49-F238E27FC236}">
                <a16:creationId xmlns:a16="http://schemas.microsoft.com/office/drawing/2014/main" id="{58A7118C-E150-46CC-A998-0F89A970B9CC}"/>
              </a:ext>
            </a:extLst>
          </p:cNvPr>
          <p:cNvSpPr/>
          <p:nvPr/>
        </p:nvSpPr>
        <p:spPr>
          <a:xfrm>
            <a:off x="2133844" y="317534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a:ln>
                  <a:noFill/>
                </a:ln>
                <a:solidFill>
                  <a:schemeClr val="accent3"/>
                </a:solidFill>
                <a:effectLst/>
                <a:uLnTx/>
                <a:uFillTx/>
                <a:latin typeface="MMC Display Condensed"/>
                <a:ea typeface="+mn-ea"/>
                <a:cs typeface="+mn-cs"/>
              </a:rPr>
              <a:t>2</a:t>
            </a:r>
          </a:p>
        </p:txBody>
      </p:sp>
      <p:sp>
        <p:nvSpPr>
          <p:cNvPr id="11" name="Oval 10">
            <a:extLst>
              <a:ext uri="{FF2B5EF4-FFF2-40B4-BE49-F238E27FC236}">
                <a16:creationId xmlns:a16="http://schemas.microsoft.com/office/drawing/2014/main" id="{700C0EB8-FDAE-4FBC-99A2-74FFE2084AC1}"/>
              </a:ext>
            </a:extLst>
          </p:cNvPr>
          <p:cNvSpPr/>
          <p:nvPr/>
        </p:nvSpPr>
        <p:spPr>
          <a:xfrm>
            <a:off x="2133844" y="406222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800" b="1" kern="0">
                <a:solidFill>
                  <a:schemeClr val="accent3"/>
                </a:solidFill>
                <a:latin typeface="MMC Display Condensed"/>
              </a:rPr>
              <a:t>3</a:t>
            </a:r>
            <a:endParaRPr kumimoji="0" lang="en-GB" sz="2800" b="1" i="0" u="none" strike="noStrike" kern="0" cap="none" spc="0" normalizeH="0" baseline="0">
              <a:ln>
                <a:noFill/>
              </a:ln>
              <a:solidFill>
                <a:schemeClr val="accent3"/>
              </a:solidFill>
              <a:effectLst/>
              <a:uLnTx/>
              <a:uFillTx/>
              <a:latin typeface="MMC Display Condensed"/>
              <a:ea typeface="+mn-ea"/>
              <a:cs typeface="+mn-cs"/>
            </a:endParaRPr>
          </a:p>
        </p:txBody>
      </p:sp>
      <p:sp>
        <p:nvSpPr>
          <p:cNvPr id="5" name="Rectangle 4">
            <a:extLst>
              <a:ext uri="{FF2B5EF4-FFF2-40B4-BE49-F238E27FC236}">
                <a16:creationId xmlns:a16="http://schemas.microsoft.com/office/drawing/2014/main" id="{2511FD99-7B2E-46DA-AD75-F5959D0274DA}"/>
              </a:ext>
            </a:extLst>
          </p:cNvPr>
          <p:cNvSpPr/>
          <p:nvPr/>
        </p:nvSpPr>
        <p:spPr>
          <a:xfrm>
            <a:off x="2967382" y="225728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accent3"/>
                </a:solidFill>
              </a:rPr>
              <a:t>Permacrisis overview</a:t>
            </a:r>
          </a:p>
          <a:p>
            <a:r>
              <a:rPr lang="en-GB" sz="1400" kern="0">
                <a:solidFill>
                  <a:schemeClr val="accent3"/>
                </a:solidFill>
              </a:rPr>
              <a:t>Presentation of global risks and expected disruptions</a:t>
            </a:r>
          </a:p>
        </p:txBody>
      </p:sp>
      <p:sp>
        <p:nvSpPr>
          <p:cNvPr id="20" name="Rectangle 19">
            <a:extLst>
              <a:ext uri="{FF2B5EF4-FFF2-40B4-BE49-F238E27FC236}">
                <a16:creationId xmlns:a16="http://schemas.microsoft.com/office/drawing/2014/main" id="{45B27300-4458-46CC-B3F9-57F98DE412AB}"/>
              </a:ext>
            </a:extLst>
          </p:cNvPr>
          <p:cNvSpPr/>
          <p:nvPr/>
        </p:nvSpPr>
        <p:spPr>
          <a:xfrm>
            <a:off x="2967382" y="314416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70" eaLnBrk="1" fontAlgn="auto" latinLnBrk="0" hangingPunct="1">
              <a:lnSpc>
                <a:spcPct val="100000"/>
              </a:lnSpc>
              <a:spcBef>
                <a:spcPts val="0"/>
              </a:spcBef>
              <a:spcAft>
                <a:spcPts val="0"/>
              </a:spcAft>
              <a:buClrTx/>
              <a:buSzTx/>
              <a:buFontTx/>
              <a:buNone/>
              <a:tabLst/>
              <a:defRPr/>
            </a:pPr>
            <a:r>
              <a:rPr lang="en-GB" b="1">
                <a:solidFill>
                  <a:schemeClr val="accent3"/>
                </a:solidFill>
                <a:ea typeface="Times New Roman" panose="02020603050405020304" pitchFamily="18" charset="0"/>
              </a:rPr>
              <a:t>Risks &amp; opportunities deep-dive</a:t>
            </a:r>
          </a:p>
          <a:p>
            <a:pPr marL="0" marR="0" lvl="0" indent="0" algn="l" defTabSz="914370" eaLnBrk="1" fontAlgn="auto" latinLnBrk="0" hangingPunct="1">
              <a:lnSpc>
                <a:spcPct val="100000"/>
              </a:lnSpc>
              <a:spcBef>
                <a:spcPts val="0"/>
              </a:spcBef>
              <a:spcAft>
                <a:spcPts val="0"/>
              </a:spcAft>
              <a:buClrTx/>
              <a:buSzTx/>
              <a:buFontTx/>
              <a:buNone/>
              <a:tabLst/>
              <a:defRPr/>
            </a:pPr>
            <a:r>
              <a:rPr lang="en-GB" sz="1400">
                <a:solidFill>
                  <a:schemeClr val="accent3"/>
                </a:solidFill>
                <a:ea typeface="Times New Roman" panose="02020603050405020304" pitchFamily="18" charset="0"/>
              </a:rPr>
              <a:t>Open discussion to align on major risks &amp; opportunities affecting Nexans in Asia</a:t>
            </a:r>
          </a:p>
        </p:txBody>
      </p:sp>
      <p:sp>
        <p:nvSpPr>
          <p:cNvPr id="21" name="Rectangle 20">
            <a:extLst>
              <a:ext uri="{FF2B5EF4-FFF2-40B4-BE49-F238E27FC236}">
                <a16:creationId xmlns:a16="http://schemas.microsoft.com/office/drawing/2014/main" id="{4ED825AB-D88C-4388-A11E-C9554C920BD1}"/>
              </a:ext>
            </a:extLst>
          </p:cNvPr>
          <p:cNvSpPr/>
          <p:nvPr/>
        </p:nvSpPr>
        <p:spPr>
          <a:xfrm>
            <a:off x="2967382" y="403104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accent3"/>
                </a:solidFill>
              </a:rPr>
              <a:t>Coffee break</a:t>
            </a:r>
            <a:endParaRPr lang="en-GB" sz="1400" kern="0">
              <a:solidFill>
                <a:schemeClr val="accent3"/>
              </a:solidFill>
            </a:endParaRPr>
          </a:p>
        </p:txBody>
      </p:sp>
      <p:sp>
        <p:nvSpPr>
          <p:cNvPr id="13" name="TextBox 12">
            <a:extLst>
              <a:ext uri="{FF2B5EF4-FFF2-40B4-BE49-F238E27FC236}">
                <a16:creationId xmlns:a16="http://schemas.microsoft.com/office/drawing/2014/main" id="{521DD162-3FB4-4461-4E45-4FEF61663B7B}"/>
              </a:ext>
            </a:extLst>
          </p:cNvPr>
          <p:cNvSpPr txBox="1">
            <a:spLocks/>
          </p:cNvSpPr>
          <p:nvPr/>
        </p:nvSpPr>
        <p:spPr>
          <a:xfrm>
            <a:off x="10487492" y="2566376"/>
            <a:ext cx="1259246" cy="215444"/>
          </a:xfrm>
          <a:prstGeom prst="rect">
            <a:avLst/>
          </a:prstGeom>
          <a:noFill/>
        </p:spPr>
        <p:txBody>
          <a:bodyPr wrap="square" lIns="0" tIns="0" rIns="0" bIns="0" rtlCol="0">
            <a:spAutoFit/>
          </a:bodyPr>
          <a:lstStyle/>
          <a:p>
            <a:r>
              <a:rPr lang="en-GB" sz="1400" i="1" kern="0">
                <a:solidFill>
                  <a:schemeClr val="accent3"/>
                </a:solidFill>
              </a:rPr>
              <a:t>08h30 – 09h15</a:t>
            </a:r>
          </a:p>
        </p:txBody>
      </p:sp>
      <p:sp>
        <p:nvSpPr>
          <p:cNvPr id="14" name="TextBox 13">
            <a:extLst>
              <a:ext uri="{FF2B5EF4-FFF2-40B4-BE49-F238E27FC236}">
                <a16:creationId xmlns:a16="http://schemas.microsoft.com/office/drawing/2014/main" id="{856A1F5D-FFED-CAEC-ADA3-EBBECF179C0F}"/>
              </a:ext>
            </a:extLst>
          </p:cNvPr>
          <p:cNvSpPr txBox="1">
            <a:spLocks/>
          </p:cNvSpPr>
          <p:nvPr/>
        </p:nvSpPr>
        <p:spPr>
          <a:xfrm>
            <a:off x="10487492" y="3453256"/>
            <a:ext cx="1259246" cy="215444"/>
          </a:xfrm>
          <a:prstGeom prst="rect">
            <a:avLst/>
          </a:prstGeom>
          <a:noFill/>
        </p:spPr>
        <p:txBody>
          <a:bodyPr wrap="square" lIns="0" tIns="0" rIns="0" bIns="0" rtlCol="0">
            <a:spAutoFit/>
          </a:bodyPr>
          <a:lstStyle>
            <a:defPPr>
              <a:defRPr lang="en-US"/>
            </a:defPPr>
            <a:lvl1pPr>
              <a:defRPr sz="1400" i="1" kern="0">
                <a:solidFill>
                  <a:schemeClr val="accent3"/>
                </a:solidFill>
              </a:defRPr>
            </a:lvl1pPr>
          </a:lstStyle>
          <a:p>
            <a:r>
              <a:rPr lang="en-GB"/>
              <a:t>09h15 – 10h15</a:t>
            </a:r>
          </a:p>
        </p:txBody>
      </p:sp>
      <p:sp>
        <p:nvSpPr>
          <p:cNvPr id="15" name="TextBox 14">
            <a:extLst>
              <a:ext uri="{FF2B5EF4-FFF2-40B4-BE49-F238E27FC236}">
                <a16:creationId xmlns:a16="http://schemas.microsoft.com/office/drawing/2014/main" id="{0F93F637-2801-8862-7DBE-893391AA1E77}"/>
              </a:ext>
            </a:extLst>
          </p:cNvPr>
          <p:cNvSpPr txBox="1">
            <a:spLocks/>
          </p:cNvSpPr>
          <p:nvPr/>
        </p:nvSpPr>
        <p:spPr>
          <a:xfrm>
            <a:off x="10487492" y="4340136"/>
            <a:ext cx="1259246" cy="215444"/>
          </a:xfrm>
          <a:prstGeom prst="rect">
            <a:avLst/>
          </a:prstGeom>
          <a:noFill/>
        </p:spPr>
        <p:txBody>
          <a:bodyPr wrap="square" lIns="0" tIns="0" rIns="0" bIns="0" rtlCol="0">
            <a:spAutoFit/>
          </a:bodyPr>
          <a:lstStyle/>
          <a:p>
            <a:r>
              <a:rPr lang="en-GB" sz="1400" i="1" kern="0">
                <a:solidFill>
                  <a:schemeClr val="accent3"/>
                </a:solidFill>
              </a:rPr>
              <a:t>10h15 – 10h30</a:t>
            </a:r>
          </a:p>
        </p:txBody>
      </p:sp>
      <p:sp>
        <p:nvSpPr>
          <p:cNvPr id="16" name="Oval 15">
            <a:extLst>
              <a:ext uri="{FF2B5EF4-FFF2-40B4-BE49-F238E27FC236}">
                <a16:creationId xmlns:a16="http://schemas.microsoft.com/office/drawing/2014/main" id="{95F9DE53-C029-8E41-5106-D49EEFBB2A31}"/>
              </a:ext>
            </a:extLst>
          </p:cNvPr>
          <p:cNvSpPr/>
          <p:nvPr/>
        </p:nvSpPr>
        <p:spPr>
          <a:xfrm>
            <a:off x="2133844" y="4980286"/>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a:ln>
                  <a:noFill/>
                </a:ln>
                <a:solidFill>
                  <a:schemeClr val="tx2"/>
                </a:solidFill>
                <a:effectLst/>
                <a:uLnTx/>
                <a:uFillTx/>
                <a:latin typeface="MMC Display Condensed"/>
                <a:ea typeface="+mn-ea"/>
                <a:cs typeface="+mn-cs"/>
              </a:rPr>
              <a:t>4</a:t>
            </a:r>
          </a:p>
        </p:txBody>
      </p:sp>
      <p:sp>
        <p:nvSpPr>
          <p:cNvPr id="17" name="Rectangle 16">
            <a:extLst>
              <a:ext uri="{FF2B5EF4-FFF2-40B4-BE49-F238E27FC236}">
                <a16:creationId xmlns:a16="http://schemas.microsoft.com/office/drawing/2014/main" id="{C41E1B99-5C08-2224-7A9E-BFE68D784190}"/>
              </a:ext>
            </a:extLst>
          </p:cNvPr>
          <p:cNvSpPr/>
          <p:nvPr/>
        </p:nvSpPr>
        <p:spPr>
          <a:xfrm>
            <a:off x="2967382" y="4949105"/>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tx2"/>
                </a:solidFill>
              </a:rPr>
              <a:t>Permacrisis Profit Patterns design</a:t>
            </a:r>
          </a:p>
          <a:p>
            <a:r>
              <a:rPr lang="en-GB" sz="1400" kern="0">
                <a:solidFill>
                  <a:schemeClr val="tx2"/>
                </a:solidFill>
              </a:rPr>
              <a:t>Design patterns for a risk-adjusted business model, answering major risks &amp; opportunities for Nexans in Asia</a:t>
            </a:r>
          </a:p>
        </p:txBody>
      </p:sp>
      <p:sp>
        <p:nvSpPr>
          <p:cNvPr id="18" name="TextBox 17">
            <a:extLst>
              <a:ext uri="{FF2B5EF4-FFF2-40B4-BE49-F238E27FC236}">
                <a16:creationId xmlns:a16="http://schemas.microsoft.com/office/drawing/2014/main" id="{79CB84BB-613B-6A41-2E24-B16C0C1F4554}"/>
              </a:ext>
            </a:extLst>
          </p:cNvPr>
          <p:cNvSpPr txBox="1">
            <a:spLocks/>
          </p:cNvSpPr>
          <p:nvPr/>
        </p:nvSpPr>
        <p:spPr>
          <a:xfrm>
            <a:off x="10487492" y="5258197"/>
            <a:ext cx="1259246" cy="215444"/>
          </a:xfrm>
          <a:prstGeom prst="rect">
            <a:avLst/>
          </a:prstGeom>
          <a:noFill/>
        </p:spPr>
        <p:txBody>
          <a:bodyPr wrap="square" lIns="0" tIns="0" rIns="0" bIns="0" rtlCol="0">
            <a:spAutoFit/>
          </a:bodyPr>
          <a:lstStyle>
            <a:defPPr>
              <a:defRPr lang="en-US"/>
            </a:defPPr>
            <a:lvl1pPr>
              <a:defRPr sz="1400" i="1" kern="0">
                <a:solidFill>
                  <a:schemeClr val="tx2"/>
                </a:solidFill>
              </a:defRPr>
            </a:lvl1pPr>
          </a:lstStyle>
          <a:p>
            <a:r>
              <a:rPr lang="en-GB"/>
              <a:t>10h30 – 12h30</a:t>
            </a:r>
          </a:p>
        </p:txBody>
      </p:sp>
    </p:spTree>
    <p:extLst>
      <p:ext uri="{BB962C8B-B14F-4D97-AF65-F5344CB8AC3E}">
        <p14:creationId xmlns:p14="http://schemas.microsoft.com/office/powerpoint/2010/main" val="23572985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922178-D387-4CBD-8C1C-C31D76404B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04922178-D387-4CBD-8C1C-C31D76404B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9">
            <a:extLst>
              <a:ext uri="{FF2B5EF4-FFF2-40B4-BE49-F238E27FC236}">
                <a16:creationId xmlns:a16="http://schemas.microsoft.com/office/drawing/2014/main" id="{0A4AAB8C-DF2B-4DD1-AAA8-35227DC3579B}"/>
              </a:ext>
            </a:extLst>
          </p:cNvPr>
          <p:cNvSpPr txBox="1">
            <a:spLocks/>
          </p:cNvSpPr>
          <p:nvPr/>
        </p:nvSpPr>
        <p:spPr>
          <a:xfrm>
            <a:off x="457200" y="384048"/>
            <a:ext cx="11277600" cy="758952"/>
          </a:xfrm>
          <a:prstGeom prst="rect">
            <a:avLst/>
          </a:prstGeom>
        </p:spPr>
        <p:txBody>
          <a:bodyPr vert="horz"/>
          <a:lstStyle>
            <a:lvl1pPr algn="l" defTabSz="914370" rtl="0" eaLnBrk="1" latinLnBrk="0" hangingPunct="1">
              <a:lnSpc>
                <a:spcPct val="90000"/>
              </a:lnSpc>
              <a:spcBef>
                <a:spcPct val="0"/>
              </a:spcBef>
              <a:buNone/>
              <a:defRPr sz="2800" b="1" kern="0" cap="all" baseline="0">
                <a:solidFill>
                  <a:schemeClr val="tx1"/>
                </a:solidFill>
                <a:latin typeface="+mj-lt"/>
                <a:ea typeface="+mj-ea"/>
                <a:cs typeface="+mj-cs"/>
              </a:defRPr>
            </a:lvl1pPr>
          </a:lstStyle>
          <a:p>
            <a:pPr marL="0" marR="0" lvl="0" indent="0" algn="l" defTabSz="914370" rtl="0" eaLnBrk="1" fontAlgn="auto" latinLnBrk="0" hangingPunct="1">
              <a:lnSpc>
                <a:spcPct val="90000"/>
              </a:lnSpc>
              <a:spcBef>
                <a:spcPct val="0"/>
              </a:spcBef>
              <a:spcAft>
                <a:spcPts val="0"/>
              </a:spcAft>
              <a:buClrTx/>
              <a:buSzTx/>
              <a:buFontTx/>
              <a:buNone/>
              <a:tabLst/>
              <a:defRPr/>
            </a:pPr>
            <a:endParaRPr kumimoji="0" lang="en-GB" sz="2800" b="1" i="0" u="none" strike="noStrike" kern="0" cap="all" spc="0" normalizeH="0" baseline="0" noProof="0">
              <a:ln>
                <a:noFill/>
              </a:ln>
              <a:solidFill>
                <a:srgbClr val="000000"/>
              </a:solidFill>
              <a:effectLst/>
              <a:uLnTx/>
              <a:uFillTx/>
              <a:latin typeface="MMC Display Condensed"/>
              <a:ea typeface="+mj-ea"/>
              <a:cs typeface="+mj-cs"/>
            </a:endParaRPr>
          </a:p>
        </p:txBody>
      </p:sp>
      <p:sp>
        <p:nvSpPr>
          <p:cNvPr id="6" name="Title 2">
            <a:extLst>
              <a:ext uri="{FF2B5EF4-FFF2-40B4-BE49-F238E27FC236}">
                <a16:creationId xmlns:a16="http://schemas.microsoft.com/office/drawing/2014/main" id="{F99D1B89-E9A3-4FB3-ADBF-06151F2763B6}"/>
              </a:ext>
            </a:extLst>
          </p:cNvPr>
          <p:cNvSpPr>
            <a:spLocks noGrp="1"/>
          </p:cNvSpPr>
          <p:nvPr>
            <p:ph type="title"/>
          </p:nvPr>
        </p:nvSpPr>
        <p:spPr/>
        <p:txBody>
          <a:bodyPr vert="horz"/>
          <a:lstStyle/>
          <a:p>
            <a:r>
              <a:rPr lang="en-GB"/>
              <a:t>Permacrisis Profit Patterns to be investigated can be mapped along 4 dimensions – we will discuss them in detail during this chapter</a:t>
            </a:r>
          </a:p>
        </p:txBody>
      </p:sp>
      <p:sp>
        <p:nvSpPr>
          <p:cNvPr id="26" name="Rectangle 25">
            <a:extLst>
              <a:ext uri="{FF2B5EF4-FFF2-40B4-BE49-F238E27FC236}">
                <a16:creationId xmlns:a16="http://schemas.microsoft.com/office/drawing/2014/main" id="{C589F2E8-D4C2-B8ED-5F61-9ABA5E588CA3}"/>
              </a:ext>
            </a:extLst>
          </p:cNvPr>
          <p:cNvSpPr/>
          <p:nvPr/>
        </p:nvSpPr>
        <p:spPr>
          <a:xfrm>
            <a:off x="451999" y="2683316"/>
            <a:ext cx="2726815" cy="3717484"/>
          </a:xfrm>
          <a:prstGeom prst="rect">
            <a:avLst/>
          </a:prstGeom>
          <a:solidFill>
            <a:schemeClr val="bg1"/>
          </a:solidFill>
          <a:ln w="9525">
            <a:no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47" name="Rectangle 46">
            <a:extLst>
              <a:ext uri="{FF2B5EF4-FFF2-40B4-BE49-F238E27FC236}">
                <a16:creationId xmlns:a16="http://schemas.microsoft.com/office/drawing/2014/main" id="{087EAFA9-C675-4A7F-C317-91EDA2D55514}"/>
              </a:ext>
            </a:extLst>
          </p:cNvPr>
          <p:cNvSpPr/>
          <p:nvPr/>
        </p:nvSpPr>
        <p:spPr>
          <a:xfrm>
            <a:off x="3311089" y="2683316"/>
            <a:ext cx="2726815" cy="3717484"/>
          </a:xfrm>
          <a:prstGeom prst="rect">
            <a:avLst/>
          </a:prstGeom>
          <a:solidFill>
            <a:schemeClr val="bg1"/>
          </a:solidFill>
          <a:ln w="9525">
            <a:no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77" name="Rectangle 76">
            <a:extLst>
              <a:ext uri="{FF2B5EF4-FFF2-40B4-BE49-F238E27FC236}">
                <a16:creationId xmlns:a16="http://schemas.microsoft.com/office/drawing/2014/main" id="{872EC6EA-5EEA-C501-3724-F6F83735323E}"/>
              </a:ext>
            </a:extLst>
          </p:cNvPr>
          <p:cNvSpPr/>
          <p:nvPr/>
        </p:nvSpPr>
        <p:spPr>
          <a:xfrm>
            <a:off x="6170179" y="2683316"/>
            <a:ext cx="2726815" cy="3717484"/>
          </a:xfrm>
          <a:prstGeom prst="rect">
            <a:avLst/>
          </a:prstGeom>
          <a:solidFill>
            <a:schemeClr val="bg1"/>
          </a:solidFill>
          <a:ln w="9525">
            <a:no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78" name="Rectangle 77">
            <a:extLst>
              <a:ext uri="{FF2B5EF4-FFF2-40B4-BE49-F238E27FC236}">
                <a16:creationId xmlns:a16="http://schemas.microsoft.com/office/drawing/2014/main" id="{7D25E845-7012-CCB5-C494-914020E4F34B}"/>
              </a:ext>
            </a:extLst>
          </p:cNvPr>
          <p:cNvSpPr/>
          <p:nvPr/>
        </p:nvSpPr>
        <p:spPr>
          <a:xfrm>
            <a:off x="8999870" y="2683316"/>
            <a:ext cx="2726815" cy="3717484"/>
          </a:xfrm>
          <a:prstGeom prst="rect">
            <a:avLst/>
          </a:prstGeom>
          <a:solidFill>
            <a:schemeClr val="bg1"/>
          </a:solidFill>
          <a:ln w="9525">
            <a:no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79" name="Oval 78">
            <a:extLst>
              <a:ext uri="{FF2B5EF4-FFF2-40B4-BE49-F238E27FC236}">
                <a16:creationId xmlns:a16="http://schemas.microsoft.com/office/drawing/2014/main" id="{6F03A5E0-FEB1-FC12-21B5-5BAE59EC0C73}"/>
              </a:ext>
            </a:extLst>
          </p:cNvPr>
          <p:cNvSpPr/>
          <p:nvPr/>
        </p:nvSpPr>
        <p:spPr>
          <a:xfrm>
            <a:off x="9195157" y="508109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0" name="Oval 79">
            <a:extLst>
              <a:ext uri="{FF2B5EF4-FFF2-40B4-BE49-F238E27FC236}">
                <a16:creationId xmlns:a16="http://schemas.microsoft.com/office/drawing/2014/main" id="{ACDCB392-CC23-1BB9-D09D-B2CE89834F67}"/>
              </a:ext>
            </a:extLst>
          </p:cNvPr>
          <p:cNvSpPr/>
          <p:nvPr/>
        </p:nvSpPr>
        <p:spPr>
          <a:xfrm>
            <a:off x="602755" y="2824303"/>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1" name="Oval 80">
            <a:extLst>
              <a:ext uri="{FF2B5EF4-FFF2-40B4-BE49-F238E27FC236}">
                <a16:creationId xmlns:a16="http://schemas.microsoft.com/office/drawing/2014/main" id="{EA5782F1-FB2D-F2F2-1194-6F48AD726663}"/>
              </a:ext>
            </a:extLst>
          </p:cNvPr>
          <p:cNvSpPr/>
          <p:nvPr/>
        </p:nvSpPr>
        <p:spPr>
          <a:xfrm>
            <a:off x="602755" y="3532231"/>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2" name="Oval 81">
            <a:extLst>
              <a:ext uri="{FF2B5EF4-FFF2-40B4-BE49-F238E27FC236}">
                <a16:creationId xmlns:a16="http://schemas.microsoft.com/office/drawing/2014/main" id="{5CEBF2D7-9A45-E842-04E5-3A8B9DA9A143}"/>
              </a:ext>
            </a:extLst>
          </p:cNvPr>
          <p:cNvSpPr/>
          <p:nvPr/>
        </p:nvSpPr>
        <p:spPr>
          <a:xfrm>
            <a:off x="602755" y="4364619"/>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3" name="Oval 82">
            <a:extLst>
              <a:ext uri="{FF2B5EF4-FFF2-40B4-BE49-F238E27FC236}">
                <a16:creationId xmlns:a16="http://schemas.microsoft.com/office/drawing/2014/main" id="{0B6E6FA7-D4DF-760E-E44C-C7744A133885}"/>
              </a:ext>
            </a:extLst>
          </p:cNvPr>
          <p:cNvSpPr/>
          <p:nvPr/>
        </p:nvSpPr>
        <p:spPr>
          <a:xfrm>
            <a:off x="602755" y="5205264"/>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sp>
        <p:nvSpPr>
          <p:cNvPr id="84" name="Oval 83">
            <a:extLst>
              <a:ext uri="{FF2B5EF4-FFF2-40B4-BE49-F238E27FC236}">
                <a16:creationId xmlns:a16="http://schemas.microsoft.com/office/drawing/2014/main" id="{781F5162-68E4-B36F-9DA7-A846728FC763}"/>
              </a:ext>
            </a:extLst>
          </p:cNvPr>
          <p:cNvSpPr/>
          <p:nvPr/>
        </p:nvSpPr>
        <p:spPr>
          <a:xfrm>
            <a:off x="3513377" y="2824303"/>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6" name="Oval 85">
            <a:extLst>
              <a:ext uri="{FF2B5EF4-FFF2-40B4-BE49-F238E27FC236}">
                <a16:creationId xmlns:a16="http://schemas.microsoft.com/office/drawing/2014/main" id="{C072E859-6E43-BA98-B830-29013670723B}"/>
              </a:ext>
            </a:extLst>
          </p:cNvPr>
          <p:cNvSpPr/>
          <p:nvPr/>
        </p:nvSpPr>
        <p:spPr>
          <a:xfrm>
            <a:off x="3513377" y="3466832"/>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7" name="Oval 86">
            <a:extLst>
              <a:ext uri="{FF2B5EF4-FFF2-40B4-BE49-F238E27FC236}">
                <a16:creationId xmlns:a16="http://schemas.microsoft.com/office/drawing/2014/main" id="{212908F9-C731-7815-3019-6F397038B794}"/>
              </a:ext>
            </a:extLst>
          </p:cNvPr>
          <p:cNvSpPr/>
          <p:nvPr/>
        </p:nvSpPr>
        <p:spPr>
          <a:xfrm>
            <a:off x="3513377" y="4328790"/>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8" name="Oval 87">
            <a:extLst>
              <a:ext uri="{FF2B5EF4-FFF2-40B4-BE49-F238E27FC236}">
                <a16:creationId xmlns:a16="http://schemas.microsoft.com/office/drawing/2014/main" id="{FF9108C5-4AAC-B8FB-DB3B-D7BB4BE17ED9}"/>
              </a:ext>
            </a:extLst>
          </p:cNvPr>
          <p:cNvSpPr/>
          <p:nvPr/>
        </p:nvSpPr>
        <p:spPr>
          <a:xfrm>
            <a:off x="3513377" y="522551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9" name="Oval 88">
            <a:extLst>
              <a:ext uri="{FF2B5EF4-FFF2-40B4-BE49-F238E27FC236}">
                <a16:creationId xmlns:a16="http://schemas.microsoft.com/office/drawing/2014/main" id="{7413F942-188D-43B6-A81F-A9EE1AAF76A4}"/>
              </a:ext>
            </a:extLst>
          </p:cNvPr>
          <p:cNvSpPr/>
          <p:nvPr/>
        </p:nvSpPr>
        <p:spPr>
          <a:xfrm>
            <a:off x="6345626" y="2824303"/>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0" name="Oval 89">
            <a:extLst>
              <a:ext uri="{FF2B5EF4-FFF2-40B4-BE49-F238E27FC236}">
                <a16:creationId xmlns:a16="http://schemas.microsoft.com/office/drawing/2014/main" id="{9B4B04A0-D702-0CC9-0F51-3658A921DE5C}"/>
              </a:ext>
            </a:extLst>
          </p:cNvPr>
          <p:cNvSpPr/>
          <p:nvPr/>
        </p:nvSpPr>
        <p:spPr>
          <a:xfrm>
            <a:off x="6345626" y="3544559"/>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1" name="Oval 90">
            <a:extLst>
              <a:ext uri="{FF2B5EF4-FFF2-40B4-BE49-F238E27FC236}">
                <a16:creationId xmlns:a16="http://schemas.microsoft.com/office/drawing/2014/main" id="{FAD54D36-97E4-12B6-90F3-15D7539E1E30}"/>
              </a:ext>
            </a:extLst>
          </p:cNvPr>
          <p:cNvSpPr/>
          <p:nvPr/>
        </p:nvSpPr>
        <p:spPr>
          <a:xfrm>
            <a:off x="6345626" y="4328790"/>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2" name="Oval 91">
            <a:extLst>
              <a:ext uri="{FF2B5EF4-FFF2-40B4-BE49-F238E27FC236}">
                <a16:creationId xmlns:a16="http://schemas.microsoft.com/office/drawing/2014/main" id="{59ECFC95-529E-1EF3-2B4B-F3972797B73A}"/>
              </a:ext>
            </a:extLst>
          </p:cNvPr>
          <p:cNvSpPr/>
          <p:nvPr/>
        </p:nvSpPr>
        <p:spPr>
          <a:xfrm>
            <a:off x="6345626" y="5107467"/>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3" name="Oval 92">
            <a:extLst>
              <a:ext uri="{FF2B5EF4-FFF2-40B4-BE49-F238E27FC236}">
                <a16:creationId xmlns:a16="http://schemas.microsoft.com/office/drawing/2014/main" id="{7CA5D8BD-1950-A339-F6E0-8E3C2C919514}"/>
              </a:ext>
            </a:extLst>
          </p:cNvPr>
          <p:cNvSpPr/>
          <p:nvPr/>
        </p:nvSpPr>
        <p:spPr>
          <a:xfrm>
            <a:off x="6345626" y="588593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4" name="Oval 93">
            <a:extLst>
              <a:ext uri="{FF2B5EF4-FFF2-40B4-BE49-F238E27FC236}">
                <a16:creationId xmlns:a16="http://schemas.microsoft.com/office/drawing/2014/main" id="{141A7488-ECFE-6DB4-8168-603EAF7AE4F4}"/>
              </a:ext>
            </a:extLst>
          </p:cNvPr>
          <p:cNvSpPr/>
          <p:nvPr/>
        </p:nvSpPr>
        <p:spPr>
          <a:xfrm>
            <a:off x="9195157" y="2765882"/>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5" name="Oval 94">
            <a:extLst>
              <a:ext uri="{FF2B5EF4-FFF2-40B4-BE49-F238E27FC236}">
                <a16:creationId xmlns:a16="http://schemas.microsoft.com/office/drawing/2014/main" id="{37985485-3B7E-F58E-F5F7-6614A26ED08A}"/>
              </a:ext>
            </a:extLst>
          </p:cNvPr>
          <p:cNvSpPr/>
          <p:nvPr/>
        </p:nvSpPr>
        <p:spPr>
          <a:xfrm>
            <a:off x="9195157" y="3544559"/>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6" name="Oval 95">
            <a:extLst>
              <a:ext uri="{FF2B5EF4-FFF2-40B4-BE49-F238E27FC236}">
                <a16:creationId xmlns:a16="http://schemas.microsoft.com/office/drawing/2014/main" id="{FBDE0DA3-9F14-B4E2-7A98-57B19A79DD7F}"/>
              </a:ext>
            </a:extLst>
          </p:cNvPr>
          <p:cNvSpPr/>
          <p:nvPr/>
        </p:nvSpPr>
        <p:spPr>
          <a:xfrm>
            <a:off x="9195157" y="4307190"/>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97" name="ico-tactic">
            <a:extLst>
              <a:ext uri="{FF2B5EF4-FFF2-40B4-BE49-F238E27FC236}">
                <a16:creationId xmlns:a16="http://schemas.microsoft.com/office/drawing/2014/main" id="{C4CC2B21-D842-752E-F463-1740575DA9BE}"/>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5400000">
            <a:off x="602755" y="5205264"/>
            <a:ext cx="317594" cy="317594"/>
          </a:xfrm>
          <a:prstGeom prst="rect">
            <a:avLst/>
          </a:prstGeom>
        </p:spPr>
      </p:pic>
      <p:pic>
        <p:nvPicPr>
          <p:cNvPr id="98" name="ico-research">
            <a:extLst>
              <a:ext uri="{FF2B5EF4-FFF2-40B4-BE49-F238E27FC236}">
                <a16:creationId xmlns:a16="http://schemas.microsoft.com/office/drawing/2014/main" id="{6487003B-0513-59CA-241A-F98219A3BDAF}"/>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02755" y="2824303"/>
            <a:ext cx="317594" cy="317594"/>
          </a:xfrm>
          <a:prstGeom prst="rect">
            <a:avLst/>
          </a:prstGeom>
        </p:spPr>
      </p:pic>
      <p:sp>
        <p:nvSpPr>
          <p:cNvPr id="99" name="Rectangle 98">
            <a:extLst>
              <a:ext uri="{FF2B5EF4-FFF2-40B4-BE49-F238E27FC236}">
                <a16:creationId xmlns:a16="http://schemas.microsoft.com/office/drawing/2014/main" id="{13446587-76E5-6508-6BC6-23BA2DA25C54}"/>
              </a:ext>
            </a:extLst>
          </p:cNvPr>
          <p:cNvSpPr/>
          <p:nvPr/>
        </p:nvSpPr>
        <p:spPr>
          <a:xfrm>
            <a:off x="9019333" y="1751276"/>
            <a:ext cx="2714625" cy="472951"/>
          </a:xfrm>
          <a:prstGeom prst="rect">
            <a:avLst/>
          </a:prstGeom>
          <a:solidFill>
            <a:srgbClr val="76D3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FF31EA59-BF50-C5E0-7B22-CFEA4213B5C2}"/>
              </a:ext>
            </a:extLst>
          </p:cNvPr>
          <p:cNvSpPr txBox="1">
            <a:spLocks/>
          </p:cNvSpPr>
          <p:nvPr/>
        </p:nvSpPr>
        <p:spPr>
          <a:xfrm>
            <a:off x="9107099" y="1727826"/>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latin typeface="MMC Display Condensed"/>
                <a:cs typeface="Arial"/>
              </a:rPr>
              <a:t>D</a:t>
            </a:r>
            <a:endParaRPr kumimoji="0" lang="en-GB" sz="3600" b="1" i="0" u="none" strike="noStrike" kern="0" cap="none" spc="0" normalizeH="0" baseline="0" noProof="0">
              <a:ln>
                <a:noFill/>
              </a:ln>
              <a:effectLst/>
              <a:uLnTx/>
              <a:uFillTx/>
              <a:latin typeface="MMC Display Condensed"/>
              <a:ea typeface="+mn-ea"/>
              <a:cs typeface="Arial"/>
            </a:endParaRPr>
          </a:p>
        </p:txBody>
      </p:sp>
      <p:sp>
        <p:nvSpPr>
          <p:cNvPr id="101" name="TextBox 100">
            <a:extLst>
              <a:ext uri="{FF2B5EF4-FFF2-40B4-BE49-F238E27FC236}">
                <a16:creationId xmlns:a16="http://schemas.microsoft.com/office/drawing/2014/main" id="{8CDF8CA1-1C35-103B-CED2-A01ACAE394AE}"/>
              </a:ext>
            </a:extLst>
          </p:cNvPr>
          <p:cNvSpPr txBox="1">
            <a:spLocks/>
          </p:cNvSpPr>
          <p:nvPr/>
        </p:nvSpPr>
        <p:spPr>
          <a:xfrm>
            <a:off x="9484423" y="1895511"/>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lang="en-GB" sz="1600" b="1">
                <a:latin typeface="Calibri"/>
                <a:cs typeface="Arial"/>
              </a:rPr>
              <a:t>Mindset</a:t>
            </a:r>
            <a:endParaRPr kumimoji="0" lang="en-GB" sz="1600" b="1" i="0" u="none" strike="noStrike" kern="0" cap="none" spc="0" normalizeH="0" baseline="0" noProof="0">
              <a:ln>
                <a:noFill/>
              </a:ln>
              <a:effectLst/>
              <a:uLnTx/>
              <a:uFillTx/>
              <a:latin typeface="Calibri"/>
              <a:ea typeface="+mn-ea"/>
              <a:cs typeface="Arial"/>
            </a:endParaRPr>
          </a:p>
        </p:txBody>
      </p:sp>
      <p:sp>
        <p:nvSpPr>
          <p:cNvPr id="102" name="Isosceles Triangle 101">
            <a:extLst>
              <a:ext uri="{FF2B5EF4-FFF2-40B4-BE49-F238E27FC236}">
                <a16:creationId xmlns:a16="http://schemas.microsoft.com/office/drawing/2014/main" id="{E695F5FF-21BD-B920-3587-332375D20318}"/>
              </a:ext>
            </a:extLst>
          </p:cNvPr>
          <p:cNvSpPr/>
          <p:nvPr/>
        </p:nvSpPr>
        <p:spPr>
          <a:xfrm rot="10800000">
            <a:off x="9146928" y="2220502"/>
            <a:ext cx="244549" cy="121389"/>
          </a:xfrm>
          <a:prstGeom prst="triangle">
            <a:avLst/>
          </a:prstGeom>
          <a:solidFill>
            <a:srgbClr val="76D3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03" name="Rectangle 102">
            <a:extLst>
              <a:ext uri="{FF2B5EF4-FFF2-40B4-BE49-F238E27FC236}">
                <a16:creationId xmlns:a16="http://schemas.microsoft.com/office/drawing/2014/main" id="{91F3140D-CC27-AA2C-0B9D-888520C118E4}"/>
              </a:ext>
            </a:extLst>
          </p:cNvPr>
          <p:cNvSpPr/>
          <p:nvPr/>
        </p:nvSpPr>
        <p:spPr>
          <a:xfrm>
            <a:off x="6165288" y="1751276"/>
            <a:ext cx="2714625" cy="472951"/>
          </a:xfrm>
          <a:prstGeom prst="rect">
            <a:avLst/>
          </a:prstGeom>
          <a:solidFill>
            <a:srgbClr val="009DE0"/>
          </a:solidFill>
          <a:ln w="9525">
            <a:solidFill>
              <a:srgbClr val="009DE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04" name="TextBox 103">
            <a:extLst>
              <a:ext uri="{FF2B5EF4-FFF2-40B4-BE49-F238E27FC236}">
                <a16:creationId xmlns:a16="http://schemas.microsoft.com/office/drawing/2014/main" id="{474092C3-3787-F732-A7F6-418A61A41832}"/>
              </a:ext>
            </a:extLst>
          </p:cNvPr>
          <p:cNvSpPr txBox="1">
            <a:spLocks/>
          </p:cNvSpPr>
          <p:nvPr/>
        </p:nvSpPr>
        <p:spPr>
          <a:xfrm>
            <a:off x="6253054" y="1727826"/>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rgbClr val="FFFFFF"/>
                </a:solidFill>
                <a:latin typeface="MMC Display Condensed"/>
                <a:cs typeface="Arial"/>
              </a:rPr>
              <a:t>C</a:t>
            </a:r>
            <a:endParaRPr kumimoji="0" lang="en-GB" sz="36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105" name="TextBox 104">
            <a:extLst>
              <a:ext uri="{FF2B5EF4-FFF2-40B4-BE49-F238E27FC236}">
                <a16:creationId xmlns:a16="http://schemas.microsoft.com/office/drawing/2014/main" id="{E1547015-F3C8-34F8-1B74-EAC6B1FF2E91}"/>
              </a:ext>
            </a:extLst>
          </p:cNvPr>
          <p:cNvSpPr txBox="1">
            <a:spLocks/>
          </p:cNvSpPr>
          <p:nvPr/>
        </p:nvSpPr>
        <p:spPr>
          <a:xfrm>
            <a:off x="6630378" y="1895511"/>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FFFFFF"/>
                </a:solidFill>
                <a:effectLst/>
                <a:uLnTx/>
                <a:uFillTx/>
                <a:latin typeface="Calibri"/>
                <a:ea typeface="+mn-ea"/>
                <a:cs typeface="Arial"/>
              </a:rPr>
              <a:t>Operating Model</a:t>
            </a:r>
          </a:p>
        </p:txBody>
      </p:sp>
      <p:sp>
        <p:nvSpPr>
          <p:cNvPr id="106" name="Isosceles Triangle 105">
            <a:extLst>
              <a:ext uri="{FF2B5EF4-FFF2-40B4-BE49-F238E27FC236}">
                <a16:creationId xmlns:a16="http://schemas.microsoft.com/office/drawing/2014/main" id="{1288867A-359A-0CE0-99D6-A6AE05669F69}"/>
              </a:ext>
            </a:extLst>
          </p:cNvPr>
          <p:cNvSpPr/>
          <p:nvPr/>
        </p:nvSpPr>
        <p:spPr>
          <a:xfrm rot="10800000">
            <a:off x="6286099" y="2228712"/>
            <a:ext cx="244549" cy="121389"/>
          </a:xfrm>
          <a:prstGeom prst="triangle">
            <a:avLst/>
          </a:prstGeom>
          <a:solidFill>
            <a:srgbClr val="009DE0"/>
          </a:solidFill>
          <a:ln w="9525">
            <a:solidFill>
              <a:srgbClr val="009DE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07" name="Rectangle 106">
            <a:extLst>
              <a:ext uri="{FF2B5EF4-FFF2-40B4-BE49-F238E27FC236}">
                <a16:creationId xmlns:a16="http://schemas.microsoft.com/office/drawing/2014/main" id="{1A192472-3B86-3E2D-E9CF-97CC50777E1B}"/>
              </a:ext>
            </a:extLst>
          </p:cNvPr>
          <p:cNvSpPr/>
          <p:nvPr/>
        </p:nvSpPr>
        <p:spPr>
          <a:xfrm>
            <a:off x="457200" y="1751276"/>
            <a:ext cx="2714625" cy="472951"/>
          </a:xfrm>
          <a:prstGeom prst="rect">
            <a:avLst/>
          </a:prstGeom>
          <a:solidFill>
            <a:srgbClr val="001538"/>
          </a:solidFill>
          <a:ln w="9525">
            <a:solidFill>
              <a:srgbClr val="00153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08" name="TextBox 107">
            <a:extLst>
              <a:ext uri="{FF2B5EF4-FFF2-40B4-BE49-F238E27FC236}">
                <a16:creationId xmlns:a16="http://schemas.microsoft.com/office/drawing/2014/main" id="{CE5BDDBE-601D-0D16-42C6-BC03444975E0}"/>
              </a:ext>
            </a:extLst>
          </p:cNvPr>
          <p:cNvSpPr txBox="1">
            <a:spLocks/>
          </p:cNvSpPr>
          <p:nvPr/>
        </p:nvSpPr>
        <p:spPr>
          <a:xfrm>
            <a:off x="544966" y="1727826"/>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rgbClr val="FFFFFF"/>
                </a:solidFill>
                <a:latin typeface="MMC Display Condensed"/>
                <a:cs typeface="Arial"/>
              </a:rPr>
              <a:t>A</a:t>
            </a:r>
            <a:endParaRPr kumimoji="0" lang="en-GB" sz="36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109" name="TextBox 108">
            <a:extLst>
              <a:ext uri="{FF2B5EF4-FFF2-40B4-BE49-F238E27FC236}">
                <a16:creationId xmlns:a16="http://schemas.microsoft.com/office/drawing/2014/main" id="{6CF9F8A9-1C00-C912-B77D-3A70A6FB49A1}"/>
              </a:ext>
            </a:extLst>
          </p:cNvPr>
          <p:cNvSpPr txBox="1">
            <a:spLocks/>
          </p:cNvSpPr>
          <p:nvPr/>
        </p:nvSpPr>
        <p:spPr>
          <a:xfrm>
            <a:off x="922290" y="1895511"/>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FFFFFF"/>
                </a:solidFill>
                <a:effectLst/>
                <a:uLnTx/>
                <a:uFillTx/>
                <a:latin typeface="Calibri"/>
                <a:ea typeface="+mn-ea"/>
                <a:cs typeface="Arial"/>
              </a:rPr>
              <a:t>Strategic Anticipation</a:t>
            </a:r>
          </a:p>
        </p:txBody>
      </p:sp>
      <p:sp>
        <p:nvSpPr>
          <p:cNvPr id="110" name="Isosceles Triangle 109">
            <a:extLst>
              <a:ext uri="{FF2B5EF4-FFF2-40B4-BE49-F238E27FC236}">
                <a16:creationId xmlns:a16="http://schemas.microsoft.com/office/drawing/2014/main" id="{DD3B5612-A7D3-0EF4-AA00-12DD8528E89F}"/>
              </a:ext>
            </a:extLst>
          </p:cNvPr>
          <p:cNvSpPr/>
          <p:nvPr/>
        </p:nvSpPr>
        <p:spPr>
          <a:xfrm rot="10800000">
            <a:off x="584796" y="2220502"/>
            <a:ext cx="244549" cy="121389"/>
          </a:xfrm>
          <a:prstGeom prst="triangle">
            <a:avLst/>
          </a:prstGeom>
          <a:solidFill>
            <a:srgbClr val="001538"/>
          </a:solidFill>
          <a:ln w="9525">
            <a:solidFill>
              <a:srgbClr val="00153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11" name="Rectangle 110">
            <a:extLst>
              <a:ext uri="{FF2B5EF4-FFF2-40B4-BE49-F238E27FC236}">
                <a16:creationId xmlns:a16="http://schemas.microsoft.com/office/drawing/2014/main" id="{DC8FE686-766F-9EC3-9F72-C186A7B8D517}"/>
              </a:ext>
            </a:extLst>
          </p:cNvPr>
          <p:cNvSpPr/>
          <p:nvPr/>
        </p:nvSpPr>
        <p:spPr>
          <a:xfrm>
            <a:off x="3311244" y="1751276"/>
            <a:ext cx="2714625" cy="472951"/>
          </a:xfrm>
          <a:prstGeom prst="rect">
            <a:avLst/>
          </a:prstGeom>
          <a:solidFill>
            <a:srgbClr val="002C77"/>
          </a:solidFill>
          <a:ln w="9525">
            <a:solidFill>
              <a:srgbClr val="002C7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12" name="TextBox 111">
            <a:extLst>
              <a:ext uri="{FF2B5EF4-FFF2-40B4-BE49-F238E27FC236}">
                <a16:creationId xmlns:a16="http://schemas.microsoft.com/office/drawing/2014/main" id="{BFA2923C-F890-7ED0-EBD5-DC939FDECD9A}"/>
              </a:ext>
            </a:extLst>
          </p:cNvPr>
          <p:cNvSpPr txBox="1">
            <a:spLocks/>
          </p:cNvSpPr>
          <p:nvPr/>
        </p:nvSpPr>
        <p:spPr>
          <a:xfrm>
            <a:off x="3399010" y="1727826"/>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rgbClr val="FFFFFF"/>
                </a:solidFill>
                <a:latin typeface="MMC Display Condensed"/>
                <a:cs typeface="Arial"/>
              </a:rPr>
              <a:t>B</a:t>
            </a:r>
            <a:endParaRPr kumimoji="0" lang="en-GB" sz="36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113" name="TextBox 112">
            <a:extLst>
              <a:ext uri="{FF2B5EF4-FFF2-40B4-BE49-F238E27FC236}">
                <a16:creationId xmlns:a16="http://schemas.microsoft.com/office/drawing/2014/main" id="{7D0DDAC8-952A-AF93-5AD2-7102410C037D}"/>
              </a:ext>
            </a:extLst>
          </p:cNvPr>
          <p:cNvSpPr txBox="1">
            <a:spLocks/>
          </p:cNvSpPr>
          <p:nvPr/>
        </p:nvSpPr>
        <p:spPr>
          <a:xfrm>
            <a:off x="3776334" y="1895511"/>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FFFFFF"/>
                </a:solidFill>
                <a:effectLst/>
                <a:uLnTx/>
                <a:uFillTx/>
                <a:latin typeface="Calibri"/>
                <a:ea typeface="+mn-ea"/>
                <a:cs typeface="Arial"/>
              </a:rPr>
              <a:t>Value Proposition</a:t>
            </a:r>
          </a:p>
        </p:txBody>
      </p:sp>
      <p:sp>
        <p:nvSpPr>
          <p:cNvPr id="114" name="Isosceles Triangle 113">
            <a:extLst>
              <a:ext uri="{FF2B5EF4-FFF2-40B4-BE49-F238E27FC236}">
                <a16:creationId xmlns:a16="http://schemas.microsoft.com/office/drawing/2014/main" id="{F82726D1-F7A1-122C-A52C-1783717959A5}"/>
              </a:ext>
            </a:extLst>
          </p:cNvPr>
          <p:cNvSpPr/>
          <p:nvPr/>
        </p:nvSpPr>
        <p:spPr>
          <a:xfrm rot="10800000">
            <a:off x="3438840" y="2220502"/>
            <a:ext cx="244549" cy="121389"/>
          </a:xfrm>
          <a:prstGeom prst="triangle">
            <a:avLst/>
          </a:prstGeom>
          <a:solidFill>
            <a:srgbClr val="002C77"/>
          </a:solidFill>
          <a:ln w="9525">
            <a:solidFill>
              <a:srgbClr val="002C7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15" name="Rectangle 114">
            <a:extLst>
              <a:ext uri="{FF2B5EF4-FFF2-40B4-BE49-F238E27FC236}">
                <a16:creationId xmlns:a16="http://schemas.microsoft.com/office/drawing/2014/main" id="{CFFF1403-FC2B-D67F-DCCB-D436BC8CB7A4}"/>
              </a:ext>
            </a:extLst>
          </p:cNvPr>
          <p:cNvSpPr>
            <a:spLocks/>
          </p:cNvSpPr>
          <p:nvPr/>
        </p:nvSpPr>
        <p:spPr>
          <a:xfrm>
            <a:off x="1098002" y="2525583"/>
            <a:ext cx="201833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Weak signal tracking</a:t>
            </a:r>
          </a:p>
          <a:p>
            <a:pPr marL="359988" lvl="1" indent="-179994">
              <a:spcBef>
                <a:spcPts val="300"/>
              </a:spcBef>
              <a:buSzPct val="100000"/>
              <a:buFont typeface="Arial" panose="020B0604020202020204" pitchFamily="34" charset="0"/>
              <a:buChar char="–"/>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359988" lvl="1" indent="-179994">
              <a:spcBef>
                <a:spcPts val="300"/>
              </a:spcBef>
              <a:buSzPct val="100000"/>
              <a:buFont typeface="Arial" panose="020B0604020202020204" pitchFamily="34" charset="0"/>
              <a:buChar char="–"/>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r>
              <a:rPr lang="en-GB" sz="1200" kern="0">
                <a:solidFill>
                  <a:srgbClr val="000000"/>
                </a:solidFill>
              </a:rPr>
              <a:t>Turning risks into opportunities</a:t>
            </a: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359988" lvl="1" indent="-179994">
              <a:spcBef>
                <a:spcPts val="300"/>
              </a:spcBef>
              <a:buSzPct val="100000"/>
              <a:buFont typeface="Arial" panose="020B0604020202020204" pitchFamily="34" charset="0"/>
              <a:buChar char="–"/>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359988" lvl="1" indent="-179994">
              <a:spcBef>
                <a:spcPts val="300"/>
              </a:spcBef>
              <a:buSzPct val="100000"/>
              <a:buFont typeface="Arial" panose="020B0604020202020204" pitchFamily="34" charset="0"/>
              <a:buChar char="–"/>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r>
              <a:rPr lang="en-GB" sz="1200">
                <a:solidFill>
                  <a:srgbClr val="000000"/>
                </a:solidFill>
                <a:latin typeface="Calibri"/>
              </a:rPr>
              <a:t>Asset light strategy</a:t>
            </a: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r>
              <a:rPr lang="en-GB" sz="1200">
                <a:solidFill>
                  <a:srgbClr val="000000"/>
                </a:solidFill>
                <a:latin typeface="Calibri"/>
              </a:rPr>
              <a:t>[Europe] Recession navigation</a:t>
            </a: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p:txBody>
      </p:sp>
      <p:pic>
        <p:nvPicPr>
          <p:cNvPr id="116" name="Picture 115" descr="A close-up of a building&#10;&#10;Description automatically generated">
            <a:extLst>
              <a:ext uri="{FF2B5EF4-FFF2-40B4-BE49-F238E27FC236}">
                <a16:creationId xmlns:a16="http://schemas.microsoft.com/office/drawing/2014/main" id="{4E0D6043-A95E-31CC-1A5A-3FC6DF3AA8C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57200" y="1395863"/>
            <a:ext cx="2711404" cy="325494"/>
          </a:xfrm>
          <a:prstGeom prst="rect">
            <a:avLst/>
          </a:prstGeom>
        </p:spPr>
      </p:pic>
      <p:pic>
        <p:nvPicPr>
          <p:cNvPr id="117" name="Picture 116" descr="A picture containing sky, blue, skyscraper, building&#10;&#10;Description automatically generated">
            <a:extLst>
              <a:ext uri="{FF2B5EF4-FFF2-40B4-BE49-F238E27FC236}">
                <a16:creationId xmlns:a16="http://schemas.microsoft.com/office/drawing/2014/main" id="{50FDE047-89E3-095F-65DF-3A02FDEF170B}"/>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311244" y="1398743"/>
            <a:ext cx="2714620" cy="325494"/>
          </a:xfrm>
          <a:prstGeom prst="rect">
            <a:avLst/>
          </a:prstGeom>
          <a:ln>
            <a:noFill/>
          </a:ln>
        </p:spPr>
      </p:pic>
      <p:pic>
        <p:nvPicPr>
          <p:cNvPr id="118" name="Picture 117" descr="A close-up of a building&#10;&#10;Description automatically generated">
            <a:extLst>
              <a:ext uri="{FF2B5EF4-FFF2-40B4-BE49-F238E27FC236}">
                <a16:creationId xmlns:a16="http://schemas.microsoft.com/office/drawing/2014/main" id="{0243B676-5344-409E-2D71-F03565FD71A8}"/>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6165287" y="1398743"/>
            <a:ext cx="2711404" cy="325494"/>
          </a:xfrm>
          <a:prstGeom prst="rect">
            <a:avLst/>
          </a:prstGeom>
        </p:spPr>
      </p:pic>
      <p:pic>
        <p:nvPicPr>
          <p:cNvPr id="119" name="Picture 118" descr="A low angle view of a building&#10;&#10;Description automatically generated">
            <a:extLst>
              <a:ext uri="{FF2B5EF4-FFF2-40B4-BE49-F238E27FC236}">
                <a16:creationId xmlns:a16="http://schemas.microsoft.com/office/drawing/2014/main" id="{A764700A-F9D5-D306-8AA4-AAFA0B770BCC}"/>
              </a:ext>
            </a:extLst>
          </p:cNvPr>
          <p:cNvPicPr>
            <a:picLocks noChangeAspect="1"/>
          </p:cNvPicPr>
          <p:nvPr/>
        </p:nvPicPr>
        <p:blipFill rotWithShape="1">
          <a:blip r:embed="rId13" cstate="screen">
            <a:extLst>
              <a:ext uri="{BEBA8EAE-BF5A-486C-A8C5-ECC9F3942E4B}">
                <a14:imgProps xmlns:a14="http://schemas.microsoft.com/office/drawing/2010/main">
                  <a14:imgLayer r:embed="rId14">
                    <a14:imgEffect>
                      <a14:brightnessContrast bright="8000"/>
                    </a14:imgEffect>
                  </a14:imgLayer>
                </a14:imgProps>
              </a:ext>
              <a:ext uri="{28A0092B-C50C-407E-A947-70E740481C1C}">
                <a14:useLocalDpi xmlns:a14="http://schemas.microsoft.com/office/drawing/2010/main"/>
              </a:ext>
            </a:extLst>
          </a:blip>
          <a:srcRect/>
          <a:stretch/>
        </p:blipFill>
        <p:spPr>
          <a:xfrm flipH="1">
            <a:off x="9019329" y="1398742"/>
            <a:ext cx="2711405" cy="325494"/>
          </a:xfrm>
          <a:prstGeom prst="rect">
            <a:avLst/>
          </a:prstGeom>
        </p:spPr>
      </p:pic>
      <p:sp>
        <p:nvSpPr>
          <p:cNvPr id="120" name="Rectangle 119">
            <a:extLst>
              <a:ext uri="{FF2B5EF4-FFF2-40B4-BE49-F238E27FC236}">
                <a16:creationId xmlns:a16="http://schemas.microsoft.com/office/drawing/2014/main" id="{2A747BE7-B38D-819C-37DA-DC28800AB6FD}"/>
              </a:ext>
            </a:extLst>
          </p:cNvPr>
          <p:cNvSpPr>
            <a:spLocks/>
          </p:cNvSpPr>
          <p:nvPr/>
        </p:nvSpPr>
        <p:spPr>
          <a:xfrm>
            <a:off x="9654648" y="2525583"/>
            <a:ext cx="201833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Platinum customers</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Scaling through playbooks</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Adaptive Decision Making</a:t>
            </a: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r>
              <a:rPr lang="en-GB" sz="1200">
                <a:solidFill>
                  <a:srgbClr val="000000"/>
                </a:solidFill>
                <a:latin typeface="Calibri"/>
              </a:rPr>
              <a:t>Talent-driven culture</a:t>
            </a: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kumimoji="0" lang="en-GB" sz="1200" i="0" u="none" strike="noStrike" kern="1200" cap="none" spc="0" normalizeH="0" baseline="0" noProof="0">
                <a:ln>
                  <a:noFill/>
                </a:ln>
                <a:solidFill>
                  <a:srgbClr val="000000"/>
                </a:solidFill>
                <a:effectLst/>
                <a:uLnTx/>
                <a:uFillTx/>
                <a:latin typeface="Calibri"/>
                <a:ea typeface="+mn-ea"/>
                <a:cs typeface="+mn-cs"/>
              </a:rPr>
              <a:t>Autonomous crisis response</a:t>
            </a: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p:txBody>
      </p:sp>
      <p:sp>
        <p:nvSpPr>
          <p:cNvPr id="121" name="Rectangle 120">
            <a:extLst>
              <a:ext uri="{FF2B5EF4-FFF2-40B4-BE49-F238E27FC236}">
                <a16:creationId xmlns:a16="http://schemas.microsoft.com/office/drawing/2014/main" id="{3ABC23FE-5493-DA04-76A4-86D68767E5AE}"/>
              </a:ext>
            </a:extLst>
          </p:cNvPr>
          <p:cNvSpPr>
            <a:spLocks/>
          </p:cNvSpPr>
          <p:nvPr/>
        </p:nvSpPr>
        <p:spPr>
          <a:xfrm>
            <a:off x="3927431" y="2525583"/>
            <a:ext cx="201833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Differentiate, Differentiate, Differentiate</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Strengthen the Core</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Manageable Product Segmentation</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Inflation-proof pricing</a:t>
            </a:r>
          </a:p>
        </p:txBody>
      </p:sp>
      <p:sp>
        <p:nvSpPr>
          <p:cNvPr id="122" name="Rectangle 121">
            <a:extLst>
              <a:ext uri="{FF2B5EF4-FFF2-40B4-BE49-F238E27FC236}">
                <a16:creationId xmlns:a16="http://schemas.microsoft.com/office/drawing/2014/main" id="{F62B31F2-8F7E-16B7-22A0-AD9BF9132586}"/>
              </a:ext>
            </a:extLst>
          </p:cNvPr>
          <p:cNvSpPr>
            <a:spLocks/>
          </p:cNvSpPr>
          <p:nvPr/>
        </p:nvSpPr>
        <p:spPr>
          <a:xfrm>
            <a:off x="6793443" y="2525583"/>
            <a:ext cx="2095801"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Cash is king</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Cost </a:t>
            </a:r>
            <a:r>
              <a:rPr lang="en-GB" sz="1200" err="1">
                <a:solidFill>
                  <a:srgbClr val="000000"/>
                </a:solidFill>
                <a:latin typeface="Calibri"/>
              </a:rPr>
              <a:t>Variabilization</a:t>
            </a: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Networked organization</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Supply Chain Resilience</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Operating as a specialist</a:t>
            </a:r>
          </a:p>
        </p:txBody>
      </p:sp>
      <p:pic>
        <p:nvPicPr>
          <p:cNvPr id="123" name="ico-pins">
            <a:extLst>
              <a:ext uri="{FF2B5EF4-FFF2-40B4-BE49-F238E27FC236}">
                <a16:creationId xmlns:a16="http://schemas.microsoft.com/office/drawing/2014/main" id="{380D2AB1-8DF0-6A2A-9DAE-78390F33DA12}"/>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02755" y="3547665"/>
            <a:ext cx="317594" cy="317594"/>
          </a:xfrm>
          <a:prstGeom prst="rect">
            <a:avLst/>
          </a:prstGeom>
        </p:spPr>
      </p:pic>
      <p:pic>
        <p:nvPicPr>
          <p:cNvPr id="124" name="ico-optimization">
            <a:extLst>
              <a:ext uri="{FF2B5EF4-FFF2-40B4-BE49-F238E27FC236}">
                <a16:creationId xmlns:a16="http://schemas.microsoft.com/office/drawing/2014/main" id="{FA996522-F809-C78B-AE9E-2BCB0629CF07}"/>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02755" y="4364619"/>
            <a:ext cx="317594" cy="317594"/>
          </a:xfrm>
          <a:prstGeom prst="rect">
            <a:avLst/>
          </a:prstGeom>
        </p:spPr>
      </p:pic>
      <p:pic>
        <p:nvPicPr>
          <p:cNvPr id="125" name="ico-app-store">
            <a:extLst>
              <a:ext uri="{FF2B5EF4-FFF2-40B4-BE49-F238E27FC236}">
                <a16:creationId xmlns:a16="http://schemas.microsoft.com/office/drawing/2014/main" id="{391CF156-2E95-DBCE-15B9-0E2CC715F246}"/>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05530" y="2824303"/>
            <a:ext cx="317594" cy="317594"/>
          </a:xfrm>
          <a:prstGeom prst="rect">
            <a:avLst/>
          </a:prstGeom>
        </p:spPr>
      </p:pic>
      <p:pic>
        <p:nvPicPr>
          <p:cNvPr id="126" name="ico-centralize">
            <a:extLst>
              <a:ext uri="{FF2B5EF4-FFF2-40B4-BE49-F238E27FC236}">
                <a16:creationId xmlns:a16="http://schemas.microsoft.com/office/drawing/2014/main" id="{2719798D-807A-4D99-0981-DB0547C734F1}"/>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505530" y="3466832"/>
            <a:ext cx="317594" cy="317594"/>
          </a:xfrm>
          <a:prstGeom prst="rect">
            <a:avLst/>
          </a:prstGeom>
        </p:spPr>
      </p:pic>
      <p:pic>
        <p:nvPicPr>
          <p:cNvPr id="127" name="ico-layers">
            <a:extLst>
              <a:ext uri="{FF2B5EF4-FFF2-40B4-BE49-F238E27FC236}">
                <a16:creationId xmlns:a16="http://schemas.microsoft.com/office/drawing/2014/main" id="{757CAD7F-7C24-A568-849E-5F74464AC923}"/>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505530" y="4327336"/>
            <a:ext cx="317594" cy="317594"/>
          </a:xfrm>
          <a:prstGeom prst="rect">
            <a:avLst/>
          </a:prstGeom>
        </p:spPr>
      </p:pic>
      <p:pic>
        <p:nvPicPr>
          <p:cNvPr id="128" name="ico-line-chart">
            <a:extLst>
              <a:ext uri="{FF2B5EF4-FFF2-40B4-BE49-F238E27FC236}">
                <a16:creationId xmlns:a16="http://schemas.microsoft.com/office/drawing/2014/main" id="{0B7DD462-535D-A4F3-83E3-608F608B8312}"/>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505530" y="5225516"/>
            <a:ext cx="317594" cy="317594"/>
          </a:xfrm>
          <a:prstGeom prst="rect">
            <a:avLst/>
          </a:prstGeom>
        </p:spPr>
      </p:pic>
      <p:pic>
        <p:nvPicPr>
          <p:cNvPr id="129" name="ico-cash-withdrawal">
            <a:extLst>
              <a:ext uri="{FF2B5EF4-FFF2-40B4-BE49-F238E27FC236}">
                <a16:creationId xmlns:a16="http://schemas.microsoft.com/office/drawing/2014/main" id="{3E18CB9F-7263-83E2-4026-FB46468ABF5D}"/>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6337031" y="2824303"/>
            <a:ext cx="317594" cy="317594"/>
          </a:xfrm>
          <a:prstGeom prst="rect">
            <a:avLst/>
          </a:prstGeom>
        </p:spPr>
      </p:pic>
      <p:pic>
        <p:nvPicPr>
          <p:cNvPr id="130" name="ico-content-delivery">
            <a:extLst>
              <a:ext uri="{FF2B5EF4-FFF2-40B4-BE49-F238E27FC236}">
                <a16:creationId xmlns:a16="http://schemas.microsoft.com/office/drawing/2014/main" id="{8D235640-C2BB-B80D-F11E-AF7A1E526C2C}"/>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6337031" y="3550042"/>
            <a:ext cx="317594" cy="317594"/>
          </a:xfrm>
          <a:prstGeom prst="rect">
            <a:avLst/>
          </a:prstGeom>
        </p:spPr>
      </p:pic>
      <p:pic>
        <p:nvPicPr>
          <p:cNvPr id="131" name="ico-handshake">
            <a:extLst>
              <a:ext uri="{FF2B5EF4-FFF2-40B4-BE49-F238E27FC236}">
                <a16:creationId xmlns:a16="http://schemas.microsoft.com/office/drawing/2014/main" id="{44FF196D-EBB6-D2AC-AE61-727F9BAD2AEE}"/>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6337031" y="4327336"/>
            <a:ext cx="317594" cy="317594"/>
          </a:xfrm>
          <a:prstGeom prst="rect">
            <a:avLst/>
          </a:prstGeom>
        </p:spPr>
      </p:pic>
      <p:pic>
        <p:nvPicPr>
          <p:cNvPr id="132" name="ico-supply-chain">
            <a:extLst>
              <a:ext uri="{FF2B5EF4-FFF2-40B4-BE49-F238E27FC236}">
                <a16:creationId xmlns:a16="http://schemas.microsoft.com/office/drawing/2014/main" id="{911E2F3C-C727-93F6-40C4-85AF95EFD092}"/>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6337031" y="5107007"/>
            <a:ext cx="317594" cy="317594"/>
          </a:xfrm>
          <a:prstGeom prst="rect">
            <a:avLst/>
          </a:prstGeom>
        </p:spPr>
      </p:pic>
      <p:pic>
        <p:nvPicPr>
          <p:cNvPr id="133" name="ico-a-star">
            <a:extLst>
              <a:ext uri="{FF2B5EF4-FFF2-40B4-BE49-F238E27FC236}">
                <a16:creationId xmlns:a16="http://schemas.microsoft.com/office/drawing/2014/main" id="{26398150-DA85-7FFE-0CFB-1E7DFC7ACE22}"/>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6337031" y="5868009"/>
            <a:ext cx="317594" cy="317594"/>
          </a:xfrm>
          <a:prstGeom prst="rect">
            <a:avLst/>
          </a:prstGeom>
        </p:spPr>
      </p:pic>
      <p:pic>
        <p:nvPicPr>
          <p:cNvPr id="134" name="ico-focus">
            <a:extLst>
              <a:ext uri="{FF2B5EF4-FFF2-40B4-BE49-F238E27FC236}">
                <a16:creationId xmlns:a16="http://schemas.microsoft.com/office/drawing/2014/main" id="{DBBED398-C312-1754-6EB1-205A0C74545B}"/>
              </a:ext>
            </a:extLst>
          </p:cNvPr>
          <p:cNvPicPr>
            <a:picLocks noChangeAspect="1"/>
          </p:cNvPicPr>
          <p:nvPr/>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9187131" y="2759402"/>
            <a:ext cx="317594" cy="317594"/>
          </a:xfrm>
          <a:prstGeom prst="rect">
            <a:avLst/>
          </a:prstGeom>
        </p:spPr>
      </p:pic>
      <p:pic>
        <p:nvPicPr>
          <p:cNvPr id="135" name="ico-bulb-63">
            <a:extLst>
              <a:ext uri="{FF2B5EF4-FFF2-40B4-BE49-F238E27FC236}">
                <a16:creationId xmlns:a16="http://schemas.microsoft.com/office/drawing/2014/main" id="{7BED9C28-B73A-E65D-4132-0CF3F323FF9B}"/>
              </a:ext>
            </a:extLst>
          </p:cNvPr>
          <p:cNvPicPr>
            <a:picLocks noChangeAspect="1"/>
          </p:cNvPicPr>
          <p:nvPr/>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9187131" y="3536536"/>
            <a:ext cx="317594" cy="317594"/>
          </a:xfrm>
          <a:prstGeom prst="rect">
            <a:avLst/>
          </a:prstGeom>
        </p:spPr>
      </p:pic>
      <p:pic>
        <p:nvPicPr>
          <p:cNvPr id="136" name="ico-flexibility">
            <a:extLst>
              <a:ext uri="{FF2B5EF4-FFF2-40B4-BE49-F238E27FC236}">
                <a16:creationId xmlns:a16="http://schemas.microsoft.com/office/drawing/2014/main" id="{35BCD426-1DB4-AE45-A6C1-B3D16AAAF567}"/>
              </a:ext>
            </a:extLst>
          </p:cNvPr>
          <p:cNvPicPr>
            <a:picLocks noChangeAspect="1"/>
          </p:cNvPicPr>
          <p:nvPr/>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9187131" y="4292813"/>
            <a:ext cx="317594" cy="317594"/>
          </a:xfrm>
          <a:prstGeom prst="rect">
            <a:avLst/>
          </a:prstGeom>
        </p:spPr>
      </p:pic>
      <p:pic>
        <p:nvPicPr>
          <p:cNvPr id="137" name="ico-analytical-thinking">
            <a:extLst>
              <a:ext uri="{FF2B5EF4-FFF2-40B4-BE49-F238E27FC236}">
                <a16:creationId xmlns:a16="http://schemas.microsoft.com/office/drawing/2014/main" id="{3BCF45C3-7439-C902-27BB-70A464BA230C}"/>
              </a:ext>
            </a:extLst>
          </p:cNvPr>
          <p:cNvPicPr>
            <a:picLocks noChangeAspect="1"/>
          </p:cNvPicPr>
          <p:nvPr/>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9187131" y="5066719"/>
            <a:ext cx="317594" cy="317594"/>
          </a:xfrm>
          <a:prstGeom prst="rect">
            <a:avLst/>
          </a:prstGeom>
        </p:spPr>
      </p:pic>
      <p:sp>
        <p:nvSpPr>
          <p:cNvPr id="138" name="TextBox 137">
            <a:extLst>
              <a:ext uri="{FF2B5EF4-FFF2-40B4-BE49-F238E27FC236}">
                <a16:creationId xmlns:a16="http://schemas.microsoft.com/office/drawing/2014/main" id="{9B7B81FB-D570-8801-A2D4-22FAA309CC67}"/>
              </a:ext>
            </a:extLst>
          </p:cNvPr>
          <p:cNvSpPr txBox="1"/>
          <p:nvPr/>
        </p:nvSpPr>
        <p:spPr>
          <a:xfrm>
            <a:off x="471290" y="2200912"/>
            <a:ext cx="2592141" cy="461665"/>
          </a:xfrm>
          <a:prstGeom prst="rect">
            <a:avLst/>
          </a:prstGeom>
          <a:noFill/>
        </p:spPr>
        <p:txBody>
          <a:bodyPr wrap="square" lIns="4572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Define a volatility-adjusted strategy</a:t>
            </a:r>
          </a:p>
        </p:txBody>
      </p:sp>
      <p:sp>
        <p:nvSpPr>
          <p:cNvPr id="142" name="TextBox 141">
            <a:extLst>
              <a:ext uri="{FF2B5EF4-FFF2-40B4-BE49-F238E27FC236}">
                <a16:creationId xmlns:a16="http://schemas.microsoft.com/office/drawing/2014/main" id="{118DD3C2-D3CB-093F-D07B-060D8334C70B}"/>
              </a:ext>
            </a:extLst>
          </p:cNvPr>
          <p:cNvSpPr txBox="1">
            <a:spLocks/>
          </p:cNvSpPr>
          <p:nvPr/>
        </p:nvSpPr>
        <p:spPr>
          <a:xfrm>
            <a:off x="3263666" y="2200912"/>
            <a:ext cx="2516325" cy="461665"/>
          </a:xfrm>
          <a:prstGeom prst="rect">
            <a:avLst/>
          </a:prstGeom>
          <a:noFill/>
        </p:spPr>
        <p:txBody>
          <a:bodyPr wrap="square" lIns="4572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Design </a:t>
            </a:r>
            <a:r>
              <a:rPr lang="en-GB" sz="1200" b="1">
                <a:latin typeface="Calibri"/>
              </a:rPr>
              <a:t>an adaptive </a:t>
            </a:r>
            <a:r>
              <a:rPr kumimoji="0" lang="en-GB" sz="1200" b="1" i="0" u="none" strike="noStrike" kern="1200" cap="none" spc="0" normalizeH="0" baseline="0" noProof="0">
                <a:ln>
                  <a:noFill/>
                </a:ln>
                <a:effectLst/>
                <a:uLnTx/>
                <a:uFillTx/>
                <a:latin typeface="Calibri"/>
                <a:ea typeface="+mn-ea"/>
                <a:cs typeface="+mn-cs"/>
              </a:rPr>
              <a:t>value proposition</a:t>
            </a:r>
          </a:p>
        </p:txBody>
      </p:sp>
      <p:sp>
        <p:nvSpPr>
          <p:cNvPr id="143" name="TextBox 142">
            <a:extLst>
              <a:ext uri="{FF2B5EF4-FFF2-40B4-BE49-F238E27FC236}">
                <a16:creationId xmlns:a16="http://schemas.microsoft.com/office/drawing/2014/main" id="{89EA7FBC-1B39-52B8-C0B8-7379083BEA91}"/>
              </a:ext>
            </a:extLst>
          </p:cNvPr>
          <p:cNvSpPr txBox="1">
            <a:spLocks/>
          </p:cNvSpPr>
          <p:nvPr/>
        </p:nvSpPr>
        <p:spPr>
          <a:xfrm>
            <a:off x="6096926" y="2200912"/>
            <a:ext cx="2704162" cy="276999"/>
          </a:xfrm>
          <a:prstGeom prst="rect">
            <a:avLst/>
          </a:prstGeom>
          <a:noFill/>
        </p:spPr>
        <p:txBody>
          <a:bodyPr wrap="square" lIns="45720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effectLst/>
                <a:uLnTx/>
                <a:uFillTx/>
                <a:latin typeface="Calibri"/>
              </a:defRPr>
            </a:lvl1pPr>
          </a:lstStyle>
          <a:p>
            <a:r>
              <a:rPr lang="en-GB"/>
              <a:t>Build a flexible operating model</a:t>
            </a:r>
          </a:p>
        </p:txBody>
      </p:sp>
      <p:sp>
        <p:nvSpPr>
          <p:cNvPr id="144" name="TextBox 143">
            <a:extLst>
              <a:ext uri="{FF2B5EF4-FFF2-40B4-BE49-F238E27FC236}">
                <a16:creationId xmlns:a16="http://schemas.microsoft.com/office/drawing/2014/main" id="{159477D6-C2F8-1B26-A00D-04DE92D650D1}"/>
              </a:ext>
            </a:extLst>
          </p:cNvPr>
          <p:cNvSpPr txBox="1">
            <a:spLocks/>
          </p:cNvSpPr>
          <p:nvPr/>
        </p:nvSpPr>
        <p:spPr>
          <a:xfrm>
            <a:off x="8969392" y="2200912"/>
            <a:ext cx="2811051" cy="461665"/>
          </a:xfrm>
          <a:prstGeom prst="rect">
            <a:avLst/>
          </a:prstGeom>
          <a:noFill/>
        </p:spPr>
        <p:txBody>
          <a:bodyPr wrap="square" lIns="45720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effectLst/>
                <a:uLnTx/>
                <a:uFillTx/>
                <a:latin typeface="Calibri"/>
              </a:defRPr>
            </a:lvl1pPr>
          </a:lstStyle>
          <a:p>
            <a:r>
              <a:rPr lang="en-GB"/>
              <a:t>Adopt a responsive leadership mindset</a:t>
            </a:r>
          </a:p>
        </p:txBody>
      </p:sp>
      <p:sp>
        <p:nvSpPr>
          <p:cNvPr id="145" name="Oval 144">
            <a:extLst>
              <a:ext uri="{FF2B5EF4-FFF2-40B4-BE49-F238E27FC236}">
                <a16:creationId xmlns:a16="http://schemas.microsoft.com/office/drawing/2014/main" id="{6C10CE8B-71D1-A961-4C4B-0D1C17B3911C}"/>
              </a:ext>
            </a:extLst>
          </p:cNvPr>
          <p:cNvSpPr/>
          <p:nvPr/>
        </p:nvSpPr>
        <p:spPr>
          <a:xfrm>
            <a:off x="9195157" y="5975513"/>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146" name="ico-sport-mode">
            <a:extLst>
              <a:ext uri="{FF2B5EF4-FFF2-40B4-BE49-F238E27FC236}">
                <a16:creationId xmlns:a16="http://schemas.microsoft.com/office/drawing/2014/main" id="{D1EA07D7-ACDA-019A-6B18-684907BD4212}"/>
              </a:ext>
            </a:extLst>
          </p:cNvPr>
          <p:cNvPicPr>
            <a:picLocks noChangeAspect="1"/>
          </p:cNvPicPr>
          <p:nvPr/>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9186249" y="5961136"/>
            <a:ext cx="317594" cy="317594"/>
          </a:xfrm>
          <a:prstGeom prst="rect">
            <a:avLst/>
          </a:prstGeom>
        </p:spPr>
      </p:pic>
    </p:spTree>
    <p:extLst>
      <p:ext uri="{BB962C8B-B14F-4D97-AF65-F5344CB8AC3E}">
        <p14:creationId xmlns:p14="http://schemas.microsoft.com/office/powerpoint/2010/main" val="31558883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922178-D387-4CBD-8C1C-C31D76404B12}"/>
              </a:ext>
            </a:extLst>
          </p:cNvPr>
          <p:cNvGraphicFramePr>
            <a:graphicFrameLocks noChangeAspect="1"/>
          </p:cNvGraphicFramePr>
          <p:nvPr>
            <p:custDataLst>
              <p:tags r:id="rId1"/>
            </p:custDataLst>
            <p:extLst>
              <p:ext uri="{D42A27DB-BD31-4B8C-83A1-F6EECF244321}">
                <p14:modId xmlns:p14="http://schemas.microsoft.com/office/powerpoint/2010/main" val="2830570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04922178-D387-4CBD-8C1C-C31D76404B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9507BD62-44E8-8DA3-AD7B-226325630F86}"/>
              </a:ext>
            </a:extLst>
          </p:cNvPr>
          <p:cNvSpPr/>
          <p:nvPr/>
        </p:nvSpPr>
        <p:spPr>
          <a:xfrm>
            <a:off x="457201" y="1412618"/>
            <a:ext cx="5499980" cy="472951"/>
          </a:xfrm>
          <a:prstGeom prst="rect">
            <a:avLst/>
          </a:prstGeom>
          <a:solidFill>
            <a:srgbClr val="001538"/>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CC176819-AABE-46B6-8315-70438F00C53C}"/>
              </a:ext>
            </a:extLst>
          </p:cNvPr>
          <p:cNvSpPr txBox="1">
            <a:spLocks/>
          </p:cNvSpPr>
          <p:nvPr/>
        </p:nvSpPr>
        <p:spPr>
          <a:xfrm>
            <a:off x="544966" y="1389168"/>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rgbClr val="FFFFFF"/>
                </a:solidFill>
                <a:latin typeface="MMC Display Condensed"/>
                <a:cs typeface="Arial"/>
              </a:rPr>
              <a:t>A</a:t>
            </a:r>
            <a:endParaRPr kumimoji="0" lang="en-GB" sz="36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85" name="TextBox 84">
            <a:extLst>
              <a:ext uri="{FF2B5EF4-FFF2-40B4-BE49-F238E27FC236}">
                <a16:creationId xmlns:a16="http://schemas.microsoft.com/office/drawing/2014/main" id="{167C6D49-6FDC-43AB-BEAA-6E34A0AB3D5F}"/>
              </a:ext>
            </a:extLst>
          </p:cNvPr>
          <p:cNvSpPr txBox="1">
            <a:spLocks/>
          </p:cNvSpPr>
          <p:nvPr/>
        </p:nvSpPr>
        <p:spPr>
          <a:xfrm>
            <a:off x="922290" y="1556853"/>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FFFFFF"/>
                </a:solidFill>
                <a:effectLst/>
                <a:uLnTx/>
                <a:uFillTx/>
                <a:latin typeface="Calibri"/>
                <a:ea typeface="+mn-ea"/>
                <a:cs typeface="Arial"/>
              </a:rPr>
              <a:t>Strategic Anticipation</a:t>
            </a:r>
          </a:p>
        </p:txBody>
      </p:sp>
      <p:sp>
        <p:nvSpPr>
          <p:cNvPr id="11" name="Isosceles Triangle 10">
            <a:extLst>
              <a:ext uri="{FF2B5EF4-FFF2-40B4-BE49-F238E27FC236}">
                <a16:creationId xmlns:a16="http://schemas.microsoft.com/office/drawing/2014/main" id="{889FCD73-BC38-E1F4-F851-9AE834B9174C}"/>
              </a:ext>
            </a:extLst>
          </p:cNvPr>
          <p:cNvSpPr/>
          <p:nvPr/>
        </p:nvSpPr>
        <p:spPr>
          <a:xfrm rot="10800000">
            <a:off x="584796" y="1881844"/>
            <a:ext cx="244549" cy="121389"/>
          </a:xfrm>
          <a:prstGeom prst="triangle">
            <a:avLst/>
          </a:prstGeom>
          <a:solidFill>
            <a:srgbClr val="001538"/>
          </a:solidFill>
          <a:ln w="9525">
            <a:solidFill>
              <a:srgbClr val="00153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61" name="Rectangle 60">
            <a:extLst>
              <a:ext uri="{FF2B5EF4-FFF2-40B4-BE49-F238E27FC236}">
                <a16:creationId xmlns:a16="http://schemas.microsoft.com/office/drawing/2014/main" id="{0E7FAB8C-2B87-1082-1632-BD3030EBAA5B}"/>
              </a:ext>
            </a:extLst>
          </p:cNvPr>
          <p:cNvSpPr>
            <a:spLocks/>
          </p:cNvSpPr>
          <p:nvPr/>
        </p:nvSpPr>
        <p:spPr>
          <a:xfrm>
            <a:off x="609410" y="2003402"/>
            <a:ext cx="534776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r>
              <a:rPr kumimoji="0" lang="en-GB" sz="1100" b="1" i="0" u="none" strike="noStrike" kern="1200" cap="none" spc="0" normalizeH="0" baseline="0" noProof="0">
                <a:ln>
                  <a:noFill/>
                </a:ln>
                <a:solidFill>
                  <a:schemeClr val="tx1"/>
                </a:solidFill>
                <a:effectLst/>
                <a:uLnTx/>
                <a:uFillTx/>
                <a:latin typeface="Calibri"/>
                <a:ea typeface="+mn-ea"/>
                <a:cs typeface="+mn-cs"/>
              </a:rPr>
              <a:t>Key questions:</a:t>
            </a:r>
          </a:p>
          <a:p>
            <a:pPr marL="0" marR="0" lvl="0" indent="0" algn="l" defTabSz="914400" rtl="0" eaLnBrk="1" fontAlgn="auto" latinLnBrk="0" hangingPunct="1">
              <a:lnSpc>
                <a:spcPct val="100000"/>
              </a:lnSpc>
              <a:spcAft>
                <a:spcPts val="0"/>
              </a:spcAft>
              <a:buClrTx/>
              <a:buSzPct val="100000"/>
              <a:buFontTx/>
              <a:buNone/>
              <a:tabLst/>
              <a:defRPr/>
            </a:pPr>
            <a:endParaRPr lang="en-GB" sz="1100" b="1">
              <a:solidFill>
                <a:schemeClr val="tx1"/>
              </a:solidFill>
              <a:latin typeface="Calibri"/>
            </a:endParaRPr>
          </a:p>
          <a:p>
            <a:pPr marL="228600" indent="-228600">
              <a:spcBef>
                <a:spcPts val="600"/>
              </a:spcBef>
              <a:buSzPct val="100000"/>
              <a:buFont typeface="+mj-lt"/>
              <a:buAutoNum type="arabicPeriod"/>
              <a:defRPr/>
            </a:pPr>
            <a:r>
              <a:rPr lang="en-GB" sz="1100" b="1">
                <a:solidFill>
                  <a:schemeClr val="tx1"/>
                </a:solidFill>
                <a:latin typeface="Calibri"/>
              </a:rPr>
              <a:t>Weak signal tracking</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How to best monitor risks, disruptions and opportunities?</a:t>
            </a:r>
          </a:p>
          <a:p>
            <a:pPr marL="359988" lvl="1" indent="-179994">
              <a:spcBef>
                <a:spcPts val="300"/>
              </a:spcBef>
              <a:buSzPct val="100000"/>
              <a:buFont typeface="Arial" panose="020B0604020202020204" pitchFamily="34" charset="0"/>
              <a:buChar char="–"/>
              <a:defRPr/>
            </a:pPr>
            <a:r>
              <a:rPr kumimoji="0" lang="en-GB" sz="1100" i="0" u="none" strike="noStrike" kern="1200" cap="none" spc="0" normalizeH="0" baseline="0" noProof="0">
                <a:ln>
                  <a:noFill/>
                </a:ln>
                <a:solidFill>
                  <a:schemeClr val="tx1"/>
                </a:solidFill>
                <a:effectLst/>
                <a:uLnTx/>
                <a:uFillTx/>
                <a:latin typeface="Calibri"/>
                <a:ea typeface="+mn-ea"/>
                <a:cs typeface="+mn-cs"/>
              </a:rPr>
              <a:t>Which signposts &amp; KPIs should be monitored,</a:t>
            </a:r>
            <a:r>
              <a:rPr lang="en-GB" sz="1100">
                <a:solidFill>
                  <a:schemeClr val="tx1"/>
                </a:solidFill>
                <a:latin typeface="Calibri"/>
              </a:rPr>
              <a:t> and w</a:t>
            </a:r>
            <a:r>
              <a:rPr kumimoji="0" lang="en-GB" sz="1100" i="0" u="none" strike="noStrike" kern="1200" cap="none" spc="0" normalizeH="0" baseline="0" noProof="0" err="1">
                <a:ln>
                  <a:noFill/>
                </a:ln>
                <a:solidFill>
                  <a:schemeClr val="tx1"/>
                </a:solidFill>
                <a:effectLst/>
                <a:uLnTx/>
                <a:uFillTx/>
                <a:latin typeface="Calibri"/>
                <a:ea typeface="+mn-ea"/>
                <a:cs typeface="+mn-cs"/>
              </a:rPr>
              <a:t>hy</a:t>
            </a:r>
            <a:r>
              <a:rPr kumimoji="0" lang="en-GB" sz="1100" i="0" u="none" strike="noStrike" kern="1200" cap="none" spc="0" normalizeH="0" baseline="0" noProof="0">
                <a:ln>
                  <a:noFill/>
                </a:ln>
                <a:solidFill>
                  <a:schemeClr val="tx1"/>
                </a:solidFill>
                <a:effectLst/>
                <a:uLnTx/>
                <a:uFillTx/>
                <a:latin typeface="Calibri"/>
                <a:ea typeface="+mn-ea"/>
                <a:cs typeface="+mn-cs"/>
              </a:rPr>
              <a:t>?</a:t>
            </a:r>
          </a:p>
          <a:p>
            <a:pPr marL="359988" lvl="1" indent="-179994">
              <a:spcBef>
                <a:spcPts val="300"/>
              </a:spcBef>
              <a:buSzPct val="100000"/>
              <a:buFont typeface="Arial" panose="020B0604020202020204" pitchFamily="34" charset="0"/>
              <a:buChar char="–"/>
              <a:defRPr/>
            </a:pPr>
            <a:r>
              <a:rPr kumimoji="0" lang="en-GB" sz="1100" i="0" u="none" strike="noStrike" kern="1200" cap="none" spc="0" normalizeH="0" baseline="0" noProof="0">
                <a:ln>
                  <a:noFill/>
                </a:ln>
                <a:solidFill>
                  <a:schemeClr val="tx1"/>
                </a:solidFill>
                <a:effectLst/>
                <a:uLnTx/>
                <a:uFillTx/>
                <a:latin typeface="Calibri"/>
                <a:ea typeface="+mn-ea"/>
                <a:cs typeface="+mn-cs"/>
              </a:rPr>
              <a:t>Which ones do you monitor and are the most useful to maximize business agility?</a:t>
            </a:r>
          </a:p>
          <a:p>
            <a:pPr marL="228600" indent="-228600">
              <a:spcBef>
                <a:spcPts val="600"/>
              </a:spcBef>
              <a:buSzPct val="100000"/>
              <a:buFont typeface="+mj-lt"/>
              <a:buAutoNum type="arabicPeriod"/>
              <a:defRPr/>
            </a:pPr>
            <a:r>
              <a:rPr kumimoji="0" lang="en-GB" sz="1100" b="1" i="0" u="none" strike="noStrike" kern="1200" cap="none" spc="0" normalizeH="0" baseline="0" noProof="0">
                <a:ln>
                  <a:noFill/>
                </a:ln>
                <a:solidFill>
                  <a:schemeClr val="tx1"/>
                </a:solidFill>
                <a:effectLst/>
                <a:uLnTx/>
                <a:uFillTx/>
                <a:latin typeface="Calibri"/>
                <a:ea typeface="+mn-ea"/>
                <a:cs typeface="+mn-cs"/>
              </a:rPr>
              <a:t>Turning risks into opportunities</a:t>
            </a:r>
          </a:p>
          <a:p>
            <a:pPr marL="359988" lvl="1" indent="-179994">
              <a:spcBef>
                <a:spcPts val="300"/>
              </a:spcBef>
              <a:buSzPct val="100000"/>
              <a:buFont typeface="Arial" panose="020B0604020202020204" pitchFamily="34" charset="0"/>
              <a:buChar char="–"/>
              <a:defRPr/>
            </a:pPr>
            <a:r>
              <a:rPr kumimoji="0" lang="en-GB" sz="1100" i="0" u="none" strike="noStrike" kern="1200" cap="none" spc="0" normalizeH="0" baseline="0" noProof="0">
                <a:ln>
                  <a:noFill/>
                </a:ln>
                <a:solidFill>
                  <a:schemeClr val="tx1"/>
                </a:solidFill>
                <a:effectLst/>
                <a:uLnTx/>
                <a:uFillTx/>
                <a:latin typeface="Calibri"/>
                <a:ea typeface="+mn-ea"/>
                <a:cs typeface="+mn-cs"/>
              </a:rPr>
              <a:t>Which markets have structural attractiveness, but suffer from conjunctural headwind?</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Is now the best timing to enter these markets?</a:t>
            </a:r>
          </a:p>
          <a:p>
            <a:pPr marL="359988" lvl="1" indent="-179994">
              <a:spcBef>
                <a:spcPts val="300"/>
              </a:spcBef>
              <a:buSzPct val="100000"/>
              <a:buFont typeface="Arial" panose="020B0604020202020204" pitchFamily="34" charset="0"/>
              <a:buChar char="–"/>
              <a:defRPr/>
            </a:pPr>
            <a:r>
              <a:rPr kumimoji="0" lang="en-GB" sz="1100" i="0" u="none" strike="noStrike" kern="1200" cap="none" spc="0" normalizeH="0" baseline="0" noProof="0">
                <a:ln>
                  <a:noFill/>
                </a:ln>
                <a:solidFill>
                  <a:schemeClr val="tx1"/>
                </a:solidFill>
                <a:effectLst/>
                <a:uLnTx/>
                <a:uFillTx/>
                <a:latin typeface="Calibri"/>
                <a:ea typeface="+mn-ea"/>
                <a:cs typeface="+mn-cs"/>
              </a:rPr>
              <a:t>Which offers </a:t>
            </a:r>
            <a:r>
              <a:rPr kumimoji="0" lang="en-GB" sz="1100" i="0" u="none" strike="noStrike" kern="1200" cap="none" spc="0" normalizeH="0" baseline="0" noProof="0" err="1">
                <a:ln>
                  <a:noFill/>
                </a:ln>
                <a:solidFill>
                  <a:schemeClr val="tx1"/>
                </a:solidFill>
                <a:effectLst/>
                <a:uLnTx/>
                <a:uFillTx/>
                <a:latin typeface="Calibri"/>
                <a:ea typeface="+mn-ea"/>
                <a:cs typeface="+mn-cs"/>
              </a:rPr>
              <a:t>sh</a:t>
            </a:r>
            <a:r>
              <a:rPr lang="en-GB" sz="1100" err="1">
                <a:solidFill>
                  <a:schemeClr val="tx1"/>
                </a:solidFill>
                <a:latin typeface="Calibri"/>
              </a:rPr>
              <a:t>ould</a:t>
            </a:r>
            <a:r>
              <a:rPr lang="en-GB" sz="1100">
                <a:solidFill>
                  <a:schemeClr val="tx1"/>
                </a:solidFill>
                <a:latin typeface="Calibri"/>
              </a:rPr>
              <a:t> we design &amp; push to such markets?</a:t>
            </a:r>
            <a:endParaRPr kumimoji="0" lang="en-GB" sz="1100" i="0" u="none" strike="noStrike" kern="1200" cap="none" spc="0" normalizeH="0" baseline="0" noProof="0">
              <a:ln>
                <a:noFill/>
              </a:ln>
              <a:solidFill>
                <a:schemeClr val="tx1"/>
              </a:solidFill>
              <a:effectLst/>
              <a:uLnTx/>
              <a:uFillTx/>
              <a:latin typeface="Calibri"/>
              <a:ea typeface="+mn-ea"/>
              <a:cs typeface="+mn-cs"/>
            </a:endParaRPr>
          </a:p>
          <a:p>
            <a:pPr marL="228600" indent="-228600">
              <a:spcBef>
                <a:spcPts val="600"/>
              </a:spcBef>
              <a:buSzPct val="100000"/>
              <a:buFont typeface="+mj-lt"/>
              <a:buAutoNum type="arabicPeriod"/>
              <a:defRPr/>
            </a:pPr>
            <a:r>
              <a:rPr lang="en-GB" sz="1100" b="1">
                <a:solidFill>
                  <a:schemeClr val="tx1"/>
                </a:solidFill>
                <a:latin typeface="Calibri"/>
              </a:rPr>
              <a:t>Asset light strategy</a:t>
            </a:r>
          </a:p>
          <a:p>
            <a:pPr marL="359988" lvl="1" indent="-179994">
              <a:spcBef>
                <a:spcPts val="300"/>
              </a:spcBef>
              <a:buSzPct val="100000"/>
              <a:buFont typeface="Arial" panose="020B0604020202020204" pitchFamily="34" charset="0"/>
              <a:buChar char="–"/>
              <a:defRPr/>
            </a:pPr>
            <a:r>
              <a:rPr kumimoji="0" lang="en-GB" sz="1100" i="0" u="none" strike="noStrike" kern="1200" cap="none" spc="0" normalizeH="0" baseline="0" noProof="0">
                <a:ln>
                  <a:noFill/>
                </a:ln>
                <a:solidFill>
                  <a:schemeClr val="tx1"/>
                </a:solidFill>
                <a:effectLst/>
                <a:uLnTx/>
                <a:uFillTx/>
                <a:latin typeface="Calibri"/>
                <a:ea typeface="+mn-ea"/>
                <a:cs typeface="+mn-cs"/>
              </a:rPr>
              <a:t>To which extent should we try and externalize our value chain in China?</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What could be the other alternative model or scenario for Nexans in China?</a:t>
            </a:r>
            <a:endParaRPr kumimoji="0" lang="en-GB" sz="1100" i="0" u="none" strike="noStrike" kern="1200" cap="none" spc="0" normalizeH="0" baseline="0" noProof="0">
              <a:ln>
                <a:noFill/>
              </a:ln>
              <a:solidFill>
                <a:schemeClr val="tx1"/>
              </a:solidFill>
              <a:effectLst/>
              <a:uLnTx/>
              <a:uFillTx/>
              <a:latin typeface="Calibri"/>
              <a:ea typeface="+mn-ea"/>
              <a:cs typeface="+mn-cs"/>
            </a:endParaRP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Could such a model be translated to another region in which Nexans operates?</a:t>
            </a:r>
            <a:endParaRPr kumimoji="0" lang="en-GB" sz="1100" i="0" u="none" strike="noStrike" kern="1200" cap="none" spc="0" normalizeH="0" baseline="0" noProof="0">
              <a:ln>
                <a:noFill/>
              </a:ln>
              <a:solidFill>
                <a:schemeClr val="tx1"/>
              </a:solidFill>
              <a:effectLst/>
              <a:uLnTx/>
              <a:uFillTx/>
              <a:latin typeface="Calibri"/>
              <a:ea typeface="+mn-ea"/>
              <a:cs typeface="+mn-cs"/>
            </a:endParaRPr>
          </a:p>
          <a:p>
            <a:pPr marL="228600" indent="-228600">
              <a:spcBef>
                <a:spcPts val="600"/>
              </a:spcBef>
              <a:buSzPct val="100000"/>
              <a:buFont typeface="+mj-lt"/>
              <a:buAutoNum type="arabicPeriod"/>
              <a:defRPr/>
            </a:pPr>
            <a:r>
              <a:rPr lang="en-GB" sz="1100" b="1">
                <a:solidFill>
                  <a:schemeClr val="tx1"/>
                </a:solidFill>
                <a:latin typeface="Calibri"/>
              </a:rPr>
              <a:t>[Europe] Recession navigation</a:t>
            </a:r>
          </a:p>
          <a:p>
            <a:pPr marL="359988" lvl="1" indent="-179994">
              <a:spcBef>
                <a:spcPts val="300"/>
              </a:spcBef>
              <a:buSzPct val="100000"/>
              <a:buFont typeface="Arial" panose="020B0604020202020204" pitchFamily="34" charset="0"/>
              <a:buChar char="–"/>
              <a:defRPr/>
            </a:pPr>
            <a:r>
              <a:rPr kumimoji="0" lang="en-GB" sz="1100" i="0" u="none" strike="noStrike" kern="1200" cap="none" spc="0" normalizeH="0" baseline="0" noProof="0">
                <a:ln>
                  <a:noFill/>
                </a:ln>
                <a:solidFill>
                  <a:schemeClr val="tx1"/>
                </a:solidFill>
                <a:effectLst/>
                <a:uLnTx/>
                <a:uFillTx/>
                <a:latin typeface="Calibri"/>
                <a:ea typeface="+mn-ea"/>
                <a:cs typeface="+mn-cs"/>
              </a:rPr>
              <a:t>Which lessons could be learnt from Nexans’ Asian BUs?</a:t>
            </a:r>
          </a:p>
          <a:p>
            <a:pPr marL="359988" lvl="1" indent="-179994">
              <a:spcBef>
                <a:spcPts val="300"/>
              </a:spcBef>
              <a:buSzPct val="100000"/>
              <a:buFont typeface="Arial" panose="020B0604020202020204" pitchFamily="34" charset="0"/>
              <a:buChar char="–"/>
              <a:defRPr/>
            </a:pPr>
            <a:r>
              <a:rPr kumimoji="0" lang="en-GB" sz="1100" i="0" u="none" strike="noStrike" kern="1200" cap="none" spc="0" normalizeH="0" baseline="0" noProof="0">
                <a:ln>
                  <a:noFill/>
                </a:ln>
                <a:solidFill>
                  <a:schemeClr val="tx1"/>
                </a:solidFill>
                <a:effectLst/>
                <a:uLnTx/>
                <a:uFillTx/>
                <a:latin typeface="Calibri"/>
                <a:ea typeface="+mn-ea"/>
                <a:cs typeface="+mn-cs"/>
              </a:rPr>
              <a:t>How should we adjust target values to our KPIs?</a:t>
            </a:r>
          </a:p>
        </p:txBody>
      </p:sp>
      <p:sp>
        <p:nvSpPr>
          <p:cNvPr id="5" name="Title 9">
            <a:extLst>
              <a:ext uri="{FF2B5EF4-FFF2-40B4-BE49-F238E27FC236}">
                <a16:creationId xmlns:a16="http://schemas.microsoft.com/office/drawing/2014/main" id="{0A4AAB8C-DF2B-4DD1-AAA8-35227DC3579B}"/>
              </a:ext>
            </a:extLst>
          </p:cNvPr>
          <p:cNvSpPr txBox="1">
            <a:spLocks/>
          </p:cNvSpPr>
          <p:nvPr/>
        </p:nvSpPr>
        <p:spPr>
          <a:xfrm>
            <a:off x="457200" y="384048"/>
            <a:ext cx="11277600" cy="758952"/>
          </a:xfrm>
          <a:prstGeom prst="rect">
            <a:avLst/>
          </a:prstGeom>
        </p:spPr>
        <p:txBody>
          <a:bodyPr vert="horz"/>
          <a:lstStyle>
            <a:lvl1pPr algn="l" defTabSz="914370" rtl="0" eaLnBrk="1" latinLnBrk="0" hangingPunct="1">
              <a:lnSpc>
                <a:spcPct val="90000"/>
              </a:lnSpc>
              <a:spcBef>
                <a:spcPct val="0"/>
              </a:spcBef>
              <a:buNone/>
              <a:defRPr sz="2800" b="1" kern="0" cap="all" baseline="0">
                <a:solidFill>
                  <a:schemeClr val="tx1"/>
                </a:solidFill>
                <a:latin typeface="+mj-lt"/>
                <a:ea typeface="+mj-ea"/>
                <a:cs typeface="+mj-cs"/>
              </a:defRPr>
            </a:lvl1pPr>
          </a:lstStyle>
          <a:p>
            <a:pPr marL="0" marR="0" lvl="0" indent="0" algn="l" defTabSz="914370" rtl="0" eaLnBrk="1" fontAlgn="auto" latinLnBrk="0" hangingPunct="1">
              <a:lnSpc>
                <a:spcPct val="90000"/>
              </a:lnSpc>
              <a:spcBef>
                <a:spcPct val="0"/>
              </a:spcBef>
              <a:spcAft>
                <a:spcPts val="0"/>
              </a:spcAft>
              <a:buClrTx/>
              <a:buSzTx/>
              <a:buFontTx/>
              <a:buNone/>
              <a:tabLst/>
              <a:defRPr/>
            </a:pPr>
            <a:endParaRPr kumimoji="0" lang="en-GB" sz="2800" b="1" i="0" u="none" strike="noStrike" kern="0" cap="all" spc="0" normalizeH="0" baseline="0" noProof="0">
              <a:ln>
                <a:noFill/>
              </a:ln>
              <a:solidFill>
                <a:srgbClr val="000000"/>
              </a:solidFill>
              <a:effectLst/>
              <a:uLnTx/>
              <a:uFillTx/>
              <a:latin typeface="MMC Display Condensed"/>
              <a:ea typeface="+mj-ea"/>
              <a:cs typeface="+mj-cs"/>
            </a:endParaRPr>
          </a:p>
        </p:txBody>
      </p:sp>
      <p:sp>
        <p:nvSpPr>
          <p:cNvPr id="6" name="Title 2">
            <a:extLst>
              <a:ext uri="{FF2B5EF4-FFF2-40B4-BE49-F238E27FC236}">
                <a16:creationId xmlns:a16="http://schemas.microsoft.com/office/drawing/2014/main" id="{F99D1B89-E9A3-4FB3-ADBF-06151F2763B6}"/>
              </a:ext>
            </a:extLst>
          </p:cNvPr>
          <p:cNvSpPr>
            <a:spLocks noGrp="1"/>
          </p:cNvSpPr>
          <p:nvPr>
            <p:ph type="title"/>
          </p:nvPr>
        </p:nvSpPr>
        <p:spPr/>
        <p:txBody>
          <a:bodyPr vert="horz"/>
          <a:lstStyle/>
          <a:p>
            <a:r>
              <a:rPr lang="en-GB"/>
              <a:t>Key questions behind each pattern (1/2)</a:t>
            </a:r>
          </a:p>
        </p:txBody>
      </p:sp>
      <p:cxnSp>
        <p:nvCxnSpPr>
          <p:cNvPr id="19" name="Straight Connector 18">
            <a:extLst>
              <a:ext uri="{FF2B5EF4-FFF2-40B4-BE49-F238E27FC236}">
                <a16:creationId xmlns:a16="http://schemas.microsoft.com/office/drawing/2014/main" id="{E1DDA2A3-3949-39E3-AD62-69AF9D0508A2}"/>
              </a:ext>
            </a:extLst>
          </p:cNvPr>
          <p:cNvCxnSpPr>
            <a:cxnSpLocks/>
          </p:cNvCxnSpPr>
          <p:nvPr/>
        </p:nvCxnSpPr>
        <p:spPr>
          <a:xfrm>
            <a:off x="467408" y="2203889"/>
            <a:ext cx="0" cy="3892117"/>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B44F81B-98CE-DE59-9979-8EC3AACE5932}"/>
              </a:ext>
            </a:extLst>
          </p:cNvPr>
          <p:cNvSpPr/>
          <p:nvPr/>
        </p:nvSpPr>
        <p:spPr>
          <a:xfrm>
            <a:off x="6234823" y="1412618"/>
            <a:ext cx="5499980" cy="472951"/>
          </a:xfrm>
          <a:prstGeom prst="rect">
            <a:avLst/>
          </a:prstGeom>
          <a:solidFill>
            <a:srgbClr val="002C7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C2607AE6-69E3-2138-7D57-ED2030966ACA}"/>
              </a:ext>
            </a:extLst>
          </p:cNvPr>
          <p:cNvSpPr txBox="1">
            <a:spLocks/>
          </p:cNvSpPr>
          <p:nvPr/>
        </p:nvSpPr>
        <p:spPr>
          <a:xfrm>
            <a:off x="6322588" y="1389168"/>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rgbClr val="FFFFFF"/>
                </a:solidFill>
                <a:latin typeface="MMC Display Condensed"/>
                <a:cs typeface="Arial"/>
              </a:rPr>
              <a:t>B</a:t>
            </a:r>
            <a:endParaRPr kumimoji="0" lang="en-GB" sz="36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39" name="TextBox 38">
            <a:extLst>
              <a:ext uri="{FF2B5EF4-FFF2-40B4-BE49-F238E27FC236}">
                <a16:creationId xmlns:a16="http://schemas.microsoft.com/office/drawing/2014/main" id="{A201AD81-7531-D0C0-B026-6436632BAEEB}"/>
              </a:ext>
            </a:extLst>
          </p:cNvPr>
          <p:cNvSpPr txBox="1">
            <a:spLocks/>
          </p:cNvSpPr>
          <p:nvPr/>
        </p:nvSpPr>
        <p:spPr>
          <a:xfrm>
            <a:off x="6699912" y="1556853"/>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FFFFFF"/>
                </a:solidFill>
                <a:effectLst/>
                <a:uLnTx/>
                <a:uFillTx/>
                <a:latin typeface="Calibri"/>
                <a:ea typeface="+mn-ea"/>
                <a:cs typeface="Arial"/>
              </a:rPr>
              <a:t>Value Proposition</a:t>
            </a:r>
          </a:p>
        </p:txBody>
      </p:sp>
      <p:sp>
        <p:nvSpPr>
          <p:cNvPr id="40" name="Isosceles Triangle 39">
            <a:extLst>
              <a:ext uri="{FF2B5EF4-FFF2-40B4-BE49-F238E27FC236}">
                <a16:creationId xmlns:a16="http://schemas.microsoft.com/office/drawing/2014/main" id="{1277DB14-903C-609D-D0C3-D1F00E8AC656}"/>
              </a:ext>
            </a:extLst>
          </p:cNvPr>
          <p:cNvSpPr/>
          <p:nvPr/>
        </p:nvSpPr>
        <p:spPr>
          <a:xfrm rot="10800000">
            <a:off x="6362418" y="1881844"/>
            <a:ext cx="244549" cy="121389"/>
          </a:xfrm>
          <a:prstGeom prst="triangle">
            <a:avLst/>
          </a:prstGeom>
          <a:solidFill>
            <a:srgbClr val="002C77"/>
          </a:solidFill>
          <a:ln w="9525">
            <a:solidFill>
              <a:srgbClr val="002C7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41" name="Rectangle 40">
            <a:extLst>
              <a:ext uri="{FF2B5EF4-FFF2-40B4-BE49-F238E27FC236}">
                <a16:creationId xmlns:a16="http://schemas.microsoft.com/office/drawing/2014/main" id="{C009463B-F388-3CB1-0A08-E3D029B2E6CC}"/>
              </a:ext>
            </a:extLst>
          </p:cNvPr>
          <p:cNvSpPr>
            <a:spLocks/>
          </p:cNvSpPr>
          <p:nvPr/>
        </p:nvSpPr>
        <p:spPr>
          <a:xfrm>
            <a:off x="6387032" y="2003402"/>
            <a:ext cx="534776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r>
              <a:rPr kumimoji="0" lang="en-GB" sz="1100" b="1" i="0" u="none" strike="noStrike" kern="1200" cap="none" spc="0" normalizeH="0" baseline="0" noProof="0">
                <a:ln>
                  <a:noFill/>
                </a:ln>
                <a:solidFill>
                  <a:schemeClr val="tx1"/>
                </a:solidFill>
                <a:effectLst/>
                <a:uLnTx/>
                <a:uFillTx/>
                <a:latin typeface="Calibri"/>
                <a:ea typeface="+mn-ea"/>
                <a:cs typeface="+mn-cs"/>
              </a:rPr>
              <a:t>Key questions:</a:t>
            </a:r>
          </a:p>
          <a:p>
            <a:pPr marL="0" marR="0" lvl="0" indent="0" algn="l" defTabSz="914400" rtl="0" eaLnBrk="1" fontAlgn="auto" latinLnBrk="0" hangingPunct="1">
              <a:lnSpc>
                <a:spcPct val="100000"/>
              </a:lnSpc>
              <a:spcAft>
                <a:spcPts val="0"/>
              </a:spcAft>
              <a:buClrTx/>
              <a:buSzPct val="100000"/>
              <a:buFontTx/>
              <a:buNone/>
              <a:tabLst/>
              <a:defRPr/>
            </a:pPr>
            <a:endParaRPr lang="en-GB" sz="1100" b="1">
              <a:solidFill>
                <a:schemeClr val="tx1"/>
              </a:solidFill>
              <a:latin typeface="Calibri"/>
            </a:endParaRPr>
          </a:p>
          <a:p>
            <a:pPr marL="228600" indent="-228600">
              <a:spcBef>
                <a:spcPts val="600"/>
              </a:spcBef>
              <a:buSzPct val="100000"/>
              <a:buFont typeface="+mj-lt"/>
              <a:buAutoNum type="arabicPeriod"/>
              <a:defRPr/>
            </a:pPr>
            <a:r>
              <a:rPr lang="en-GB" sz="1100" b="1">
                <a:solidFill>
                  <a:schemeClr val="tx1"/>
                </a:solidFill>
                <a:latin typeface="Calibri"/>
              </a:rPr>
              <a:t>Differentiate, Differentiate, Differentiate</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How to move towards a specialist positioning (as opposed to a commodity manufacturer)?</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How to differentiate our offer by customer verticals?</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How do you secure a deep understanding of your Usages customers verticals to maximize Nexans value creation?</a:t>
            </a:r>
          </a:p>
          <a:p>
            <a:pPr marL="228600" indent="-228600">
              <a:spcBef>
                <a:spcPts val="600"/>
              </a:spcBef>
              <a:buSzPct val="100000"/>
              <a:buFont typeface="+mj-lt"/>
              <a:buAutoNum type="arabicPeriod"/>
              <a:defRPr/>
            </a:pPr>
            <a:r>
              <a:rPr lang="en-GB" sz="1100" b="1">
                <a:solidFill>
                  <a:schemeClr val="tx1"/>
                </a:solidFill>
                <a:latin typeface="Calibri"/>
              </a:rPr>
              <a:t>‘Strengthen the Core’</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How to transition our offering from components to solutions?</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Which new attractive profit pools could be opened to strengthen our core?</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Which additional capabilities should we master to open new attractive profit pools that strengthen our core business?</a:t>
            </a:r>
          </a:p>
          <a:p>
            <a:pPr marL="228600" indent="-228600">
              <a:spcBef>
                <a:spcPts val="600"/>
              </a:spcBef>
              <a:buSzPct val="100000"/>
              <a:buFont typeface="+mj-lt"/>
              <a:buAutoNum type="arabicPeriod"/>
              <a:defRPr/>
            </a:pPr>
            <a:r>
              <a:rPr lang="en-GB" sz="1100" b="1">
                <a:solidFill>
                  <a:srgbClr val="000000"/>
                </a:solidFill>
                <a:latin typeface="Calibri"/>
              </a:rPr>
              <a:t>Manageable Product Segmentation</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What is an acceptable number of offers/verticals with respect to management bandwidth &amp; existing capabilities?</a:t>
            </a:r>
          </a:p>
          <a:p>
            <a:pPr marL="228600" indent="-228600">
              <a:spcBef>
                <a:spcPts val="600"/>
              </a:spcBef>
              <a:buSzPct val="100000"/>
              <a:buFont typeface="+mj-lt"/>
              <a:buAutoNum type="arabicPeriod"/>
              <a:defRPr/>
            </a:pPr>
            <a:r>
              <a:rPr lang="en-GB" sz="1100" b="1">
                <a:solidFill>
                  <a:schemeClr val="tx1"/>
                </a:solidFill>
                <a:latin typeface="Calibri"/>
              </a:rPr>
              <a:t>Inflation-proof pricing</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Which systems should be deployed to monitor inflation’s volatility across BUs?</a:t>
            </a:r>
          </a:p>
          <a:p>
            <a:pPr marL="359988" lvl="1" indent="-179994">
              <a:spcBef>
                <a:spcPts val="300"/>
              </a:spcBef>
              <a:buSzPct val="100000"/>
              <a:buFont typeface="Arial" panose="020B0604020202020204" pitchFamily="34" charset="0"/>
              <a:buChar char="–"/>
              <a:defRPr/>
            </a:pPr>
            <a:r>
              <a:rPr lang="en-GB" sz="1100">
                <a:solidFill>
                  <a:schemeClr val="tx1"/>
                </a:solidFill>
                <a:latin typeface="Calibri"/>
              </a:rPr>
              <a:t>How to ensure satisfactory pass-through, from suppliers to customers (incl. distributors)?</a:t>
            </a:r>
            <a:endParaRPr lang="en-GB" sz="1100" b="1">
              <a:solidFill>
                <a:schemeClr val="tx1"/>
              </a:solidFill>
              <a:latin typeface="Calibri"/>
            </a:endParaRPr>
          </a:p>
          <a:p>
            <a:pPr marL="179994" indent="-179994">
              <a:spcBef>
                <a:spcPts val="600"/>
              </a:spcBef>
              <a:buSzPct val="100000"/>
              <a:buFont typeface="Arial" panose="020B0604020202020204" pitchFamily="34" charset="0"/>
              <a:buChar char="•"/>
              <a:defRPr/>
            </a:pPr>
            <a:endParaRPr lang="en-GB" sz="1100" b="1">
              <a:solidFill>
                <a:schemeClr val="tx1"/>
              </a:solidFill>
              <a:latin typeface="Calibri"/>
            </a:endParaRPr>
          </a:p>
          <a:p>
            <a:pPr marL="179994" indent="-179994">
              <a:spcBef>
                <a:spcPts val="600"/>
              </a:spcBef>
              <a:buSzPct val="100000"/>
              <a:buFont typeface="Arial" panose="020B0604020202020204" pitchFamily="34" charset="0"/>
              <a:buChar char="•"/>
              <a:defRPr/>
            </a:pPr>
            <a:endParaRPr kumimoji="0" lang="en-GB" sz="1100" b="1" i="0" u="none" strike="noStrike" kern="1200" cap="none" spc="0" normalizeH="0" baseline="0" noProof="0">
              <a:ln>
                <a:noFill/>
              </a:ln>
              <a:solidFill>
                <a:schemeClr val="tx1"/>
              </a:solidFill>
              <a:effectLst/>
              <a:uLnTx/>
              <a:uFillTx/>
              <a:latin typeface="Calibri"/>
              <a:ea typeface="+mn-ea"/>
              <a:cs typeface="+mn-cs"/>
            </a:endParaRPr>
          </a:p>
        </p:txBody>
      </p:sp>
      <p:cxnSp>
        <p:nvCxnSpPr>
          <p:cNvPr id="42" name="Straight Connector 41">
            <a:extLst>
              <a:ext uri="{FF2B5EF4-FFF2-40B4-BE49-F238E27FC236}">
                <a16:creationId xmlns:a16="http://schemas.microsoft.com/office/drawing/2014/main" id="{F46BAD7B-6601-84EA-C884-DCA66FFE57AC}"/>
              </a:ext>
            </a:extLst>
          </p:cNvPr>
          <p:cNvCxnSpPr>
            <a:cxnSpLocks/>
          </p:cNvCxnSpPr>
          <p:nvPr/>
        </p:nvCxnSpPr>
        <p:spPr>
          <a:xfrm>
            <a:off x="6245030" y="2203889"/>
            <a:ext cx="0" cy="3892117"/>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86616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922178-D387-4CBD-8C1C-C31D76404B12}"/>
              </a:ext>
            </a:extLst>
          </p:cNvPr>
          <p:cNvGraphicFramePr>
            <a:graphicFrameLocks noChangeAspect="1"/>
          </p:cNvGraphicFramePr>
          <p:nvPr>
            <p:custDataLst>
              <p:tags r:id="rId1"/>
            </p:custDataLst>
            <p:extLst>
              <p:ext uri="{D42A27DB-BD31-4B8C-83A1-F6EECF244321}">
                <p14:modId xmlns:p14="http://schemas.microsoft.com/office/powerpoint/2010/main" val="2908101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04922178-D387-4CBD-8C1C-C31D76404B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9507BD62-44E8-8DA3-AD7B-226325630F86}"/>
              </a:ext>
            </a:extLst>
          </p:cNvPr>
          <p:cNvSpPr/>
          <p:nvPr/>
        </p:nvSpPr>
        <p:spPr>
          <a:xfrm>
            <a:off x="457201" y="1412613"/>
            <a:ext cx="5499980" cy="472951"/>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CC176819-AABE-46B6-8315-70438F00C53C}"/>
              </a:ext>
            </a:extLst>
          </p:cNvPr>
          <p:cNvSpPr txBox="1">
            <a:spLocks/>
          </p:cNvSpPr>
          <p:nvPr/>
        </p:nvSpPr>
        <p:spPr>
          <a:xfrm>
            <a:off x="544966" y="1389163"/>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rgbClr val="FFFFFF"/>
                </a:solidFill>
                <a:latin typeface="MMC Display Condensed"/>
                <a:cs typeface="Arial"/>
              </a:rPr>
              <a:t>C</a:t>
            </a:r>
            <a:endParaRPr kumimoji="0" lang="en-GB" sz="36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85" name="TextBox 84">
            <a:extLst>
              <a:ext uri="{FF2B5EF4-FFF2-40B4-BE49-F238E27FC236}">
                <a16:creationId xmlns:a16="http://schemas.microsoft.com/office/drawing/2014/main" id="{167C6D49-6FDC-43AB-BEAA-6E34A0AB3D5F}"/>
              </a:ext>
            </a:extLst>
          </p:cNvPr>
          <p:cNvSpPr txBox="1">
            <a:spLocks/>
          </p:cNvSpPr>
          <p:nvPr/>
        </p:nvSpPr>
        <p:spPr>
          <a:xfrm>
            <a:off x="922290" y="1556848"/>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FFFFFF"/>
                </a:solidFill>
                <a:effectLst/>
                <a:uLnTx/>
                <a:uFillTx/>
                <a:latin typeface="Calibri"/>
                <a:ea typeface="+mn-ea"/>
                <a:cs typeface="Arial"/>
              </a:rPr>
              <a:t>Operating Model</a:t>
            </a:r>
          </a:p>
        </p:txBody>
      </p:sp>
      <p:sp>
        <p:nvSpPr>
          <p:cNvPr id="11" name="Isosceles Triangle 10">
            <a:extLst>
              <a:ext uri="{FF2B5EF4-FFF2-40B4-BE49-F238E27FC236}">
                <a16:creationId xmlns:a16="http://schemas.microsoft.com/office/drawing/2014/main" id="{889FCD73-BC38-E1F4-F851-9AE834B9174C}"/>
              </a:ext>
            </a:extLst>
          </p:cNvPr>
          <p:cNvSpPr/>
          <p:nvPr/>
        </p:nvSpPr>
        <p:spPr>
          <a:xfrm rot="10800000">
            <a:off x="584796" y="1881839"/>
            <a:ext cx="244549" cy="121389"/>
          </a:xfrm>
          <a:prstGeom prst="triangle">
            <a:avLst/>
          </a:prstGeom>
          <a:solidFill>
            <a:schemeClr val="accent2"/>
          </a:solidFill>
          <a:ln w="9525">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61" name="Rectangle 60">
            <a:extLst>
              <a:ext uri="{FF2B5EF4-FFF2-40B4-BE49-F238E27FC236}">
                <a16:creationId xmlns:a16="http://schemas.microsoft.com/office/drawing/2014/main" id="{0E7FAB8C-2B87-1082-1632-BD3030EBAA5B}"/>
              </a:ext>
            </a:extLst>
          </p:cNvPr>
          <p:cNvSpPr>
            <a:spLocks/>
          </p:cNvSpPr>
          <p:nvPr/>
        </p:nvSpPr>
        <p:spPr>
          <a:xfrm>
            <a:off x="609410" y="2003397"/>
            <a:ext cx="534776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r>
              <a:rPr kumimoji="0" lang="en-GB" sz="1050" b="1" i="0" u="none" strike="noStrike" kern="1200" cap="none" spc="0" normalizeH="0" baseline="0" noProof="0">
                <a:ln>
                  <a:noFill/>
                </a:ln>
                <a:solidFill>
                  <a:schemeClr val="tx1"/>
                </a:solidFill>
                <a:effectLst/>
                <a:uLnTx/>
                <a:uFillTx/>
                <a:latin typeface="Calibri"/>
                <a:ea typeface="+mn-ea"/>
                <a:cs typeface="+mn-cs"/>
              </a:rPr>
              <a:t>Key questions:</a:t>
            </a:r>
          </a:p>
          <a:p>
            <a:pPr marL="0" marR="0" lvl="0" indent="0" algn="l" defTabSz="914400" rtl="0" eaLnBrk="1" fontAlgn="auto" latinLnBrk="0" hangingPunct="1">
              <a:lnSpc>
                <a:spcPct val="100000"/>
              </a:lnSpc>
              <a:spcAft>
                <a:spcPts val="0"/>
              </a:spcAft>
              <a:buClrTx/>
              <a:buSzPct val="100000"/>
              <a:buFontTx/>
              <a:buNone/>
              <a:tabLst/>
              <a:defRPr/>
            </a:pPr>
            <a:endParaRPr lang="en-GB" sz="700" b="1">
              <a:solidFill>
                <a:schemeClr val="tx1"/>
              </a:solidFill>
              <a:latin typeface="Calibri"/>
            </a:endParaRPr>
          </a:p>
          <a:p>
            <a:pPr marL="228600" indent="-228600">
              <a:spcBef>
                <a:spcPts val="600"/>
              </a:spcBef>
              <a:buSzPct val="100000"/>
              <a:buFont typeface="+mj-lt"/>
              <a:buAutoNum type="arabicPeriod"/>
              <a:defRPr/>
            </a:pPr>
            <a:r>
              <a:rPr lang="en-GB" sz="1050" b="1">
                <a:solidFill>
                  <a:schemeClr val="tx1"/>
                </a:solidFill>
                <a:latin typeface="Calibri"/>
              </a:rPr>
              <a:t>Cash is king</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How to ensure our operating model is calibrated to generate cash?</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Which measures should be taken to adapt our businesses from a growth context to a recession?</a:t>
            </a:r>
          </a:p>
          <a:p>
            <a:pPr marL="228600" indent="-228600">
              <a:spcBef>
                <a:spcPts val="600"/>
              </a:spcBef>
              <a:buSzPct val="100000"/>
              <a:buFont typeface="+mj-lt"/>
              <a:buAutoNum type="arabicPeriod"/>
              <a:defRPr/>
            </a:pPr>
            <a:r>
              <a:rPr lang="en-GB" sz="1050" b="1">
                <a:solidFill>
                  <a:schemeClr val="tx1"/>
                </a:solidFill>
                <a:latin typeface="Calibri"/>
              </a:rPr>
              <a:t>Cost </a:t>
            </a:r>
            <a:r>
              <a:rPr lang="en-GB" sz="1050" b="1" err="1">
                <a:solidFill>
                  <a:schemeClr val="tx1"/>
                </a:solidFill>
                <a:latin typeface="Calibri"/>
              </a:rPr>
              <a:t>Variabilization</a:t>
            </a:r>
            <a:endParaRPr lang="en-GB" sz="1050" b="1">
              <a:solidFill>
                <a:schemeClr val="tx1"/>
              </a:solidFill>
              <a:latin typeface="Calibri"/>
            </a:endParaRP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Which functions &amp; competencies should be outsourced and why?</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Is our real-estate footprint right-sized? What would being asset light mean for you?</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Which other fixed costs could be </a:t>
            </a:r>
            <a:r>
              <a:rPr lang="en-GB" sz="1050" err="1">
                <a:solidFill>
                  <a:schemeClr val="tx1"/>
                </a:solidFill>
                <a:latin typeface="Calibri"/>
              </a:rPr>
              <a:t>variabilized</a:t>
            </a:r>
            <a:r>
              <a:rPr lang="en-GB" sz="1050">
                <a:solidFill>
                  <a:schemeClr val="tx1"/>
                </a:solidFill>
                <a:latin typeface="Calibri"/>
              </a:rPr>
              <a:t>?</a:t>
            </a:r>
          </a:p>
          <a:p>
            <a:pPr marL="228600" indent="-228600">
              <a:spcBef>
                <a:spcPts val="600"/>
              </a:spcBef>
              <a:buSzPct val="100000"/>
              <a:buFont typeface="+mj-lt"/>
              <a:buAutoNum type="arabicPeriod"/>
              <a:defRPr/>
            </a:pPr>
            <a:r>
              <a:rPr lang="en-GB" sz="1050" b="1">
                <a:solidFill>
                  <a:schemeClr val="tx1"/>
                </a:solidFill>
                <a:latin typeface="Calibri"/>
              </a:rPr>
              <a:t>Networked organization</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How can we create links between functions and across BUs? </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How can we benefit from other geographies’ functional expertise, while keeping regional/ local autonomy?</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To which extent should systematic approaches be used across geographies?</a:t>
            </a:r>
          </a:p>
          <a:p>
            <a:pPr indent="-277206">
              <a:spcBef>
                <a:spcPts val="300"/>
              </a:spcBef>
              <a:buSzPct val="100000"/>
              <a:buFont typeface="+mj-lt"/>
              <a:buAutoNum type="arabicPeriod"/>
              <a:defRPr/>
            </a:pPr>
            <a:r>
              <a:rPr lang="en-GB" sz="1050" b="1">
                <a:solidFill>
                  <a:schemeClr val="tx1"/>
                </a:solidFill>
                <a:latin typeface="Calibri"/>
              </a:rPr>
              <a:t>Supply Chain Resilience</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How to secure our supply chain from disruptions, such as natural disasters, geopolitical sanctions, taxes, etc.?</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What could we do to boost recycling capabilities, while securing metal volumes?</a:t>
            </a:r>
          </a:p>
          <a:p>
            <a:pPr indent="-277206">
              <a:spcBef>
                <a:spcPts val="300"/>
              </a:spcBef>
              <a:buSzPct val="100000"/>
              <a:buFont typeface="+mj-lt"/>
              <a:buAutoNum type="arabicPeriod"/>
              <a:defRPr/>
            </a:pPr>
            <a:r>
              <a:rPr lang="en-GB" sz="1050" b="1">
                <a:solidFill>
                  <a:schemeClr val="tx1"/>
                </a:solidFill>
                <a:latin typeface="Calibri"/>
              </a:rPr>
              <a:t>Operating as a specialist</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sym typeface="Wingdings" panose="05000000000000000000" pitchFamily="2" charset="2"/>
              </a:rPr>
              <a:t>What changes should be made to the current organisation &amp; processes to operate as a specialist (as opposed to a generalist)?</a:t>
            </a:r>
            <a:endParaRPr lang="en-GB" sz="1050">
              <a:solidFill>
                <a:schemeClr val="tx1"/>
              </a:solidFill>
              <a:latin typeface="Calibri"/>
            </a:endParaRPr>
          </a:p>
          <a:p>
            <a:pPr marL="359988" lvl="1" indent="-179994">
              <a:spcBef>
                <a:spcPts val="300"/>
              </a:spcBef>
              <a:buSzPct val="100000"/>
              <a:buFont typeface="Arial" panose="020B0604020202020204" pitchFamily="34" charset="0"/>
              <a:buChar char="–"/>
              <a:defRPr/>
            </a:pPr>
            <a:endParaRPr lang="en-GB" sz="1050">
              <a:solidFill>
                <a:schemeClr val="tx1"/>
              </a:solidFill>
              <a:latin typeface="Calibri"/>
            </a:endParaRPr>
          </a:p>
          <a:p>
            <a:pPr>
              <a:spcBef>
                <a:spcPts val="300"/>
              </a:spcBef>
              <a:buSzPct val="100000"/>
              <a:defRPr/>
            </a:pPr>
            <a:endParaRPr lang="en-GB" sz="1050">
              <a:solidFill>
                <a:schemeClr val="tx1"/>
              </a:solidFill>
              <a:latin typeface="Calibri"/>
            </a:endParaRPr>
          </a:p>
        </p:txBody>
      </p:sp>
      <p:sp>
        <p:nvSpPr>
          <p:cNvPr id="5" name="Title 9">
            <a:extLst>
              <a:ext uri="{FF2B5EF4-FFF2-40B4-BE49-F238E27FC236}">
                <a16:creationId xmlns:a16="http://schemas.microsoft.com/office/drawing/2014/main" id="{0A4AAB8C-DF2B-4DD1-AAA8-35227DC3579B}"/>
              </a:ext>
            </a:extLst>
          </p:cNvPr>
          <p:cNvSpPr txBox="1">
            <a:spLocks/>
          </p:cNvSpPr>
          <p:nvPr/>
        </p:nvSpPr>
        <p:spPr>
          <a:xfrm>
            <a:off x="457200" y="384048"/>
            <a:ext cx="11277600" cy="758952"/>
          </a:xfrm>
          <a:prstGeom prst="rect">
            <a:avLst/>
          </a:prstGeom>
        </p:spPr>
        <p:txBody>
          <a:bodyPr vert="horz"/>
          <a:lstStyle>
            <a:lvl1pPr algn="l" defTabSz="914370" rtl="0" eaLnBrk="1" latinLnBrk="0" hangingPunct="1">
              <a:lnSpc>
                <a:spcPct val="90000"/>
              </a:lnSpc>
              <a:spcBef>
                <a:spcPct val="0"/>
              </a:spcBef>
              <a:buNone/>
              <a:defRPr sz="2800" b="1" kern="0" cap="all" baseline="0">
                <a:solidFill>
                  <a:schemeClr val="tx1"/>
                </a:solidFill>
                <a:latin typeface="+mj-lt"/>
                <a:ea typeface="+mj-ea"/>
                <a:cs typeface="+mj-cs"/>
              </a:defRPr>
            </a:lvl1pPr>
          </a:lstStyle>
          <a:p>
            <a:pPr marL="0" marR="0" lvl="0" indent="0" algn="l" defTabSz="914370" rtl="0" eaLnBrk="1" fontAlgn="auto" latinLnBrk="0" hangingPunct="1">
              <a:lnSpc>
                <a:spcPct val="90000"/>
              </a:lnSpc>
              <a:spcBef>
                <a:spcPct val="0"/>
              </a:spcBef>
              <a:spcAft>
                <a:spcPts val="0"/>
              </a:spcAft>
              <a:buClrTx/>
              <a:buSzTx/>
              <a:buFontTx/>
              <a:buNone/>
              <a:tabLst/>
              <a:defRPr/>
            </a:pPr>
            <a:endParaRPr kumimoji="0" lang="en-GB" sz="2800" b="1" i="0" u="none" strike="noStrike" kern="0" cap="all" spc="0" normalizeH="0" baseline="0" noProof="0">
              <a:ln>
                <a:noFill/>
              </a:ln>
              <a:solidFill>
                <a:srgbClr val="000000"/>
              </a:solidFill>
              <a:effectLst/>
              <a:uLnTx/>
              <a:uFillTx/>
              <a:latin typeface="MMC Display Condensed"/>
              <a:ea typeface="+mj-ea"/>
              <a:cs typeface="+mj-cs"/>
            </a:endParaRPr>
          </a:p>
        </p:txBody>
      </p:sp>
      <p:sp>
        <p:nvSpPr>
          <p:cNvPr id="6" name="Title 2">
            <a:extLst>
              <a:ext uri="{FF2B5EF4-FFF2-40B4-BE49-F238E27FC236}">
                <a16:creationId xmlns:a16="http://schemas.microsoft.com/office/drawing/2014/main" id="{F99D1B89-E9A3-4FB3-ADBF-06151F2763B6}"/>
              </a:ext>
            </a:extLst>
          </p:cNvPr>
          <p:cNvSpPr>
            <a:spLocks noGrp="1"/>
          </p:cNvSpPr>
          <p:nvPr>
            <p:ph type="title"/>
          </p:nvPr>
        </p:nvSpPr>
        <p:spPr/>
        <p:txBody>
          <a:bodyPr vert="horz"/>
          <a:lstStyle/>
          <a:p>
            <a:r>
              <a:rPr lang="en-GB"/>
              <a:t>Key questions behind each pattern (2/2)</a:t>
            </a:r>
          </a:p>
        </p:txBody>
      </p:sp>
      <p:cxnSp>
        <p:nvCxnSpPr>
          <p:cNvPr id="19" name="Straight Connector 18">
            <a:extLst>
              <a:ext uri="{FF2B5EF4-FFF2-40B4-BE49-F238E27FC236}">
                <a16:creationId xmlns:a16="http://schemas.microsoft.com/office/drawing/2014/main" id="{E1DDA2A3-3949-39E3-AD62-69AF9D0508A2}"/>
              </a:ext>
            </a:extLst>
          </p:cNvPr>
          <p:cNvCxnSpPr>
            <a:cxnSpLocks/>
          </p:cNvCxnSpPr>
          <p:nvPr/>
        </p:nvCxnSpPr>
        <p:spPr>
          <a:xfrm>
            <a:off x="467408" y="2203884"/>
            <a:ext cx="0" cy="3892117"/>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B44F81B-98CE-DE59-9979-8EC3AACE5932}"/>
              </a:ext>
            </a:extLst>
          </p:cNvPr>
          <p:cNvSpPr/>
          <p:nvPr/>
        </p:nvSpPr>
        <p:spPr>
          <a:xfrm>
            <a:off x="6234823" y="1412613"/>
            <a:ext cx="5499980" cy="472951"/>
          </a:xfrm>
          <a:prstGeom prst="rect">
            <a:avLst/>
          </a:prstGeom>
          <a:solidFill>
            <a:srgbClr val="76D3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C2607AE6-69E3-2138-7D57-ED2030966ACA}"/>
              </a:ext>
            </a:extLst>
          </p:cNvPr>
          <p:cNvSpPr txBox="1">
            <a:spLocks/>
          </p:cNvSpPr>
          <p:nvPr/>
        </p:nvSpPr>
        <p:spPr>
          <a:xfrm>
            <a:off x="6322588" y="1389163"/>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chemeClr val="tx2"/>
                </a:solidFill>
                <a:latin typeface="MMC Display Condensed"/>
                <a:cs typeface="Arial"/>
              </a:rPr>
              <a:t>D</a:t>
            </a:r>
            <a:endParaRPr kumimoji="0" lang="en-GB" sz="3600" b="1" i="0" u="none" strike="noStrike" kern="0" cap="none" spc="0" normalizeH="0" baseline="0" noProof="0">
              <a:ln>
                <a:noFill/>
              </a:ln>
              <a:solidFill>
                <a:schemeClr val="tx2"/>
              </a:solidFill>
              <a:effectLst/>
              <a:uLnTx/>
              <a:uFillTx/>
              <a:latin typeface="MMC Display Condensed"/>
              <a:ea typeface="+mn-ea"/>
              <a:cs typeface="Arial"/>
            </a:endParaRPr>
          </a:p>
        </p:txBody>
      </p:sp>
      <p:sp>
        <p:nvSpPr>
          <p:cNvPr id="39" name="TextBox 38">
            <a:extLst>
              <a:ext uri="{FF2B5EF4-FFF2-40B4-BE49-F238E27FC236}">
                <a16:creationId xmlns:a16="http://schemas.microsoft.com/office/drawing/2014/main" id="{A201AD81-7531-D0C0-B026-6436632BAEEB}"/>
              </a:ext>
            </a:extLst>
          </p:cNvPr>
          <p:cNvSpPr txBox="1">
            <a:spLocks/>
          </p:cNvSpPr>
          <p:nvPr/>
        </p:nvSpPr>
        <p:spPr>
          <a:xfrm>
            <a:off x="6699912" y="1556848"/>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lang="en-GB" sz="1600" b="1">
                <a:latin typeface="Calibri"/>
                <a:cs typeface="Arial"/>
              </a:rPr>
              <a:t>Mindset</a:t>
            </a:r>
            <a:endParaRPr kumimoji="0" lang="en-GB" sz="1600" b="1" i="0" u="none" strike="noStrike" kern="0" cap="none" spc="0" normalizeH="0" baseline="0" noProof="0">
              <a:ln>
                <a:noFill/>
              </a:ln>
              <a:effectLst/>
              <a:uLnTx/>
              <a:uFillTx/>
              <a:latin typeface="Calibri"/>
              <a:ea typeface="+mn-ea"/>
              <a:cs typeface="Arial"/>
            </a:endParaRPr>
          </a:p>
        </p:txBody>
      </p:sp>
      <p:sp>
        <p:nvSpPr>
          <p:cNvPr id="40" name="Isosceles Triangle 39">
            <a:extLst>
              <a:ext uri="{FF2B5EF4-FFF2-40B4-BE49-F238E27FC236}">
                <a16:creationId xmlns:a16="http://schemas.microsoft.com/office/drawing/2014/main" id="{1277DB14-903C-609D-D0C3-D1F00E8AC656}"/>
              </a:ext>
            </a:extLst>
          </p:cNvPr>
          <p:cNvSpPr/>
          <p:nvPr/>
        </p:nvSpPr>
        <p:spPr>
          <a:xfrm rot="10800000">
            <a:off x="6362418" y="1881839"/>
            <a:ext cx="244549" cy="121389"/>
          </a:xfrm>
          <a:prstGeom prst="triangle">
            <a:avLst/>
          </a:prstGeom>
          <a:solidFill>
            <a:srgbClr val="76D3FF"/>
          </a:solidFill>
          <a:ln w="9525">
            <a:solidFill>
              <a:srgbClr val="76D3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41" name="Rectangle 40">
            <a:extLst>
              <a:ext uri="{FF2B5EF4-FFF2-40B4-BE49-F238E27FC236}">
                <a16:creationId xmlns:a16="http://schemas.microsoft.com/office/drawing/2014/main" id="{C009463B-F388-3CB1-0A08-E3D029B2E6CC}"/>
              </a:ext>
            </a:extLst>
          </p:cNvPr>
          <p:cNvSpPr>
            <a:spLocks/>
          </p:cNvSpPr>
          <p:nvPr/>
        </p:nvSpPr>
        <p:spPr>
          <a:xfrm>
            <a:off x="6387032" y="2003397"/>
            <a:ext cx="534776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r>
              <a:rPr kumimoji="0" lang="en-GB" sz="1050" b="1" i="0" u="none" strike="noStrike" kern="1200" cap="none" spc="0" normalizeH="0" baseline="0" noProof="0">
                <a:ln>
                  <a:noFill/>
                </a:ln>
                <a:solidFill>
                  <a:schemeClr val="tx1"/>
                </a:solidFill>
                <a:effectLst/>
                <a:uLnTx/>
                <a:uFillTx/>
                <a:latin typeface="Calibri"/>
                <a:ea typeface="+mn-ea"/>
                <a:cs typeface="+mn-cs"/>
              </a:rPr>
              <a:t>Key questions:</a:t>
            </a:r>
          </a:p>
          <a:p>
            <a:pPr marL="0" marR="0" lvl="0" indent="0" algn="l" defTabSz="914400" rtl="0" eaLnBrk="1" fontAlgn="auto" latinLnBrk="0" hangingPunct="1">
              <a:lnSpc>
                <a:spcPct val="100000"/>
              </a:lnSpc>
              <a:spcAft>
                <a:spcPts val="0"/>
              </a:spcAft>
              <a:buClrTx/>
              <a:buSzPct val="100000"/>
              <a:buFontTx/>
              <a:buNone/>
              <a:tabLst/>
              <a:defRPr/>
            </a:pPr>
            <a:endParaRPr lang="en-GB" sz="700" b="1">
              <a:solidFill>
                <a:schemeClr val="tx1"/>
              </a:solidFill>
              <a:latin typeface="Calibri"/>
            </a:endParaRPr>
          </a:p>
          <a:p>
            <a:pPr marL="228600" indent="-228600">
              <a:spcBef>
                <a:spcPts val="600"/>
              </a:spcBef>
              <a:buSzPct val="100000"/>
              <a:buFont typeface="+mj-lt"/>
              <a:buAutoNum type="arabicPeriod"/>
              <a:defRPr/>
            </a:pPr>
            <a:r>
              <a:rPr lang="en-GB" sz="1050" b="1">
                <a:solidFill>
                  <a:schemeClr val="tx1"/>
                </a:solidFill>
                <a:latin typeface="Calibri"/>
              </a:rPr>
              <a:t>Platinum customers</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What are the different platinum customer segments and what are their distinct needs?</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Which organization and skills should we build &amp; nurture to best match our platinum customers’ needs (spanning marketing, sales, technical support)?</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How can we leverage the internet &amp; digital to better reach platinum customers and understand their needs (e.g., Nexans-specific sections in Rexel &amp; </a:t>
            </a:r>
            <a:r>
              <a:rPr lang="en-GB" sz="1050" err="1">
                <a:solidFill>
                  <a:schemeClr val="tx1"/>
                </a:solidFill>
                <a:latin typeface="Calibri"/>
              </a:rPr>
              <a:t>Sonepar</a:t>
            </a:r>
            <a:r>
              <a:rPr lang="en-GB" sz="1050">
                <a:solidFill>
                  <a:schemeClr val="tx1"/>
                </a:solidFill>
                <a:latin typeface="Calibri"/>
              </a:rPr>
              <a:t> sites)</a:t>
            </a:r>
          </a:p>
          <a:p>
            <a:pPr indent="-277206">
              <a:spcBef>
                <a:spcPts val="300"/>
              </a:spcBef>
              <a:buSzPct val="100000"/>
              <a:buFont typeface="+mj-lt"/>
              <a:buAutoNum type="arabicPeriod"/>
              <a:defRPr/>
            </a:pPr>
            <a:r>
              <a:rPr lang="en-GB" sz="1050" b="1">
                <a:solidFill>
                  <a:schemeClr val="tx1"/>
                </a:solidFill>
                <a:latin typeface="Calibri"/>
              </a:rPr>
              <a:t>Scaling through playbooks</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How to leverage playbooks to systematically transpose best-practices across regions?</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How to identify &amp; select the best-practices to be transposed?</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Which tools &amp; governance models should we use?</a:t>
            </a:r>
          </a:p>
          <a:p>
            <a:pPr marL="228600" indent="-228600">
              <a:spcBef>
                <a:spcPts val="600"/>
              </a:spcBef>
              <a:buSzPct val="100000"/>
              <a:buFont typeface="+mj-lt"/>
              <a:buAutoNum type="arabicPeriod"/>
              <a:defRPr/>
            </a:pPr>
            <a:r>
              <a:rPr lang="en-GB" sz="1050" b="1">
                <a:solidFill>
                  <a:schemeClr val="tx1"/>
                </a:solidFill>
                <a:latin typeface="Calibri"/>
              </a:rPr>
              <a:t>Adaptive Decision Making</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How can we switch from linear decision-making to building multiple scenarios (“no regrets” / “big bet” / other open options) (e.g., in budgeting, investment decisions, etc.)</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Which mechanism should guide us to trigger one option or the other?</a:t>
            </a:r>
          </a:p>
          <a:p>
            <a:pPr marL="228600" indent="-228600">
              <a:spcBef>
                <a:spcPts val="600"/>
              </a:spcBef>
              <a:buSzPct val="100000"/>
              <a:buFont typeface="+mj-lt"/>
              <a:buAutoNum type="arabicPeriod"/>
              <a:defRPr/>
            </a:pPr>
            <a:r>
              <a:rPr kumimoji="0" lang="en-GB" sz="1050" b="1" i="0" u="none" strike="noStrike" kern="1200" cap="none" spc="0" normalizeH="0" baseline="0" noProof="0">
                <a:ln>
                  <a:noFill/>
                </a:ln>
                <a:solidFill>
                  <a:schemeClr val="tx1"/>
                </a:solidFill>
                <a:effectLst/>
                <a:uLnTx/>
                <a:uFillTx/>
                <a:latin typeface="Calibri"/>
                <a:ea typeface="+mn-ea"/>
                <a:cs typeface="+mn-cs"/>
              </a:rPr>
              <a:t>Talent-driven culture</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How to boost our attractiveness, especially regarding blue collars?</a:t>
            </a:r>
          </a:p>
          <a:p>
            <a:pPr marL="359988" lvl="1" indent="-179994">
              <a:spcBef>
                <a:spcPts val="300"/>
              </a:spcBef>
              <a:buSzPct val="100000"/>
              <a:buFont typeface="Arial" panose="020B0604020202020204" pitchFamily="34" charset="0"/>
              <a:buChar char="–"/>
              <a:defRPr/>
            </a:pPr>
            <a:r>
              <a:rPr kumimoji="0" lang="en-GB" sz="1050" i="0" u="none" strike="noStrike" kern="1200" cap="none" spc="0" normalizeH="0" baseline="0" noProof="0">
                <a:ln>
                  <a:noFill/>
                </a:ln>
                <a:solidFill>
                  <a:schemeClr val="tx1"/>
                </a:solidFill>
                <a:effectLst/>
                <a:uLnTx/>
                <a:uFillTx/>
                <a:latin typeface="Calibri"/>
                <a:ea typeface="+mn-ea"/>
                <a:cs typeface="+mn-cs"/>
              </a:rPr>
              <a:t>How to ensure the skills we need will continue being available across our geographies?</a:t>
            </a:r>
          </a:p>
          <a:p>
            <a:pPr indent="-277206">
              <a:spcBef>
                <a:spcPts val="300"/>
              </a:spcBef>
              <a:buSzPct val="100000"/>
              <a:buFont typeface="+mj-lt"/>
              <a:buAutoNum type="arabicPeriod"/>
              <a:defRPr/>
            </a:pPr>
            <a:r>
              <a:rPr kumimoji="0" lang="en-GB" sz="1050" b="1" i="0" u="none" strike="noStrike" kern="1200" cap="none" spc="0" normalizeH="0" baseline="0" noProof="0">
                <a:ln>
                  <a:noFill/>
                </a:ln>
                <a:solidFill>
                  <a:srgbClr val="000000"/>
                </a:solidFill>
                <a:effectLst/>
                <a:uLnTx/>
                <a:uFillTx/>
                <a:latin typeface="Calibri"/>
                <a:ea typeface="+mn-ea"/>
                <a:cs typeface="+mn-cs"/>
              </a:rPr>
              <a:t>Autonomous crisis response</a:t>
            </a:r>
          </a:p>
          <a:p>
            <a:pPr marL="359988" lvl="1" indent="-179994">
              <a:spcBef>
                <a:spcPts val="300"/>
              </a:spcBef>
              <a:buSzPct val="100000"/>
              <a:buFont typeface="Arial" panose="020B0604020202020204" pitchFamily="34" charset="0"/>
              <a:buChar char="–"/>
              <a:defRPr/>
            </a:pPr>
            <a:r>
              <a:rPr kumimoji="0" lang="en-GB" sz="1050" i="0" u="none" strike="noStrike" kern="1200" cap="none" spc="0" normalizeH="0" baseline="0" noProof="0">
                <a:ln>
                  <a:noFill/>
                </a:ln>
                <a:solidFill>
                  <a:schemeClr val="tx1"/>
                </a:solidFill>
                <a:effectLst/>
                <a:uLnTx/>
                <a:uFillTx/>
                <a:latin typeface="Calibri"/>
                <a:ea typeface="+mn-ea"/>
                <a:cs typeface="+mn-cs"/>
              </a:rPr>
              <a:t>How to empower local management to react autonomously to crises?</a:t>
            </a:r>
          </a:p>
          <a:p>
            <a:pPr marL="359988" lvl="1" indent="-179994">
              <a:spcBef>
                <a:spcPts val="300"/>
              </a:spcBef>
              <a:buSzPct val="100000"/>
              <a:buFont typeface="Arial" panose="020B0604020202020204" pitchFamily="34" charset="0"/>
              <a:buChar char="–"/>
              <a:defRPr/>
            </a:pPr>
            <a:r>
              <a:rPr lang="en-GB" sz="1050">
                <a:solidFill>
                  <a:schemeClr val="tx1"/>
                </a:solidFill>
                <a:latin typeface="Calibri"/>
              </a:rPr>
              <a:t>Which mechanisms should be deployed between Central and local management to best address crises as a team?</a:t>
            </a:r>
            <a:endParaRPr kumimoji="0" lang="en-GB" sz="1050" i="0" u="none" strike="noStrike" kern="1200" cap="none" spc="0" normalizeH="0" baseline="0" noProof="0">
              <a:ln>
                <a:noFill/>
              </a:ln>
              <a:solidFill>
                <a:schemeClr val="tx1"/>
              </a:solidFill>
              <a:effectLst/>
              <a:uLnTx/>
              <a:uFillTx/>
              <a:latin typeface="Calibri"/>
              <a:ea typeface="+mn-ea"/>
              <a:cs typeface="+mn-cs"/>
            </a:endParaRPr>
          </a:p>
        </p:txBody>
      </p:sp>
      <p:cxnSp>
        <p:nvCxnSpPr>
          <p:cNvPr id="42" name="Straight Connector 41">
            <a:extLst>
              <a:ext uri="{FF2B5EF4-FFF2-40B4-BE49-F238E27FC236}">
                <a16:creationId xmlns:a16="http://schemas.microsoft.com/office/drawing/2014/main" id="{F46BAD7B-6601-84EA-C884-DCA66FFE57AC}"/>
              </a:ext>
            </a:extLst>
          </p:cNvPr>
          <p:cNvCxnSpPr>
            <a:cxnSpLocks/>
          </p:cNvCxnSpPr>
          <p:nvPr/>
        </p:nvCxnSpPr>
        <p:spPr>
          <a:xfrm>
            <a:off x="6245030" y="2203884"/>
            <a:ext cx="0" cy="3892117"/>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86944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922178-D387-4CBD-8C1C-C31D76404B12}"/>
              </a:ext>
            </a:extLst>
          </p:cNvPr>
          <p:cNvGraphicFramePr>
            <a:graphicFrameLocks noChangeAspect="1"/>
          </p:cNvGraphicFramePr>
          <p:nvPr>
            <p:custDataLst>
              <p:tags r:id="rId1"/>
            </p:custDataLst>
            <p:extLst>
              <p:ext uri="{D42A27DB-BD31-4B8C-83A1-F6EECF244321}">
                <p14:modId xmlns:p14="http://schemas.microsoft.com/office/powerpoint/2010/main" val="380785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04922178-D387-4CBD-8C1C-C31D76404B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9">
            <a:extLst>
              <a:ext uri="{FF2B5EF4-FFF2-40B4-BE49-F238E27FC236}">
                <a16:creationId xmlns:a16="http://schemas.microsoft.com/office/drawing/2014/main" id="{0A4AAB8C-DF2B-4DD1-AAA8-35227DC3579B}"/>
              </a:ext>
            </a:extLst>
          </p:cNvPr>
          <p:cNvSpPr txBox="1">
            <a:spLocks/>
          </p:cNvSpPr>
          <p:nvPr/>
        </p:nvSpPr>
        <p:spPr>
          <a:xfrm>
            <a:off x="457200" y="384048"/>
            <a:ext cx="11277600" cy="758952"/>
          </a:xfrm>
          <a:prstGeom prst="rect">
            <a:avLst/>
          </a:prstGeom>
        </p:spPr>
        <p:txBody>
          <a:bodyPr vert="horz"/>
          <a:lstStyle>
            <a:lvl1pPr algn="l" defTabSz="914370" rtl="0" eaLnBrk="1" latinLnBrk="0" hangingPunct="1">
              <a:lnSpc>
                <a:spcPct val="90000"/>
              </a:lnSpc>
              <a:spcBef>
                <a:spcPct val="0"/>
              </a:spcBef>
              <a:buNone/>
              <a:defRPr sz="2800" b="1" kern="0" cap="all" baseline="0">
                <a:solidFill>
                  <a:schemeClr val="tx1"/>
                </a:solidFill>
                <a:latin typeface="+mj-lt"/>
                <a:ea typeface="+mj-ea"/>
                <a:cs typeface="+mj-cs"/>
              </a:defRPr>
            </a:lvl1pPr>
          </a:lstStyle>
          <a:p>
            <a:pPr marL="0" marR="0" lvl="0" indent="0" algn="l" defTabSz="914370" rtl="0" eaLnBrk="1" fontAlgn="auto" latinLnBrk="0" hangingPunct="1">
              <a:lnSpc>
                <a:spcPct val="90000"/>
              </a:lnSpc>
              <a:spcBef>
                <a:spcPct val="0"/>
              </a:spcBef>
              <a:spcAft>
                <a:spcPts val="0"/>
              </a:spcAft>
              <a:buClrTx/>
              <a:buSzTx/>
              <a:buFontTx/>
              <a:buNone/>
              <a:tabLst/>
              <a:defRPr/>
            </a:pPr>
            <a:endParaRPr kumimoji="0" lang="en-GB" sz="2800" b="1" i="0" u="none" strike="noStrike" kern="0" cap="all" spc="0" normalizeH="0" baseline="0" noProof="0">
              <a:ln>
                <a:noFill/>
              </a:ln>
              <a:solidFill>
                <a:srgbClr val="000000"/>
              </a:solidFill>
              <a:effectLst/>
              <a:uLnTx/>
              <a:uFillTx/>
              <a:latin typeface="MMC Display Condensed"/>
              <a:ea typeface="+mj-ea"/>
              <a:cs typeface="+mj-cs"/>
            </a:endParaRPr>
          </a:p>
        </p:txBody>
      </p:sp>
      <p:sp>
        <p:nvSpPr>
          <p:cNvPr id="6" name="Title 2">
            <a:extLst>
              <a:ext uri="{FF2B5EF4-FFF2-40B4-BE49-F238E27FC236}">
                <a16:creationId xmlns:a16="http://schemas.microsoft.com/office/drawing/2014/main" id="{F99D1B89-E9A3-4FB3-ADBF-06151F2763B6}"/>
              </a:ext>
            </a:extLst>
          </p:cNvPr>
          <p:cNvSpPr>
            <a:spLocks noGrp="1"/>
          </p:cNvSpPr>
          <p:nvPr>
            <p:ph type="title"/>
          </p:nvPr>
        </p:nvSpPr>
        <p:spPr/>
        <p:txBody>
          <a:bodyPr vert="horz"/>
          <a:lstStyle/>
          <a:p>
            <a:r>
              <a:rPr lang="en-GB"/>
              <a:t>We will now split into 2 groups to investigate patterns – please choose optional patterns to reach ~5 patterns per group</a:t>
            </a:r>
          </a:p>
        </p:txBody>
      </p:sp>
      <p:sp>
        <p:nvSpPr>
          <p:cNvPr id="26" name="Rectangle 25">
            <a:extLst>
              <a:ext uri="{FF2B5EF4-FFF2-40B4-BE49-F238E27FC236}">
                <a16:creationId xmlns:a16="http://schemas.microsoft.com/office/drawing/2014/main" id="{C589F2E8-D4C2-B8ED-5F61-9ABA5E588CA3}"/>
              </a:ext>
            </a:extLst>
          </p:cNvPr>
          <p:cNvSpPr/>
          <p:nvPr/>
        </p:nvSpPr>
        <p:spPr>
          <a:xfrm>
            <a:off x="451999" y="2683316"/>
            <a:ext cx="2726815" cy="3717484"/>
          </a:xfrm>
          <a:prstGeom prst="rect">
            <a:avLst/>
          </a:prstGeom>
          <a:solidFill>
            <a:schemeClr val="bg1"/>
          </a:solidFill>
          <a:ln w="9525">
            <a:no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47" name="Rectangle 46">
            <a:extLst>
              <a:ext uri="{FF2B5EF4-FFF2-40B4-BE49-F238E27FC236}">
                <a16:creationId xmlns:a16="http://schemas.microsoft.com/office/drawing/2014/main" id="{087EAFA9-C675-4A7F-C317-91EDA2D55514}"/>
              </a:ext>
            </a:extLst>
          </p:cNvPr>
          <p:cNvSpPr/>
          <p:nvPr/>
        </p:nvSpPr>
        <p:spPr>
          <a:xfrm>
            <a:off x="3311089" y="2683316"/>
            <a:ext cx="2726815" cy="3717484"/>
          </a:xfrm>
          <a:prstGeom prst="rect">
            <a:avLst/>
          </a:prstGeom>
          <a:solidFill>
            <a:schemeClr val="bg1"/>
          </a:solidFill>
          <a:ln w="9525">
            <a:no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77" name="Rectangle 76">
            <a:extLst>
              <a:ext uri="{FF2B5EF4-FFF2-40B4-BE49-F238E27FC236}">
                <a16:creationId xmlns:a16="http://schemas.microsoft.com/office/drawing/2014/main" id="{872EC6EA-5EEA-C501-3724-F6F83735323E}"/>
              </a:ext>
            </a:extLst>
          </p:cNvPr>
          <p:cNvSpPr/>
          <p:nvPr/>
        </p:nvSpPr>
        <p:spPr>
          <a:xfrm>
            <a:off x="6170179" y="2683316"/>
            <a:ext cx="2726815" cy="3717484"/>
          </a:xfrm>
          <a:prstGeom prst="rect">
            <a:avLst/>
          </a:prstGeom>
          <a:solidFill>
            <a:schemeClr val="bg1"/>
          </a:solidFill>
          <a:ln w="9525">
            <a:no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78" name="Rectangle 77">
            <a:extLst>
              <a:ext uri="{FF2B5EF4-FFF2-40B4-BE49-F238E27FC236}">
                <a16:creationId xmlns:a16="http://schemas.microsoft.com/office/drawing/2014/main" id="{7D25E845-7012-CCB5-C494-914020E4F34B}"/>
              </a:ext>
            </a:extLst>
          </p:cNvPr>
          <p:cNvSpPr/>
          <p:nvPr/>
        </p:nvSpPr>
        <p:spPr>
          <a:xfrm>
            <a:off x="8999870" y="2683316"/>
            <a:ext cx="2726815" cy="3717484"/>
          </a:xfrm>
          <a:prstGeom prst="rect">
            <a:avLst/>
          </a:prstGeom>
          <a:solidFill>
            <a:schemeClr val="bg1"/>
          </a:solidFill>
          <a:ln w="9525">
            <a:no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79" name="Oval 78">
            <a:extLst>
              <a:ext uri="{FF2B5EF4-FFF2-40B4-BE49-F238E27FC236}">
                <a16:creationId xmlns:a16="http://schemas.microsoft.com/office/drawing/2014/main" id="{6F03A5E0-FEB1-FC12-21B5-5BAE59EC0C73}"/>
              </a:ext>
            </a:extLst>
          </p:cNvPr>
          <p:cNvSpPr/>
          <p:nvPr/>
        </p:nvSpPr>
        <p:spPr>
          <a:xfrm>
            <a:off x="9195157" y="508109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0" name="Oval 79">
            <a:extLst>
              <a:ext uri="{FF2B5EF4-FFF2-40B4-BE49-F238E27FC236}">
                <a16:creationId xmlns:a16="http://schemas.microsoft.com/office/drawing/2014/main" id="{ACDCB392-CC23-1BB9-D09D-B2CE89834F67}"/>
              </a:ext>
            </a:extLst>
          </p:cNvPr>
          <p:cNvSpPr/>
          <p:nvPr/>
        </p:nvSpPr>
        <p:spPr>
          <a:xfrm>
            <a:off x="602755" y="2824303"/>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1" name="Oval 80">
            <a:extLst>
              <a:ext uri="{FF2B5EF4-FFF2-40B4-BE49-F238E27FC236}">
                <a16:creationId xmlns:a16="http://schemas.microsoft.com/office/drawing/2014/main" id="{EA5782F1-FB2D-F2F2-1194-6F48AD726663}"/>
              </a:ext>
            </a:extLst>
          </p:cNvPr>
          <p:cNvSpPr/>
          <p:nvPr/>
        </p:nvSpPr>
        <p:spPr>
          <a:xfrm>
            <a:off x="602755" y="3532231"/>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2" name="Oval 81">
            <a:extLst>
              <a:ext uri="{FF2B5EF4-FFF2-40B4-BE49-F238E27FC236}">
                <a16:creationId xmlns:a16="http://schemas.microsoft.com/office/drawing/2014/main" id="{5CEBF2D7-9A45-E842-04E5-3A8B9DA9A143}"/>
              </a:ext>
            </a:extLst>
          </p:cNvPr>
          <p:cNvSpPr/>
          <p:nvPr/>
        </p:nvSpPr>
        <p:spPr>
          <a:xfrm>
            <a:off x="602755" y="4364619"/>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3" name="Oval 82">
            <a:extLst>
              <a:ext uri="{FF2B5EF4-FFF2-40B4-BE49-F238E27FC236}">
                <a16:creationId xmlns:a16="http://schemas.microsoft.com/office/drawing/2014/main" id="{0B6E6FA7-D4DF-760E-E44C-C7744A133885}"/>
              </a:ext>
            </a:extLst>
          </p:cNvPr>
          <p:cNvSpPr/>
          <p:nvPr/>
        </p:nvSpPr>
        <p:spPr>
          <a:xfrm>
            <a:off x="602755" y="5205264"/>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sp>
        <p:nvSpPr>
          <p:cNvPr id="84" name="Oval 83">
            <a:extLst>
              <a:ext uri="{FF2B5EF4-FFF2-40B4-BE49-F238E27FC236}">
                <a16:creationId xmlns:a16="http://schemas.microsoft.com/office/drawing/2014/main" id="{781F5162-68E4-B36F-9DA7-A846728FC763}"/>
              </a:ext>
            </a:extLst>
          </p:cNvPr>
          <p:cNvSpPr/>
          <p:nvPr/>
        </p:nvSpPr>
        <p:spPr>
          <a:xfrm>
            <a:off x="3513377" y="2824303"/>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6" name="Oval 85">
            <a:extLst>
              <a:ext uri="{FF2B5EF4-FFF2-40B4-BE49-F238E27FC236}">
                <a16:creationId xmlns:a16="http://schemas.microsoft.com/office/drawing/2014/main" id="{C072E859-6E43-BA98-B830-29013670723B}"/>
              </a:ext>
            </a:extLst>
          </p:cNvPr>
          <p:cNvSpPr/>
          <p:nvPr/>
        </p:nvSpPr>
        <p:spPr>
          <a:xfrm>
            <a:off x="3513377" y="3466832"/>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7" name="Oval 86">
            <a:extLst>
              <a:ext uri="{FF2B5EF4-FFF2-40B4-BE49-F238E27FC236}">
                <a16:creationId xmlns:a16="http://schemas.microsoft.com/office/drawing/2014/main" id="{212908F9-C731-7815-3019-6F397038B794}"/>
              </a:ext>
            </a:extLst>
          </p:cNvPr>
          <p:cNvSpPr/>
          <p:nvPr/>
        </p:nvSpPr>
        <p:spPr>
          <a:xfrm>
            <a:off x="3513377" y="4328790"/>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8" name="Oval 87">
            <a:extLst>
              <a:ext uri="{FF2B5EF4-FFF2-40B4-BE49-F238E27FC236}">
                <a16:creationId xmlns:a16="http://schemas.microsoft.com/office/drawing/2014/main" id="{FF9108C5-4AAC-B8FB-DB3B-D7BB4BE17ED9}"/>
              </a:ext>
            </a:extLst>
          </p:cNvPr>
          <p:cNvSpPr/>
          <p:nvPr/>
        </p:nvSpPr>
        <p:spPr>
          <a:xfrm>
            <a:off x="3513377" y="522551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89" name="Oval 88">
            <a:extLst>
              <a:ext uri="{FF2B5EF4-FFF2-40B4-BE49-F238E27FC236}">
                <a16:creationId xmlns:a16="http://schemas.microsoft.com/office/drawing/2014/main" id="{7413F942-188D-43B6-A81F-A9EE1AAF76A4}"/>
              </a:ext>
            </a:extLst>
          </p:cNvPr>
          <p:cNvSpPr/>
          <p:nvPr/>
        </p:nvSpPr>
        <p:spPr>
          <a:xfrm>
            <a:off x="6345626" y="2824303"/>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0" name="Oval 89">
            <a:extLst>
              <a:ext uri="{FF2B5EF4-FFF2-40B4-BE49-F238E27FC236}">
                <a16:creationId xmlns:a16="http://schemas.microsoft.com/office/drawing/2014/main" id="{9B4B04A0-D702-0CC9-0F51-3658A921DE5C}"/>
              </a:ext>
            </a:extLst>
          </p:cNvPr>
          <p:cNvSpPr/>
          <p:nvPr/>
        </p:nvSpPr>
        <p:spPr>
          <a:xfrm>
            <a:off x="6345626" y="3544559"/>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1" name="Oval 90">
            <a:extLst>
              <a:ext uri="{FF2B5EF4-FFF2-40B4-BE49-F238E27FC236}">
                <a16:creationId xmlns:a16="http://schemas.microsoft.com/office/drawing/2014/main" id="{FAD54D36-97E4-12B6-90F3-15D7539E1E30}"/>
              </a:ext>
            </a:extLst>
          </p:cNvPr>
          <p:cNvSpPr/>
          <p:nvPr/>
        </p:nvSpPr>
        <p:spPr>
          <a:xfrm>
            <a:off x="6345626" y="4328790"/>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2" name="Oval 91">
            <a:extLst>
              <a:ext uri="{FF2B5EF4-FFF2-40B4-BE49-F238E27FC236}">
                <a16:creationId xmlns:a16="http://schemas.microsoft.com/office/drawing/2014/main" id="{59ECFC95-529E-1EF3-2B4B-F3972797B73A}"/>
              </a:ext>
            </a:extLst>
          </p:cNvPr>
          <p:cNvSpPr/>
          <p:nvPr/>
        </p:nvSpPr>
        <p:spPr>
          <a:xfrm>
            <a:off x="6345626" y="5107467"/>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3" name="Oval 92">
            <a:extLst>
              <a:ext uri="{FF2B5EF4-FFF2-40B4-BE49-F238E27FC236}">
                <a16:creationId xmlns:a16="http://schemas.microsoft.com/office/drawing/2014/main" id="{7CA5D8BD-1950-A339-F6E0-8E3C2C919514}"/>
              </a:ext>
            </a:extLst>
          </p:cNvPr>
          <p:cNvSpPr/>
          <p:nvPr/>
        </p:nvSpPr>
        <p:spPr>
          <a:xfrm>
            <a:off x="6345626" y="588593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4" name="Oval 93">
            <a:extLst>
              <a:ext uri="{FF2B5EF4-FFF2-40B4-BE49-F238E27FC236}">
                <a16:creationId xmlns:a16="http://schemas.microsoft.com/office/drawing/2014/main" id="{141A7488-ECFE-6DB4-8168-603EAF7AE4F4}"/>
              </a:ext>
            </a:extLst>
          </p:cNvPr>
          <p:cNvSpPr/>
          <p:nvPr/>
        </p:nvSpPr>
        <p:spPr>
          <a:xfrm>
            <a:off x="9195157" y="2765882"/>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5" name="Oval 94">
            <a:extLst>
              <a:ext uri="{FF2B5EF4-FFF2-40B4-BE49-F238E27FC236}">
                <a16:creationId xmlns:a16="http://schemas.microsoft.com/office/drawing/2014/main" id="{37985485-3B7E-F58E-F5F7-6614A26ED08A}"/>
              </a:ext>
            </a:extLst>
          </p:cNvPr>
          <p:cNvSpPr/>
          <p:nvPr/>
        </p:nvSpPr>
        <p:spPr>
          <a:xfrm>
            <a:off x="9195157" y="3544559"/>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96" name="Oval 95">
            <a:extLst>
              <a:ext uri="{FF2B5EF4-FFF2-40B4-BE49-F238E27FC236}">
                <a16:creationId xmlns:a16="http://schemas.microsoft.com/office/drawing/2014/main" id="{FBDE0DA3-9F14-B4E2-7A98-57B19A79DD7F}"/>
              </a:ext>
            </a:extLst>
          </p:cNvPr>
          <p:cNvSpPr/>
          <p:nvPr/>
        </p:nvSpPr>
        <p:spPr>
          <a:xfrm>
            <a:off x="9195157" y="4307190"/>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97" name="ico-tactic">
            <a:extLst>
              <a:ext uri="{FF2B5EF4-FFF2-40B4-BE49-F238E27FC236}">
                <a16:creationId xmlns:a16="http://schemas.microsoft.com/office/drawing/2014/main" id="{C4CC2B21-D842-752E-F463-1740575DA9BE}"/>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5400000">
            <a:off x="602755" y="5205264"/>
            <a:ext cx="317594" cy="317594"/>
          </a:xfrm>
          <a:prstGeom prst="rect">
            <a:avLst/>
          </a:prstGeom>
        </p:spPr>
      </p:pic>
      <p:pic>
        <p:nvPicPr>
          <p:cNvPr id="98" name="ico-research">
            <a:extLst>
              <a:ext uri="{FF2B5EF4-FFF2-40B4-BE49-F238E27FC236}">
                <a16:creationId xmlns:a16="http://schemas.microsoft.com/office/drawing/2014/main" id="{6487003B-0513-59CA-241A-F98219A3BDAF}"/>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02755" y="2824303"/>
            <a:ext cx="317594" cy="317594"/>
          </a:xfrm>
          <a:prstGeom prst="rect">
            <a:avLst/>
          </a:prstGeom>
        </p:spPr>
      </p:pic>
      <p:sp>
        <p:nvSpPr>
          <p:cNvPr id="99" name="Rectangle 98">
            <a:extLst>
              <a:ext uri="{FF2B5EF4-FFF2-40B4-BE49-F238E27FC236}">
                <a16:creationId xmlns:a16="http://schemas.microsoft.com/office/drawing/2014/main" id="{13446587-76E5-6508-6BC6-23BA2DA25C54}"/>
              </a:ext>
            </a:extLst>
          </p:cNvPr>
          <p:cNvSpPr/>
          <p:nvPr/>
        </p:nvSpPr>
        <p:spPr>
          <a:xfrm>
            <a:off x="9019333" y="1751276"/>
            <a:ext cx="2714625" cy="472951"/>
          </a:xfrm>
          <a:prstGeom prst="rect">
            <a:avLst/>
          </a:prstGeom>
          <a:solidFill>
            <a:srgbClr val="76D3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FF31EA59-BF50-C5E0-7B22-CFEA4213B5C2}"/>
              </a:ext>
            </a:extLst>
          </p:cNvPr>
          <p:cNvSpPr txBox="1">
            <a:spLocks/>
          </p:cNvSpPr>
          <p:nvPr/>
        </p:nvSpPr>
        <p:spPr>
          <a:xfrm>
            <a:off x="9107099" y="1727826"/>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latin typeface="MMC Display Condensed"/>
                <a:cs typeface="Arial"/>
              </a:rPr>
              <a:t>D</a:t>
            </a:r>
            <a:endParaRPr kumimoji="0" lang="en-GB" sz="3600" b="1" i="0" u="none" strike="noStrike" kern="0" cap="none" spc="0" normalizeH="0" baseline="0" noProof="0">
              <a:ln>
                <a:noFill/>
              </a:ln>
              <a:effectLst/>
              <a:uLnTx/>
              <a:uFillTx/>
              <a:latin typeface="MMC Display Condensed"/>
              <a:ea typeface="+mn-ea"/>
              <a:cs typeface="Arial"/>
            </a:endParaRPr>
          </a:p>
        </p:txBody>
      </p:sp>
      <p:sp>
        <p:nvSpPr>
          <p:cNvPr id="101" name="TextBox 100">
            <a:extLst>
              <a:ext uri="{FF2B5EF4-FFF2-40B4-BE49-F238E27FC236}">
                <a16:creationId xmlns:a16="http://schemas.microsoft.com/office/drawing/2014/main" id="{8CDF8CA1-1C35-103B-CED2-A01ACAE394AE}"/>
              </a:ext>
            </a:extLst>
          </p:cNvPr>
          <p:cNvSpPr txBox="1">
            <a:spLocks/>
          </p:cNvSpPr>
          <p:nvPr/>
        </p:nvSpPr>
        <p:spPr>
          <a:xfrm>
            <a:off x="9484423" y="1895511"/>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lang="en-GB" sz="1600" b="1">
                <a:latin typeface="Calibri"/>
                <a:cs typeface="Arial"/>
              </a:rPr>
              <a:t>Mindset</a:t>
            </a:r>
            <a:endParaRPr kumimoji="0" lang="en-GB" sz="1600" b="1" i="0" u="none" strike="noStrike" kern="0" cap="none" spc="0" normalizeH="0" baseline="0" noProof="0">
              <a:ln>
                <a:noFill/>
              </a:ln>
              <a:effectLst/>
              <a:uLnTx/>
              <a:uFillTx/>
              <a:latin typeface="Calibri"/>
              <a:ea typeface="+mn-ea"/>
              <a:cs typeface="Arial"/>
            </a:endParaRPr>
          </a:p>
        </p:txBody>
      </p:sp>
      <p:sp>
        <p:nvSpPr>
          <p:cNvPr id="102" name="Isosceles Triangle 101">
            <a:extLst>
              <a:ext uri="{FF2B5EF4-FFF2-40B4-BE49-F238E27FC236}">
                <a16:creationId xmlns:a16="http://schemas.microsoft.com/office/drawing/2014/main" id="{E695F5FF-21BD-B920-3587-332375D20318}"/>
              </a:ext>
            </a:extLst>
          </p:cNvPr>
          <p:cNvSpPr/>
          <p:nvPr/>
        </p:nvSpPr>
        <p:spPr>
          <a:xfrm rot="10800000">
            <a:off x="9146928" y="2220502"/>
            <a:ext cx="244549" cy="121389"/>
          </a:xfrm>
          <a:prstGeom prst="triangle">
            <a:avLst/>
          </a:prstGeom>
          <a:solidFill>
            <a:srgbClr val="76D3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03" name="Rectangle 102">
            <a:extLst>
              <a:ext uri="{FF2B5EF4-FFF2-40B4-BE49-F238E27FC236}">
                <a16:creationId xmlns:a16="http://schemas.microsoft.com/office/drawing/2014/main" id="{91F3140D-CC27-AA2C-0B9D-888520C118E4}"/>
              </a:ext>
            </a:extLst>
          </p:cNvPr>
          <p:cNvSpPr/>
          <p:nvPr/>
        </p:nvSpPr>
        <p:spPr>
          <a:xfrm>
            <a:off x="6165288" y="1751276"/>
            <a:ext cx="2714625" cy="472951"/>
          </a:xfrm>
          <a:prstGeom prst="rect">
            <a:avLst/>
          </a:prstGeom>
          <a:solidFill>
            <a:srgbClr val="009DE0"/>
          </a:solidFill>
          <a:ln w="9525">
            <a:solidFill>
              <a:srgbClr val="009DE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04" name="TextBox 103">
            <a:extLst>
              <a:ext uri="{FF2B5EF4-FFF2-40B4-BE49-F238E27FC236}">
                <a16:creationId xmlns:a16="http://schemas.microsoft.com/office/drawing/2014/main" id="{474092C3-3787-F732-A7F6-418A61A41832}"/>
              </a:ext>
            </a:extLst>
          </p:cNvPr>
          <p:cNvSpPr txBox="1">
            <a:spLocks/>
          </p:cNvSpPr>
          <p:nvPr/>
        </p:nvSpPr>
        <p:spPr>
          <a:xfrm>
            <a:off x="6253054" y="1727826"/>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rgbClr val="FFFFFF"/>
                </a:solidFill>
                <a:latin typeface="MMC Display Condensed"/>
                <a:cs typeface="Arial"/>
              </a:rPr>
              <a:t>C</a:t>
            </a:r>
            <a:endParaRPr kumimoji="0" lang="en-GB" sz="36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105" name="TextBox 104">
            <a:extLst>
              <a:ext uri="{FF2B5EF4-FFF2-40B4-BE49-F238E27FC236}">
                <a16:creationId xmlns:a16="http://schemas.microsoft.com/office/drawing/2014/main" id="{E1547015-F3C8-34F8-1B74-EAC6B1FF2E91}"/>
              </a:ext>
            </a:extLst>
          </p:cNvPr>
          <p:cNvSpPr txBox="1">
            <a:spLocks/>
          </p:cNvSpPr>
          <p:nvPr/>
        </p:nvSpPr>
        <p:spPr>
          <a:xfrm>
            <a:off x="6630378" y="1895511"/>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FFFFFF"/>
                </a:solidFill>
                <a:effectLst/>
                <a:uLnTx/>
                <a:uFillTx/>
                <a:latin typeface="Calibri"/>
                <a:ea typeface="+mn-ea"/>
                <a:cs typeface="Arial"/>
              </a:rPr>
              <a:t>Operating Model</a:t>
            </a:r>
          </a:p>
        </p:txBody>
      </p:sp>
      <p:sp>
        <p:nvSpPr>
          <p:cNvPr id="106" name="Isosceles Triangle 105">
            <a:extLst>
              <a:ext uri="{FF2B5EF4-FFF2-40B4-BE49-F238E27FC236}">
                <a16:creationId xmlns:a16="http://schemas.microsoft.com/office/drawing/2014/main" id="{1288867A-359A-0CE0-99D6-A6AE05669F69}"/>
              </a:ext>
            </a:extLst>
          </p:cNvPr>
          <p:cNvSpPr/>
          <p:nvPr/>
        </p:nvSpPr>
        <p:spPr>
          <a:xfrm rot="10800000">
            <a:off x="6286099" y="2228712"/>
            <a:ext cx="244549" cy="121389"/>
          </a:xfrm>
          <a:prstGeom prst="triangle">
            <a:avLst/>
          </a:prstGeom>
          <a:solidFill>
            <a:srgbClr val="009DE0"/>
          </a:solidFill>
          <a:ln w="9525">
            <a:solidFill>
              <a:srgbClr val="009DE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07" name="Rectangle 106">
            <a:extLst>
              <a:ext uri="{FF2B5EF4-FFF2-40B4-BE49-F238E27FC236}">
                <a16:creationId xmlns:a16="http://schemas.microsoft.com/office/drawing/2014/main" id="{1A192472-3B86-3E2D-E9CF-97CC50777E1B}"/>
              </a:ext>
            </a:extLst>
          </p:cNvPr>
          <p:cNvSpPr/>
          <p:nvPr/>
        </p:nvSpPr>
        <p:spPr>
          <a:xfrm>
            <a:off x="457200" y="1751276"/>
            <a:ext cx="2714625" cy="472951"/>
          </a:xfrm>
          <a:prstGeom prst="rect">
            <a:avLst/>
          </a:prstGeom>
          <a:solidFill>
            <a:srgbClr val="001538"/>
          </a:solidFill>
          <a:ln w="9525">
            <a:solidFill>
              <a:srgbClr val="00153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08" name="TextBox 107">
            <a:extLst>
              <a:ext uri="{FF2B5EF4-FFF2-40B4-BE49-F238E27FC236}">
                <a16:creationId xmlns:a16="http://schemas.microsoft.com/office/drawing/2014/main" id="{CE5BDDBE-601D-0D16-42C6-BC03444975E0}"/>
              </a:ext>
            </a:extLst>
          </p:cNvPr>
          <p:cNvSpPr txBox="1">
            <a:spLocks/>
          </p:cNvSpPr>
          <p:nvPr/>
        </p:nvSpPr>
        <p:spPr>
          <a:xfrm>
            <a:off x="544966" y="1727826"/>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rgbClr val="FFFFFF"/>
                </a:solidFill>
                <a:latin typeface="MMC Display Condensed"/>
                <a:cs typeface="Arial"/>
              </a:rPr>
              <a:t>A</a:t>
            </a:r>
            <a:endParaRPr kumimoji="0" lang="en-GB" sz="36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109" name="TextBox 108">
            <a:extLst>
              <a:ext uri="{FF2B5EF4-FFF2-40B4-BE49-F238E27FC236}">
                <a16:creationId xmlns:a16="http://schemas.microsoft.com/office/drawing/2014/main" id="{6CF9F8A9-1C00-C912-B77D-3A70A6FB49A1}"/>
              </a:ext>
            </a:extLst>
          </p:cNvPr>
          <p:cNvSpPr txBox="1">
            <a:spLocks/>
          </p:cNvSpPr>
          <p:nvPr/>
        </p:nvSpPr>
        <p:spPr>
          <a:xfrm>
            <a:off x="922290" y="1895511"/>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FFFFFF"/>
                </a:solidFill>
                <a:effectLst/>
                <a:uLnTx/>
                <a:uFillTx/>
                <a:latin typeface="Calibri"/>
                <a:ea typeface="+mn-ea"/>
                <a:cs typeface="Arial"/>
              </a:rPr>
              <a:t>Strategic Anticipation</a:t>
            </a:r>
          </a:p>
        </p:txBody>
      </p:sp>
      <p:sp>
        <p:nvSpPr>
          <p:cNvPr id="110" name="Isosceles Triangle 109">
            <a:extLst>
              <a:ext uri="{FF2B5EF4-FFF2-40B4-BE49-F238E27FC236}">
                <a16:creationId xmlns:a16="http://schemas.microsoft.com/office/drawing/2014/main" id="{DD3B5612-A7D3-0EF4-AA00-12DD8528E89F}"/>
              </a:ext>
            </a:extLst>
          </p:cNvPr>
          <p:cNvSpPr/>
          <p:nvPr/>
        </p:nvSpPr>
        <p:spPr>
          <a:xfrm rot="10800000">
            <a:off x="584796" y="2220502"/>
            <a:ext cx="244549" cy="121389"/>
          </a:xfrm>
          <a:prstGeom prst="triangle">
            <a:avLst/>
          </a:prstGeom>
          <a:solidFill>
            <a:srgbClr val="001538"/>
          </a:solidFill>
          <a:ln w="9525">
            <a:solidFill>
              <a:srgbClr val="00153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11" name="Rectangle 110">
            <a:extLst>
              <a:ext uri="{FF2B5EF4-FFF2-40B4-BE49-F238E27FC236}">
                <a16:creationId xmlns:a16="http://schemas.microsoft.com/office/drawing/2014/main" id="{DC8FE686-766F-9EC3-9F72-C186A7B8D517}"/>
              </a:ext>
            </a:extLst>
          </p:cNvPr>
          <p:cNvSpPr/>
          <p:nvPr/>
        </p:nvSpPr>
        <p:spPr>
          <a:xfrm>
            <a:off x="3311244" y="1751276"/>
            <a:ext cx="2714625" cy="472951"/>
          </a:xfrm>
          <a:prstGeom prst="rect">
            <a:avLst/>
          </a:prstGeom>
          <a:solidFill>
            <a:srgbClr val="002C77"/>
          </a:solidFill>
          <a:ln w="9525">
            <a:solidFill>
              <a:srgbClr val="002C7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a:ea typeface="+mn-ea"/>
              <a:cs typeface="+mn-cs"/>
            </a:endParaRPr>
          </a:p>
        </p:txBody>
      </p:sp>
      <p:sp>
        <p:nvSpPr>
          <p:cNvPr id="112" name="TextBox 111">
            <a:extLst>
              <a:ext uri="{FF2B5EF4-FFF2-40B4-BE49-F238E27FC236}">
                <a16:creationId xmlns:a16="http://schemas.microsoft.com/office/drawing/2014/main" id="{BFA2923C-F890-7ED0-EBD5-DC939FDECD9A}"/>
              </a:ext>
            </a:extLst>
          </p:cNvPr>
          <p:cNvSpPr txBox="1">
            <a:spLocks/>
          </p:cNvSpPr>
          <p:nvPr/>
        </p:nvSpPr>
        <p:spPr>
          <a:xfrm>
            <a:off x="3399010" y="1727826"/>
            <a:ext cx="299631" cy="553998"/>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rtl="0"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3600" b="1">
                <a:solidFill>
                  <a:srgbClr val="FFFFFF"/>
                </a:solidFill>
                <a:latin typeface="MMC Display Condensed"/>
                <a:cs typeface="Arial"/>
              </a:rPr>
              <a:t>B</a:t>
            </a:r>
            <a:endParaRPr kumimoji="0" lang="en-GB" sz="36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113" name="TextBox 112">
            <a:extLst>
              <a:ext uri="{FF2B5EF4-FFF2-40B4-BE49-F238E27FC236}">
                <a16:creationId xmlns:a16="http://schemas.microsoft.com/office/drawing/2014/main" id="{7D0DDAC8-952A-AF93-5AD2-7102410C037D}"/>
              </a:ext>
            </a:extLst>
          </p:cNvPr>
          <p:cNvSpPr txBox="1">
            <a:spLocks/>
          </p:cNvSpPr>
          <p:nvPr/>
        </p:nvSpPr>
        <p:spPr>
          <a:xfrm>
            <a:off x="3776334" y="1895511"/>
            <a:ext cx="2149805" cy="211083"/>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l" defTabSz="914311" rtl="0" eaLnBrk="1" fontAlgn="auto" latinLnBrk="0" hangingPunct="1">
              <a:lnSpc>
                <a:spcPct val="85000"/>
              </a:lnSpc>
              <a:spcBef>
                <a:spcPts val="0"/>
              </a:spcBef>
              <a:spcAft>
                <a:spcPct val="0"/>
              </a:spcAft>
              <a:buClrTx/>
              <a:buSzTx/>
              <a:buFont typeface="Arial" panose="020B0604020202020204" pitchFamily="34" charset="0"/>
              <a:buChar char="​"/>
              <a:tabLst/>
              <a:defRPr/>
            </a:pPr>
            <a:r>
              <a:rPr kumimoji="0" lang="en-GB" sz="1600" b="1" i="0" u="none" strike="noStrike" kern="0" cap="none" spc="0" normalizeH="0" baseline="0" noProof="0">
                <a:ln>
                  <a:noFill/>
                </a:ln>
                <a:solidFill>
                  <a:srgbClr val="FFFFFF"/>
                </a:solidFill>
                <a:effectLst/>
                <a:uLnTx/>
                <a:uFillTx/>
                <a:latin typeface="Calibri"/>
                <a:ea typeface="+mn-ea"/>
                <a:cs typeface="Arial"/>
              </a:rPr>
              <a:t>Value Proposition</a:t>
            </a:r>
          </a:p>
        </p:txBody>
      </p:sp>
      <p:sp>
        <p:nvSpPr>
          <p:cNvPr id="114" name="Isosceles Triangle 113">
            <a:extLst>
              <a:ext uri="{FF2B5EF4-FFF2-40B4-BE49-F238E27FC236}">
                <a16:creationId xmlns:a16="http://schemas.microsoft.com/office/drawing/2014/main" id="{F82726D1-F7A1-122C-A52C-1783717959A5}"/>
              </a:ext>
            </a:extLst>
          </p:cNvPr>
          <p:cNvSpPr/>
          <p:nvPr/>
        </p:nvSpPr>
        <p:spPr>
          <a:xfrm rot="10800000">
            <a:off x="3438840" y="2220502"/>
            <a:ext cx="244549" cy="121389"/>
          </a:xfrm>
          <a:prstGeom prst="triangle">
            <a:avLst/>
          </a:prstGeom>
          <a:solidFill>
            <a:srgbClr val="002C77"/>
          </a:solidFill>
          <a:ln w="9525">
            <a:solidFill>
              <a:srgbClr val="002C7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rgbClr val="000000"/>
              </a:solidFill>
              <a:latin typeface="Calibri"/>
            </a:endParaRPr>
          </a:p>
        </p:txBody>
      </p:sp>
      <p:sp>
        <p:nvSpPr>
          <p:cNvPr id="115" name="Rectangle 114">
            <a:extLst>
              <a:ext uri="{FF2B5EF4-FFF2-40B4-BE49-F238E27FC236}">
                <a16:creationId xmlns:a16="http://schemas.microsoft.com/office/drawing/2014/main" id="{CFFF1403-FC2B-D67F-DCCB-D436BC8CB7A4}"/>
              </a:ext>
            </a:extLst>
          </p:cNvPr>
          <p:cNvSpPr>
            <a:spLocks/>
          </p:cNvSpPr>
          <p:nvPr/>
        </p:nvSpPr>
        <p:spPr>
          <a:xfrm>
            <a:off x="1098002" y="2525583"/>
            <a:ext cx="201833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Weak signal tracking</a:t>
            </a:r>
          </a:p>
          <a:p>
            <a:pPr marL="359988" lvl="1" indent="-179994">
              <a:spcBef>
                <a:spcPts val="300"/>
              </a:spcBef>
              <a:buSzPct val="100000"/>
              <a:buFont typeface="Arial" panose="020B0604020202020204" pitchFamily="34" charset="0"/>
              <a:buChar char="–"/>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359988" lvl="1" indent="-179994">
              <a:spcBef>
                <a:spcPts val="300"/>
              </a:spcBef>
              <a:buSzPct val="100000"/>
              <a:buFont typeface="Arial" panose="020B0604020202020204" pitchFamily="34" charset="0"/>
              <a:buChar char="–"/>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r>
              <a:rPr lang="en-GB" sz="1200" kern="0">
                <a:solidFill>
                  <a:srgbClr val="000000"/>
                </a:solidFill>
              </a:rPr>
              <a:t>Turning risks into opportunities</a:t>
            </a: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359988" lvl="1" indent="-179994">
              <a:spcBef>
                <a:spcPts val="300"/>
              </a:spcBef>
              <a:buSzPct val="100000"/>
              <a:buFont typeface="Arial" panose="020B0604020202020204" pitchFamily="34" charset="0"/>
              <a:buChar char="–"/>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359988" lvl="1" indent="-179994">
              <a:spcBef>
                <a:spcPts val="300"/>
              </a:spcBef>
              <a:buSzPct val="100000"/>
              <a:buFont typeface="Arial" panose="020B0604020202020204" pitchFamily="34" charset="0"/>
              <a:buChar char="–"/>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r>
              <a:rPr lang="en-GB" sz="1200">
                <a:solidFill>
                  <a:srgbClr val="000000"/>
                </a:solidFill>
                <a:latin typeface="Calibri"/>
              </a:rPr>
              <a:t>Asset light strategy</a:t>
            </a: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r>
              <a:rPr lang="en-GB" sz="1200">
                <a:solidFill>
                  <a:srgbClr val="000000"/>
                </a:solidFill>
                <a:latin typeface="Calibri"/>
              </a:rPr>
              <a:t>[Europe] Recession navigation</a:t>
            </a: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p:txBody>
      </p:sp>
      <p:pic>
        <p:nvPicPr>
          <p:cNvPr id="116" name="Picture 115" descr="A close-up of a building&#10;&#10;Description automatically generated">
            <a:extLst>
              <a:ext uri="{FF2B5EF4-FFF2-40B4-BE49-F238E27FC236}">
                <a16:creationId xmlns:a16="http://schemas.microsoft.com/office/drawing/2014/main" id="{4E0D6043-A95E-31CC-1A5A-3FC6DF3AA8C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57200" y="1395863"/>
            <a:ext cx="2711404" cy="325494"/>
          </a:xfrm>
          <a:prstGeom prst="rect">
            <a:avLst/>
          </a:prstGeom>
        </p:spPr>
      </p:pic>
      <p:pic>
        <p:nvPicPr>
          <p:cNvPr id="117" name="Picture 116" descr="A picture containing sky, blue, skyscraper, building&#10;&#10;Description automatically generated">
            <a:extLst>
              <a:ext uri="{FF2B5EF4-FFF2-40B4-BE49-F238E27FC236}">
                <a16:creationId xmlns:a16="http://schemas.microsoft.com/office/drawing/2014/main" id="{50FDE047-89E3-095F-65DF-3A02FDEF170B}"/>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311244" y="1398743"/>
            <a:ext cx="2714620" cy="325494"/>
          </a:xfrm>
          <a:prstGeom prst="rect">
            <a:avLst/>
          </a:prstGeom>
          <a:ln>
            <a:noFill/>
          </a:ln>
        </p:spPr>
      </p:pic>
      <p:pic>
        <p:nvPicPr>
          <p:cNvPr id="118" name="Picture 117" descr="A close-up of a building&#10;&#10;Description automatically generated">
            <a:extLst>
              <a:ext uri="{FF2B5EF4-FFF2-40B4-BE49-F238E27FC236}">
                <a16:creationId xmlns:a16="http://schemas.microsoft.com/office/drawing/2014/main" id="{0243B676-5344-409E-2D71-F03565FD71A8}"/>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6165287" y="1398743"/>
            <a:ext cx="2711404" cy="325494"/>
          </a:xfrm>
          <a:prstGeom prst="rect">
            <a:avLst/>
          </a:prstGeom>
        </p:spPr>
      </p:pic>
      <p:pic>
        <p:nvPicPr>
          <p:cNvPr id="119" name="Picture 118" descr="A low angle view of a building&#10;&#10;Description automatically generated">
            <a:extLst>
              <a:ext uri="{FF2B5EF4-FFF2-40B4-BE49-F238E27FC236}">
                <a16:creationId xmlns:a16="http://schemas.microsoft.com/office/drawing/2014/main" id="{A764700A-F9D5-D306-8AA4-AAFA0B770BCC}"/>
              </a:ext>
            </a:extLst>
          </p:cNvPr>
          <p:cNvPicPr>
            <a:picLocks noChangeAspect="1"/>
          </p:cNvPicPr>
          <p:nvPr/>
        </p:nvPicPr>
        <p:blipFill rotWithShape="1">
          <a:blip r:embed="rId13" cstate="screen">
            <a:extLst>
              <a:ext uri="{BEBA8EAE-BF5A-486C-A8C5-ECC9F3942E4B}">
                <a14:imgProps xmlns:a14="http://schemas.microsoft.com/office/drawing/2010/main">
                  <a14:imgLayer r:embed="rId14">
                    <a14:imgEffect>
                      <a14:brightnessContrast bright="8000"/>
                    </a14:imgEffect>
                  </a14:imgLayer>
                </a14:imgProps>
              </a:ext>
              <a:ext uri="{28A0092B-C50C-407E-A947-70E740481C1C}">
                <a14:useLocalDpi xmlns:a14="http://schemas.microsoft.com/office/drawing/2010/main"/>
              </a:ext>
            </a:extLst>
          </a:blip>
          <a:srcRect/>
          <a:stretch/>
        </p:blipFill>
        <p:spPr>
          <a:xfrm flipH="1">
            <a:off x="9019329" y="1398742"/>
            <a:ext cx="2711405" cy="325494"/>
          </a:xfrm>
          <a:prstGeom prst="rect">
            <a:avLst/>
          </a:prstGeom>
        </p:spPr>
      </p:pic>
      <p:sp>
        <p:nvSpPr>
          <p:cNvPr id="120" name="Rectangle 119">
            <a:extLst>
              <a:ext uri="{FF2B5EF4-FFF2-40B4-BE49-F238E27FC236}">
                <a16:creationId xmlns:a16="http://schemas.microsoft.com/office/drawing/2014/main" id="{2A747BE7-B38D-819C-37DA-DC28800AB6FD}"/>
              </a:ext>
            </a:extLst>
          </p:cNvPr>
          <p:cNvSpPr>
            <a:spLocks/>
          </p:cNvSpPr>
          <p:nvPr/>
        </p:nvSpPr>
        <p:spPr>
          <a:xfrm>
            <a:off x="9654648" y="2525583"/>
            <a:ext cx="201833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Platinum customers</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Scaling through playbooks</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Adaptive Decision Making</a:t>
            </a: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r>
              <a:rPr lang="en-GB" sz="1200">
                <a:solidFill>
                  <a:srgbClr val="000000"/>
                </a:solidFill>
                <a:latin typeface="Calibri"/>
              </a:rPr>
              <a:t>Talent-driven culture</a:t>
            </a: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kumimoji="0" lang="en-GB" sz="1200" i="0" u="none" strike="noStrike" kern="1200" cap="none" spc="0" normalizeH="0" baseline="0" noProof="0">
                <a:ln>
                  <a:noFill/>
                </a:ln>
                <a:solidFill>
                  <a:srgbClr val="000000"/>
                </a:solidFill>
                <a:effectLst/>
                <a:uLnTx/>
                <a:uFillTx/>
                <a:latin typeface="Calibri"/>
                <a:ea typeface="+mn-ea"/>
                <a:cs typeface="+mn-cs"/>
              </a:rPr>
              <a:t>Autonomous crisis response</a:t>
            </a:r>
          </a:p>
          <a:p>
            <a:pPr marL="228600" indent="-228600">
              <a:spcBef>
                <a:spcPts val="600"/>
              </a:spcBef>
              <a:buSzPct val="100000"/>
              <a:buFont typeface="+mj-lt"/>
              <a:buAutoNum type="arabicPeriod"/>
              <a:defRPr/>
            </a:pPr>
            <a:endParaRPr kumimoji="0" lang="en-GB" sz="1200" i="0" u="none" strike="noStrike" kern="1200" cap="none" spc="0" normalizeH="0" baseline="0" noProof="0">
              <a:ln>
                <a:noFill/>
              </a:ln>
              <a:solidFill>
                <a:srgbClr val="000000"/>
              </a:solidFill>
              <a:effectLst/>
              <a:uLnTx/>
              <a:uFillTx/>
              <a:latin typeface="Calibri"/>
              <a:ea typeface="+mn-ea"/>
              <a:cs typeface="+mn-cs"/>
            </a:endParaRPr>
          </a:p>
        </p:txBody>
      </p:sp>
      <p:sp>
        <p:nvSpPr>
          <p:cNvPr id="121" name="Rectangle 120">
            <a:extLst>
              <a:ext uri="{FF2B5EF4-FFF2-40B4-BE49-F238E27FC236}">
                <a16:creationId xmlns:a16="http://schemas.microsoft.com/office/drawing/2014/main" id="{3ABC23FE-5493-DA04-76A4-86D68767E5AE}"/>
              </a:ext>
            </a:extLst>
          </p:cNvPr>
          <p:cNvSpPr>
            <a:spLocks/>
          </p:cNvSpPr>
          <p:nvPr/>
        </p:nvSpPr>
        <p:spPr>
          <a:xfrm>
            <a:off x="3927431" y="2525583"/>
            <a:ext cx="2018339"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Differentiate, Differentiate, Differentiate</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Strengthen the Core</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Manageable Product Segmentation</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Inflation-proof pricing</a:t>
            </a:r>
          </a:p>
        </p:txBody>
      </p:sp>
      <p:sp>
        <p:nvSpPr>
          <p:cNvPr id="122" name="Rectangle 121">
            <a:extLst>
              <a:ext uri="{FF2B5EF4-FFF2-40B4-BE49-F238E27FC236}">
                <a16:creationId xmlns:a16="http://schemas.microsoft.com/office/drawing/2014/main" id="{F62B31F2-8F7E-16B7-22A0-AD9BF9132586}"/>
              </a:ext>
            </a:extLst>
          </p:cNvPr>
          <p:cNvSpPr>
            <a:spLocks/>
          </p:cNvSpPr>
          <p:nvPr/>
        </p:nvSpPr>
        <p:spPr>
          <a:xfrm>
            <a:off x="6793443" y="2525583"/>
            <a:ext cx="2095801" cy="3660020"/>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0" bIns="36000" rtlCol="0" anchor="t">
            <a:noAutofit/>
          </a:bodyPr>
          <a:lstStyle/>
          <a:p>
            <a:pPr marL="0" marR="0" lvl="0" indent="0" algn="l" defTabSz="914400" rtl="0" eaLnBrk="1" fontAlgn="auto" latinLnBrk="0" hangingPunct="1">
              <a:lnSpc>
                <a:spcPct val="100000"/>
              </a:lnSpc>
              <a:spcAft>
                <a:spcPts val="0"/>
              </a:spcAft>
              <a:buClrTx/>
              <a:buSzPct val="100000"/>
              <a:buFontTx/>
              <a:buNone/>
              <a:tabLst/>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Cash is king</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Cost </a:t>
            </a:r>
            <a:r>
              <a:rPr lang="en-GB" sz="1200" err="1">
                <a:solidFill>
                  <a:srgbClr val="000000"/>
                </a:solidFill>
                <a:latin typeface="Calibri"/>
              </a:rPr>
              <a:t>Variabilization</a:t>
            </a: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Networked organization</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Supply Chain Resilience</a:t>
            </a: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endParaRPr lang="en-GB" sz="1200">
              <a:solidFill>
                <a:srgbClr val="000000"/>
              </a:solidFill>
              <a:latin typeface="Calibri"/>
            </a:endParaRPr>
          </a:p>
          <a:p>
            <a:pPr marL="228600" indent="-228600">
              <a:spcBef>
                <a:spcPts val="600"/>
              </a:spcBef>
              <a:buSzPct val="100000"/>
              <a:buFont typeface="+mj-lt"/>
              <a:buAutoNum type="arabicPeriod"/>
              <a:defRPr/>
            </a:pPr>
            <a:r>
              <a:rPr lang="en-GB" sz="1200">
                <a:solidFill>
                  <a:srgbClr val="000000"/>
                </a:solidFill>
                <a:latin typeface="Calibri"/>
              </a:rPr>
              <a:t>Operating as a specialist</a:t>
            </a:r>
          </a:p>
        </p:txBody>
      </p:sp>
      <p:pic>
        <p:nvPicPr>
          <p:cNvPr id="123" name="ico-pins">
            <a:extLst>
              <a:ext uri="{FF2B5EF4-FFF2-40B4-BE49-F238E27FC236}">
                <a16:creationId xmlns:a16="http://schemas.microsoft.com/office/drawing/2014/main" id="{380D2AB1-8DF0-6A2A-9DAE-78390F33DA12}"/>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02755" y="3547665"/>
            <a:ext cx="317594" cy="317594"/>
          </a:xfrm>
          <a:prstGeom prst="rect">
            <a:avLst/>
          </a:prstGeom>
        </p:spPr>
      </p:pic>
      <p:pic>
        <p:nvPicPr>
          <p:cNvPr id="124" name="ico-optimization">
            <a:extLst>
              <a:ext uri="{FF2B5EF4-FFF2-40B4-BE49-F238E27FC236}">
                <a16:creationId xmlns:a16="http://schemas.microsoft.com/office/drawing/2014/main" id="{FA996522-F809-C78B-AE9E-2BCB0629CF07}"/>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02755" y="4364619"/>
            <a:ext cx="317594" cy="317594"/>
          </a:xfrm>
          <a:prstGeom prst="rect">
            <a:avLst/>
          </a:prstGeom>
        </p:spPr>
      </p:pic>
      <p:pic>
        <p:nvPicPr>
          <p:cNvPr id="125" name="ico-app-store">
            <a:extLst>
              <a:ext uri="{FF2B5EF4-FFF2-40B4-BE49-F238E27FC236}">
                <a16:creationId xmlns:a16="http://schemas.microsoft.com/office/drawing/2014/main" id="{391CF156-2E95-DBCE-15B9-0E2CC715F246}"/>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05530" y="2824303"/>
            <a:ext cx="317594" cy="317594"/>
          </a:xfrm>
          <a:prstGeom prst="rect">
            <a:avLst/>
          </a:prstGeom>
        </p:spPr>
      </p:pic>
      <p:pic>
        <p:nvPicPr>
          <p:cNvPr id="126" name="ico-centralize">
            <a:extLst>
              <a:ext uri="{FF2B5EF4-FFF2-40B4-BE49-F238E27FC236}">
                <a16:creationId xmlns:a16="http://schemas.microsoft.com/office/drawing/2014/main" id="{2719798D-807A-4D99-0981-DB0547C734F1}"/>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505530" y="3466832"/>
            <a:ext cx="317594" cy="317594"/>
          </a:xfrm>
          <a:prstGeom prst="rect">
            <a:avLst/>
          </a:prstGeom>
        </p:spPr>
      </p:pic>
      <p:pic>
        <p:nvPicPr>
          <p:cNvPr id="127" name="ico-layers">
            <a:extLst>
              <a:ext uri="{FF2B5EF4-FFF2-40B4-BE49-F238E27FC236}">
                <a16:creationId xmlns:a16="http://schemas.microsoft.com/office/drawing/2014/main" id="{757CAD7F-7C24-A568-849E-5F74464AC923}"/>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505530" y="4327336"/>
            <a:ext cx="317594" cy="317594"/>
          </a:xfrm>
          <a:prstGeom prst="rect">
            <a:avLst/>
          </a:prstGeom>
        </p:spPr>
      </p:pic>
      <p:pic>
        <p:nvPicPr>
          <p:cNvPr id="128" name="ico-line-chart">
            <a:extLst>
              <a:ext uri="{FF2B5EF4-FFF2-40B4-BE49-F238E27FC236}">
                <a16:creationId xmlns:a16="http://schemas.microsoft.com/office/drawing/2014/main" id="{0B7DD462-535D-A4F3-83E3-608F608B8312}"/>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505530" y="5225516"/>
            <a:ext cx="317594" cy="317594"/>
          </a:xfrm>
          <a:prstGeom prst="rect">
            <a:avLst/>
          </a:prstGeom>
        </p:spPr>
      </p:pic>
      <p:pic>
        <p:nvPicPr>
          <p:cNvPr id="129" name="ico-cash-withdrawal">
            <a:extLst>
              <a:ext uri="{FF2B5EF4-FFF2-40B4-BE49-F238E27FC236}">
                <a16:creationId xmlns:a16="http://schemas.microsoft.com/office/drawing/2014/main" id="{3E18CB9F-7263-83E2-4026-FB46468ABF5D}"/>
              </a:ext>
            </a:extLst>
          </p:cNvPr>
          <p:cNvPicPr>
            <a:picLocks noChangeAspect="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6337031" y="2824303"/>
            <a:ext cx="317594" cy="317594"/>
          </a:xfrm>
          <a:prstGeom prst="rect">
            <a:avLst/>
          </a:prstGeom>
        </p:spPr>
      </p:pic>
      <p:pic>
        <p:nvPicPr>
          <p:cNvPr id="130" name="ico-content-delivery">
            <a:extLst>
              <a:ext uri="{FF2B5EF4-FFF2-40B4-BE49-F238E27FC236}">
                <a16:creationId xmlns:a16="http://schemas.microsoft.com/office/drawing/2014/main" id="{8D235640-C2BB-B80D-F11E-AF7A1E526C2C}"/>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6337031" y="3550042"/>
            <a:ext cx="317594" cy="317594"/>
          </a:xfrm>
          <a:prstGeom prst="rect">
            <a:avLst/>
          </a:prstGeom>
        </p:spPr>
      </p:pic>
      <p:pic>
        <p:nvPicPr>
          <p:cNvPr id="131" name="ico-handshake">
            <a:extLst>
              <a:ext uri="{FF2B5EF4-FFF2-40B4-BE49-F238E27FC236}">
                <a16:creationId xmlns:a16="http://schemas.microsoft.com/office/drawing/2014/main" id="{44FF196D-EBB6-D2AC-AE61-727F9BAD2AEE}"/>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6337031" y="4327336"/>
            <a:ext cx="317594" cy="317594"/>
          </a:xfrm>
          <a:prstGeom prst="rect">
            <a:avLst/>
          </a:prstGeom>
        </p:spPr>
      </p:pic>
      <p:pic>
        <p:nvPicPr>
          <p:cNvPr id="132" name="ico-supply-chain">
            <a:extLst>
              <a:ext uri="{FF2B5EF4-FFF2-40B4-BE49-F238E27FC236}">
                <a16:creationId xmlns:a16="http://schemas.microsoft.com/office/drawing/2014/main" id="{911E2F3C-C727-93F6-40C4-85AF95EFD092}"/>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6337031" y="5107007"/>
            <a:ext cx="317594" cy="317594"/>
          </a:xfrm>
          <a:prstGeom prst="rect">
            <a:avLst/>
          </a:prstGeom>
        </p:spPr>
      </p:pic>
      <p:pic>
        <p:nvPicPr>
          <p:cNvPr id="133" name="ico-a-star">
            <a:extLst>
              <a:ext uri="{FF2B5EF4-FFF2-40B4-BE49-F238E27FC236}">
                <a16:creationId xmlns:a16="http://schemas.microsoft.com/office/drawing/2014/main" id="{26398150-DA85-7FFE-0CFB-1E7DFC7ACE22}"/>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6337031" y="5868009"/>
            <a:ext cx="317594" cy="317594"/>
          </a:xfrm>
          <a:prstGeom prst="rect">
            <a:avLst/>
          </a:prstGeom>
        </p:spPr>
      </p:pic>
      <p:pic>
        <p:nvPicPr>
          <p:cNvPr id="134" name="ico-focus">
            <a:extLst>
              <a:ext uri="{FF2B5EF4-FFF2-40B4-BE49-F238E27FC236}">
                <a16:creationId xmlns:a16="http://schemas.microsoft.com/office/drawing/2014/main" id="{DBBED398-C312-1754-6EB1-205A0C74545B}"/>
              </a:ext>
            </a:extLst>
          </p:cNvPr>
          <p:cNvPicPr>
            <a:picLocks noChangeAspect="1"/>
          </p:cNvPicPr>
          <p:nvPr/>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9187131" y="2759402"/>
            <a:ext cx="317594" cy="317594"/>
          </a:xfrm>
          <a:prstGeom prst="rect">
            <a:avLst/>
          </a:prstGeom>
        </p:spPr>
      </p:pic>
      <p:pic>
        <p:nvPicPr>
          <p:cNvPr id="135" name="ico-bulb-63">
            <a:extLst>
              <a:ext uri="{FF2B5EF4-FFF2-40B4-BE49-F238E27FC236}">
                <a16:creationId xmlns:a16="http://schemas.microsoft.com/office/drawing/2014/main" id="{7BED9C28-B73A-E65D-4132-0CF3F323FF9B}"/>
              </a:ext>
            </a:extLst>
          </p:cNvPr>
          <p:cNvPicPr>
            <a:picLocks noChangeAspect="1"/>
          </p:cNvPicPr>
          <p:nvPr/>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9187131" y="3536536"/>
            <a:ext cx="317594" cy="317594"/>
          </a:xfrm>
          <a:prstGeom prst="rect">
            <a:avLst/>
          </a:prstGeom>
        </p:spPr>
      </p:pic>
      <p:pic>
        <p:nvPicPr>
          <p:cNvPr id="136" name="ico-flexibility">
            <a:extLst>
              <a:ext uri="{FF2B5EF4-FFF2-40B4-BE49-F238E27FC236}">
                <a16:creationId xmlns:a16="http://schemas.microsoft.com/office/drawing/2014/main" id="{35BCD426-1DB4-AE45-A6C1-B3D16AAAF567}"/>
              </a:ext>
            </a:extLst>
          </p:cNvPr>
          <p:cNvPicPr>
            <a:picLocks noChangeAspect="1"/>
          </p:cNvPicPr>
          <p:nvPr/>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9187131" y="4292813"/>
            <a:ext cx="317594" cy="317594"/>
          </a:xfrm>
          <a:prstGeom prst="rect">
            <a:avLst/>
          </a:prstGeom>
        </p:spPr>
      </p:pic>
      <p:pic>
        <p:nvPicPr>
          <p:cNvPr id="137" name="ico-analytical-thinking">
            <a:extLst>
              <a:ext uri="{FF2B5EF4-FFF2-40B4-BE49-F238E27FC236}">
                <a16:creationId xmlns:a16="http://schemas.microsoft.com/office/drawing/2014/main" id="{3BCF45C3-7439-C902-27BB-70A464BA230C}"/>
              </a:ext>
            </a:extLst>
          </p:cNvPr>
          <p:cNvPicPr>
            <a:picLocks noChangeAspect="1"/>
          </p:cNvPicPr>
          <p:nvPr/>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9187131" y="5066719"/>
            <a:ext cx="317594" cy="317594"/>
          </a:xfrm>
          <a:prstGeom prst="rect">
            <a:avLst/>
          </a:prstGeom>
        </p:spPr>
      </p:pic>
      <p:sp>
        <p:nvSpPr>
          <p:cNvPr id="138" name="TextBox 137">
            <a:extLst>
              <a:ext uri="{FF2B5EF4-FFF2-40B4-BE49-F238E27FC236}">
                <a16:creationId xmlns:a16="http://schemas.microsoft.com/office/drawing/2014/main" id="{9B7B81FB-D570-8801-A2D4-22FAA309CC67}"/>
              </a:ext>
            </a:extLst>
          </p:cNvPr>
          <p:cNvSpPr txBox="1"/>
          <p:nvPr/>
        </p:nvSpPr>
        <p:spPr>
          <a:xfrm>
            <a:off x="471290" y="2200912"/>
            <a:ext cx="2592141" cy="461665"/>
          </a:xfrm>
          <a:prstGeom prst="rect">
            <a:avLst/>
          </a:prstGeom>
          <a:noFill/>
        </p:spPr>
        <p:txBody>
          <a:bodyPr wrap="square" lIns="4572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Define a volatility-adjusted strategy</a:t>
            </a:r>
          </a:p>
        </p:txBody>
      </p:sp>
      <p:sp>
        <p:nvSpPr>
          <p:cNvPr id="142" name="TextBox 141">
            <a:extLst>
              <a:ext uri="{FF2B5EF4-FFF2-40B4-BE49-F238E27FC236}">
                <a16:creationId xmlns:a16="http://schemas.microsoft.com/office/drawing/2014/main" id="{118DD3C2-D3CB-093F-D07B-060D8334C70B}"/>
              </a:ext>
            </a:extLst>
          </p:cNvPr>
          <p:cNvSpPr txBox="1">
            <a:spLocks/>
          </p:cNvSpPr>
          <p:nvPr/>
        </p:nvSpPr>
        <p:spPr>
          <a:xfrm>
            <a:off x="3263666" y="2200912"/>
            <a:ext cx="2516325" cy="461665"/>
          </a:xfrm>
          <a:prstGeom prst="rect">
            <a:avLst/>
          </a:prstGeom>
          <a:noFill/>
        </p:spPr>
        <p:txBody>
          <a:bodyPr wrap="square" lIns="4572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Design </a:t>
            </a:r>
            <a:r>
              <a:rPr lang="en-GB" sz="1200" b="1">
                <a:latin typeface="Calibri"/>
              </a:rPr>
              <a:t>an adaptive </a:t>
            </a:r>
            <a:r>
              <a:rPr kumimoji="0" lang="en-GB" sz="1200" b="1" i="0" u="none" strike="noStrike" kern="1200" cap="none" spc="0" normalizeH="0" baseline="0" noProof="0">
                <a:ln>
                  <a:noFill/>
                </a:ln>
                <a:effectLst/>
                <a:uLnTx/>
                <a:uFillTx/>
                <a:latin typeface="Calibri"/>
                <a:ea typeface="+mn-ea"/>
                <a:cs typeface="+mn-cs"/>
              </a:rPr>
              <a:t>value proposition</a:t>
            </a:r>
          </a:p>
        </p:txBody>
      </p:sp>
      <p:sp>
        <p:nvSpPr>
          <p:cNvPr id="143" name="TextBox 142">
            <a:extLst>
              <a:ext uri="{FF2B5EF4-FFF2-40B4-BE49-F238E27FC236}">
                <a16:creationId xmlns:a16="http://schemas.microsoft.com/office/drawing/2014/main" id="{89EA7FBC-1B39-52B8-C0B8-7379083BEA91}"/>
              </a:ext>
            </a:extLst>
          </p:cNvPr>
          <p:cNvSpPr txBox="1">
            <a:spLocks/>
          </p:cNvSpPr>
          <p:nvPr/>
        </p:nvSpPr>
        <p:spPr>
          <a:xfrm>
            <a:off x="6096926" y="2200912"/>
            <a:ext cx="2704162" cy="276999"/>
          </a:xfrm>
          <a:prstGeom prst="rect">
            <a:avLst/>
          </a:prstGeom>
          <a:noFill/>
        </p:spPr>
        <p:txBody>
          <a:bodyPr wrap="square" lIns="45720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effectLst/>
                <a:uLnTx/>
                <a:uFillTx/>
                <a:latin typeface="Calibri"/>
              </a:defRPr>
            </a:lvl1pPr>
          </a:lstStyle>
          <a:p>
            <a:r>
              <a:rPr lang="en-GB"/>
              <a:t>Build a flexible operating model</a:t>
            </a:r>
          </a:p>
        </p:txBody>
      </p:sp>
      <p:sp>
        <p:nvSpPr>
          <p:cNvPr id="144" name="TextBox 143">
            <a:extLst>
              <a:ext uri="{FF2B5EF4-FFF2-40B4-BE49-F238E27FC236}">
                <a16:creationId xmlns:a16="http://schemas.microsoft.com/office/drawing/2014/main" id="{159477D6-C2F8-1B26-A00D-04DE92D650D1}"/>
              </a:ext>
            </a:extLst>
          </p:cNvPr>
          <p:cNvSpPr txBox="1">
            <a:spLocks/>
          </p:cNvSpPr>
          <p:nvPr/>
        </p:nvSpPr>
        <p:spPr>
          <a:xfrm>
            <a:off x="8969392" y="2200912"/>
            <a:ext cx="2811051" cy="461665"/>
          </a:xfrm>
          <a:prstGeom prst="rect">
            <a:avLst/>
          </a:prstGeom>
          <a:noFill/>
        </p:spPr>
        <p:txBody>
          <a:bodyPr wrap="square" lIns="457200">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effectLst/>
                <a:uLnTx/>
                <a:uFillTx/>
                <a:latin typeface="Calibri"/>
              </a:defRPr>
            </a:lvl1pPr>
          </a:lstStyle>
          <a:p>
            <a:r>
              <a:rPr lang="en-GB"/>
              <a:t>Adopt a responsive leadership mindset</a:t>
            </a:r>
          </a:p>
        </p:txBody>
      </p:sp>
      <p:sp>
        <p:nvSpPr>
          <p:cNvPr id="145" name="Oval 144">
            <a:extLst>
              <a:ext uri="{FF2B5EF4-FFF2-40B4-BE49-F238E27FC236}">
                <a16:creationId xmlns:a16="http://schemas.microsoft.com/office/drawing/2014/main" id="{6C10CE8B-71D1-A961-4C4B-0D1C17B3911C}"/>
              </a:ext>
            </a:extLst>
          </p:cNvPr>
          <p:cNvSpPr/>
          <p:nvPr/>
        </p:nvSpPr>
        <p:spPr>
          <a:xfrm>
            <a:off x="9195157" y="5975513"/>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146" name="ico-sport-mode">
            <a:extLst>
              <a:ext uri="{FF2B5EF4-FFF2-40B4-BE49-F238E27FC236}">
                <a16:creationId xmlns:a16="http://schemas.microsoft.com/office/drawing/2014/main" id="{D1EA07D7-ACDA-019A-6B18-684907BD4212}"/>
              </a:ext>
            </a:extLst>
          </p:cNvPr>
          <p:cNvPicPr>
            <a:picLocks noChangeAspect="1"/>
          </p:cNvPicPr>
          <p:nvPr/>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9186249" y="5961136"/>
            <a:ext cx="317594" cy="317594"/>
          </a:xfrm>
          <a:prstGeom prst="rect">
            <a:avLst/>
          </a:prstGeom>
        </p:spPr>
      </p:pic>
      <p:sp>
        <p:nvSpPr>
          <p:cNvPr id="34" name="Oval 33">
            <a:extLst>
              <a:ext uri="{FF2B5EF4-FFF2-40B4-BE49-F238E27FC236}">
                <a16:creationId xmlns:a16="http://schemas.microsoft.com/office/drawing/2014/main" id="{0B2B4809-7A49-073F-CA1C-418092D9B1FB}"/>
              </a:ext>
            </a:extLst>
          </p:cNvPr>
          <p:cNvSpPr/>
          <p:nvPr/>
        </p:nvSpPr>
        <p:spPr>
          <a:xfrm>
            <a:off x="457200" y="1097323"/>
            <a:ext cx="216000" cy="216000"/>
          </a:xfrm>
          <a:prstGeom prst="ellipse">
            <a:avLst/>
          </a:prstGeom>
          <a:solidFill>
            <a:schemeClr val="accent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
        <p:nvSpPr>
          <p:cNvPr id="35" name="Oval 34">
            <a:extLst>
              <a:ext uri="{FF2B5EF4-FFF2-40B4-BE49-F238E27FC236}">
                <a16:creationId xmlns:a16="http://schemas.microsoft.com/office/drawing/2014/main" id="{46E56560-5CC8-5E84-A705-2B24C71CD64A}"/>
              </a:ext>
            </a:extLst>
          </p:cNvPr>
          <p:cNvSpPr/>
          <p:nvPr/>
        </p:nvSpPr>
        <p:spPr>
          <a:xfrm>
            <a:off x="1482313" y="1097323"/>
            <a:ext cx="216000" cy="216000"/>
          </a:xfrm>
          <a:prstGeom prst="ellipse">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
        <p:nvSpPr>
          <p:cNvPr id="37" name="TextBox 36">
            <a:extLst>
              <a:ext uri="{FF2B5EF4-FFF2-40B4-BE49-F238E27FC236}">
                <a16:creationId xmlns:a16="http://schemas.microsoft.com/office/drawing/2014/main" id="{C1104657-4CEF-25D8-0489-FC5BFCF97366}"/>
              </a:ext>
            </a:extLst>
          </p:cNvPr>
          <p:cNvSpPr txBox="1"/>
          <p:nvPr/>
        </p:nvSpPr>
        <p:spPr>
          <a:xfrm>
            <a:off x="770885" y="1117228"/>
            <a:ext cx="791386" cy="161583"/>
          </a:xfrm>
          <a:prstGeom prst="rect">
            <a:avLst/>
          </a:prstGeom>
          <a:noFill/>
        </p:spPr>
        <p:txBody>
          <a:bodyPr wrap="square" lIns="0" tIns="0" rIns="0" bIns="0" rtlCol="0">
            <a:spAutoFit/>
          </a:bodyPr>
          <a:lstStyle/>
          <a:p>
            <a:pPr algn="l"/>
            <a:r>
              <a:rPr lang="en-GB" sz="1050" kern="0"/>
              <a:t>Asia group</a:t>
            </a:r>
          </a:p>
        </p:txBody>
      </p:sp>
      <p:sp>
        <p:nvSpPr>
          <p:cNvPr id="38" name="TextBox 37">
            <a:extLst>
              <a:ext uri="{FF2B5EF4-FFF2-40B4-BE49-F238E27FC236}">
                <a16:creationId xmlns:a16="http://schemas.microsoft.com/office/drawing/2014/main" id="{68C420E1-DF79-B46B-1C4D-31D49116E663}"/>
              </a:ext>
            </a:extLst>
          </p:cNvPr>
          <p:cNvSpPr txBox="1"/>
          <p:nvPr/>
        </p:nvSpPr>
        <p:spPr>
          <a:xfrm>
            <a:off x="1794673" y="1117228"/>
            <a:ext cx="791386" cy="161583"/>
          </a:xfrm>
          <a:prstGeom prst="rect">
            <a:avLst/>
          </a:prstGeom>
          <a:noFill/>
        </p:spPr>
        <p:txBody>
          <a:bodyPr wrap="square" lIns="0" tIns="0" rIns="0" bIns="0" rtlCol="0">
            <a:spAutoFit/>
          </a:bodyPr>
          <a:lstStyle/>
          <a:p>
            <a:pPr algn="l"/>
            <a:r>
              <a:rPr lang="en-GB" sz="1050" kern="0"/>
              <a:t>Oceania group</a:t>
            </a:r>
          </a:p>
        </p:txBody>
      </p:sp>
      <p:sp>
        <p:nvSpPr>
          <p:cNvPr id="40" name="Oval 39">
            <a:extLst>
              <a:ext uri="{FF2B5EF4-FFF2-40B4-BE49-F238E27FC236}">
                <a16:creationId xmlns:a16="http://schemas.microsoft.com/office/drawing/2014/main" id="{28468F92-E29E-E227-3DA8-3EDFF2346C52}"/>
              </a:ext>
            </a:extLst>
          </p:cNvPr>
          <p:cNvSpPr/>
          <p:nvPr/>
        </p:nvSpPr>
        <p:spPr>
          <a:xfrm>
            <a:off x="7846717" y="2809573"/>
            <a:ext cx="216000" cy="216000"/>
          </a:xfrm>
          <a:prstGeom prst="ellipse">
            <a:avLst/>
          </a:prstGeom>
          <a:solidFill>
            <a:schemeClr val="accent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
        <p:nvSpPr>
          <p:cNvPr id="41" name="Oval 40">
            <a:extLst>
              <a:ext uri="{FF2B5EF4-FFF2-40B4-BE49-F238E27FC236}">
                <a16:creationId xmlns:a16="http://schemas.microsoft.com/office/drawing/2014/main" id="{7D63CB3B-DEB3-7453-6620-4408B172D25D}"/>
              </a:ext>
            </a:extLst>
          </p:cNvPr>
          <p:cNvSpPr/>
          <p:nvPr/>
        </p:nvSpPr>
        <p:spPr>
          <a:xfrm>
            <a:off x="8104640" y="2807408"/>
            <a:ext cx="216000" cy="216000"/>
          </a:xfrm>
          <a:prstGeom prst="ellipse">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
        <p:nvSpPr>
          <p:cNvPr id="42" name="Oval 41">
            <a:extLst>
              <a:ext uri="{FF2B5EF4-FFF2-40B4-BE49-F238E27FC236}">
                <a16:creationId xmlns:a16="http://schemas.microsoft.com/office/drawing/2014/main" id="{27910D2D-65C6-412F-B870-EA10D648203F}"/>
              </a:ext>
            </a:extLst>
          </p:cNvPr>
          <p:cNvSpPr/>
          <p:nvPr/>
        </p:nvSpPr>
        <p:spPr>
          <a:xfrm>
            <a:off x="5153575" y="3004213"/>
            <a:ext cx="216000" cy="216000"/>
          </a:xfrm>
          <a:prstGeom prst="ellipse">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
        <p:nvSpPr>
          <p:cNvPr id="43" name="Oval 42">
            <a:extLst>
              <a:ext uri="{FF2B5EF4-FFF2-40B4-BE49-F238E27FC236}">
                <a16:creationId xmlns:a16="http://schemas.microsoft.com/office/drawing/2014/main" id="{F584E304-0DBA-E4F8-E87B-3B561E6641B9}"/>
              </a:ext>
            </a:extLst>
          </p:cNvPr>
          <p:cNvSpPr/>
          <p:nvPr/>
        </p:nvSpPr>
        <p:spPr>
          <a:xfrm>
            <a:off x="11293090" y="2807408"/>
            <a:ext cx="216000" cy="216000"/>
          </a:xfrm>
          <a:prstGeom prst="ellipse">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
        <p:nvSpPr>
          <p:cNvPr id="44" name="Oval 43">
            <a:extLst>
              <a:ext uri="{FF2B5EF4-FFF2-40B4-BE49-F238E27FC236}">
                <a16:creationId xmlns:a16="http://schemas.microsoft.com/office/drawing/2014/main" id="{4E54CFB2-C59E-4AF8-2D87-23C33D59C470}"/>
              </a:ext>
            </a:extLst>
          </p:cNvPr>
          <p:cNvSpPr/>
          <p:nvPr/>
        </p:nvSpPr>
        <p:spPr>
          <a:xfrm>
            <a:off x="2676497" y="4408784"/>
            <a:ext cx="216000" cy="216000"/>
          </a:xfrm>
          <a:prstGeom prst="ellipse">
            <a:avLst/>
          </a:prstGeom>
          <a:solidFill>
            <a:schemeClr val="accent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Tree>
    <p:extLst>
      <p:ext uri="{BB962C8B-B14F-4D97-AF65-F5344CB8AC3E}">
        <p14:creationId xmlns:p14="http://schemas.microsoft.com/office/powerpoint/2010/main" val="147411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748155-56E0-47A3-9A3B-4D595A1669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26748155-56E0-47A3-9A3B-4D595A1669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water&#10;&#10;Description automatically generated">
            <a:extLst>
              <a:ext uri="{FF2B5EF4-FFF2-40B4-BE49-F238E27FC236}">
                <a16:creationId xmlns:a16="http://schemas.microsoft.com/office/drawing/2014/main" id="{8871BC40-B834-E141-4B8E-119A3572854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
          <a:stretch/>
        </p:blipFill>
        <p:spPr>
          <a:xfrm>
            <a:off x="0" y="0"/>
            <a:ext cx="2524539" cy="6858000"/>
          </a:xfrm>
          <a:prstGeom prst="rect">
            <a:avLst/>
          </a:prstGeom>
        </p:spPr>
      </p:pic>
      <p:sp>
        <p:nvSpPr>
          <p:cNvPr id="2" name="Title 1">
            <a:extLst>
              <a:ext uri="{FF2B5EF4-FFF2-40B4-BE49-F238E27FC236}">
                <a16:creationId xmlns:a16="http://schemas.microsoft.com/office/drawing/2014/main" id="{E7B5CCD4-8826-4E2F-BE5D-170E8A517FFF}"/>
              </a:ext>
            </a:extLst>
          </p:cNvPr>
          <p:cNvSpPr>
            <a:spLocks noGrp="1"/>
          </p:cNvSpPr>
          <p:nvPr>
            <p:ph type="title"/>
          </p:nvPr>
        </p:nvSpPr>
        <p:spPr>
          <a:xfrm>
            <a:off x="2967382" y="384048"/>
            <a:ext cx="8767418" cy="758952"/>
          </a:xfrm>
        </p:spPr>
        <p:txBody>
          <a:bodyPr vert="horz"/>
          <a:lstStyle/>
          <a:p>
            <a:r>
              <a:rPr lang="en-GB"/>
              <a:t>Agenda for this workshop</a:t>
            </a:r>
          </a:p>
        </p:txBody>
      </p:sp>
      <p:sp>
        <p:nvSpPr>
          <p:cNvPr id="9" name="Oval 8">
            <a:extLst>
              <a:ext uri="{FF2B5EF4-FFF2-40B4-BE49-F238E27FC236}">
                <a16:creationId xmlns:a16="http://schemas.microsoft.com/office/drawing/2014/main" id="{3E7EB780-A806-4E1E-9B01-6077A71D2E33}"/>
              </a:ext>
            </a:extLst>
          </p:cNvPr>
          <p:cNvSpPr/>
          <p:nvPr/>
        </p:nvSpPr>
        <p:spPr>
          <a:xfrm>
            <a:off x="2133844" y="228846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800" b="1" kern="0">
                <a:solidFill>
                  <a:schemeClr val="tx2"/>
                </a:solidFill>
                <a:latin typeface="MMC Display Condensed"/>
              </a:rPr>
              <a:t>1</a:t>
            </a:r>
            <a:endParaRPr kumimoji="0" lang="en-GB" sz="2800" b="1" i="0" u="none" strike="noStrike" kern="0" cap="none" spc="0" normalizeH="0" baseline="0">
              <a:ln>
                <a:noFill/>
              </a:ln>
              <a:solidFill>
                <a:schemeClr val="tx2"/>
              </a:solidFill>
              <a:effectLst/>
              <a:uLnTx/>
              <a:uFillTx/>
              <a:latin typeface="MMC Display Condensed"/>
              <a:ea typeface="+mn-ea"/>
              <a:cs typeface="+mn-cs"/>
            </a:endParaRPr>
          </a:p>
        </p:txBody>
      </p:sp>
      <p:sp>
        <p:nvSpPr>
          <p:cNvPr id="10" name="Oval 9">
            <a:extLst>
              <a:ext uri="{FF2B5EF4-FFF2-40B4-BE49-F238E27FC236}">
                <a16:creationId xmlns:a16="http://schemas.microsoft.com/office/drawing/2014/main" id="{58A7118C-E150-46CC-A998-0F89A970B9CC}"/>
              </a:ext>
            </a:extLst>
          </p:cNvPr>
          <p:cNvSpPr/>
          <p:nvPr/>
        </p:nvSpPr>
        <p:spPr>
          <a:xfrm>
            <a:off x="2133844" y="317534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a:ln>
                  <a:noFill/>
                </a:ln>
                <a:solidFill>
                  <a:schemeClr val="accent3"/>
                </a:solidFill>
                <a:effectLst/>
                <a:uLnTx/>
                <a:uFillTx/>
                <a:latin typeface="MMC Display Condensed"/>
                <a:ea typeface="+mn-ea"/>
                <a:cs typeface="+mn-cs"/>
              </a:rPr>
              <a:t>2</a:t>
            </a:r>
          </a:p>
        </p:txBody>
      </p:sp>
      <p:sp>
        <p:nvSpPr>
          <p:cNvPr id="11" name="Oval 10">
            <a:extLst>
              <a:ext uri="{FF2B5EF4-FFF2-40B4-BE49-F238E27FC236}">
                <a16:creationId xmlns:a16="http://schemas.microsoft.com/office/drawing/2014/main" id="{700C0EB8-FDAE-4FBC-99A2-74FFE2084AC1}"/>
              </a:ext>
            </a:extLst>
          </p:cNvPr>
          <p:cNvSpPr/>
          <p:nvPr/>
        </p:nvSpPr>
        <p:spPr>
          <a:xfrm>
            <a:off x="2133844" y="406222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800" b="1" kern="0">
                <a:solidFill>
                  <a:schemeClr val="accent3"/>
                </a:solidFill>
                <a:latin typeface="MMC Display Condensed"/>
              </a:rPr>
              <a:t>3</a:t>
            </a:r>
            <a:endParaRPr kumimoji="0" lang="en-GB" sz="2800" b="1" i="0" u="none" strike="noStrike" kern="0" cap="none" spc="0" normalizeH="0" baseline="0">
              <a:ln>
                <a:noFill/>
              </a:ln>
              <a:solidFill>
                <a:schemeClr val="accent3"/>
              </a:solidFill>
              <a:effectLst/>
              <a:uLnTx/>
              <a:uFillTx/>
              <a:latin typeface="MMC Display Condensed"/>
              <a:ea typeface="+mn-ea"/>
              <a:cs typeface="+mn-cs"/>
            </a:endParaRPr>
          </a:p>
        </p:txBody>
      </p:sp>
      <p:sp>
        <p:nvSpPr>
          <p:cNvPr id="5" name="Rectangle 4">
            <a:extLst>
              <a:ext uri="{FF2B5EF4-FFF2-40B4-BE49-F238E27FC236}">
                <a16:creationId xmlns:a16="http://schemas.microsoft.com/office/drawing/2014/main" id="{2511FD99-7B2E-46DA-AD75-F5959D0274DA}"/>
              </a:ext>
            </a:extLst>
          </p:cNvPr>
          <p:cNvSpPr/>
          <p:nvPr/>
        </p:nvSpPr>
        <p:spPr>
          <a:xfrm>
            <a:off x="2967382" y="225728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tx2"/>
                </a:solidFill>
              </a:rPr>
              <a:t>Permacrisis overview</a:t>
            </a:r>
          </a:p>
          <a:p>
            <a:r>
              <a:rPr lang="en-GB" sz="1400" kern="0">
                <a:solidFill>
                  <a:schemeClr val="tx2"/>
                </a:solidFill>
              </a:rPr>
              <a:t>Presentation of global risks and expected disruptions</a:t>
            </a:r>
          </a:p>
        </p:txBody>
      </p:sp>
      <p:sp>
        <p:nvSpPr>
          <p:cNvPr id="20" name="Rectangle 19">
            <a:extLst>
              <a:ext uri="{FF2B5EF4-FFF2-40B4-BE49-F238E27FC236}">
                <a16:creationId xmlns:a16="http://schemas.microsoft.com/office/drawing/2014/main" id="{45B27300-4458-46CC-B3F9-57F98DE412AB}"/>
              </a:ext>
            </a:extLst>
          </p:cNvPr>
          <p:cNvSpPr/>
          <p:nvPr/>
        </p:nvSpPr>
        <p:spPr>
          <a:xfrm>
            <a:off x="2967382" y="314416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70" eaLnBrk="1" fontAlgn="auto" latinLnBrk="0" hangingPunct="1">
              <a:lnSpc>
                <a:spcPct val="100000"/>
              </a:lnSpc>
              <a:spcBef>
                <a:spcPts val="0"/>
              </a:spcBef>
              <a:spcAft>
                <a:spcPts val="0"/>
              </a:spcAft>
              <a:buClrTx/>
              <a:buSzTx/>
              <a:buFontTx/>
              <a:buNone/>
              <a:tabLst/>
              <a:defRPr/>
            </a:pPr>
            <a:r>
              <a:rPr lang="en-GB" b="1">
                <a:solidFill>
                  <a:schemeClr val="accent3"/>
                </a:solidFill>
                <a:ea typeface="Times New Roman" panose="02020603050405020304" pitchFamily="18" charset="0"/>
              </a:rPr>
              <a:t>Risks &amp; opportunities deep-dive</a:t>
            </a:r>
          </a:p>
          <a:p>
            <a:pPr marL="0" marR="0" lvl="0" indent="0" algn="l" defTabSz="914370" eaLnBrk="1" fontAlgn="auto" latinLnBrk="0" hangingPunct="1">
              <a:lnSpc>
                <a:spcPct val="100000"/>
              </a:lnSpc>
              <a:spcBef>
                <a:spcPts val="0"/>
              </a:spcBef>
              <a:spcAft>
                <a:spcPts val="0"/>
              </a:spcAft>
              <a:buClrTx/>
              <a:buSzTx/>
              <a:buFontTx/>
              <a:buNone/>
              <a:tabLst/>
              <a:defRPr/>
            </a:pPr>
            <a:r>
              <a:rPr lang="en-GB" sz="1400">
                <a:solidFill>
                  <a:schemeClr val="accent3"/>
                </a:solidFill>
                <a:ea typeface="Times New Roman" panose="02020603050405020304" pitchFamily="18" charset="0"/>
              </a:rPr>
              <a:t>Open discussion to align on major risks &amp; opportunities affecting Nexans in Asia</a:t>
            </a:r>
          </a:p>
        </p:txBody>
      </p:sp>
      <p:sp>
        <p:nvSpPr>
          <p:cNvPr id="21" name="Rectangle 20">
            <a:extLst>
              <a:ext uri="{FF2B5EF4-FFF2-40B4-BE49-F238E27FC236}">
                <a16:creationId xmlns:a16="http://schemas.microsoft.com/office/drawing/2014/main" id="{4ED825AB-D88C-4388-A11E-C9554C920BD1}"/>
              </a:ext>
            </a:extLst>
          </p:cNvPr>
          <p:cNvSpPr/>
          <p:nvPr/>
        </p:nvSpPr>
        <p:spPr>
          <a:xfrm>
            <a:off x="2967382" y="4031044"/>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accent3"/>
                </a:solidFill>
              </a:rPr>
              <a:t>Coffee break</a:t>
            </a:r>
            <a:endParaRPr lang="en-GB" sz="1400" kern="0">
              <a:solidFill>
                <a:schemeClr val="accent3"/>
              </a:solidFill>
            </a:endParaRPr>
          </a:p>
        </p:txBody>
      </p:sp>
      <p:sp>
        <p:nvSpPr>
          <p:cNvPr id="13" name="TextBox 12">
            <a:extLst>
              <a:ext uri="{FF2B5EF4-FFF2-40B4-BE49-F238E27FC236}">
                <a16:creationId xmlns:a16="http://schemas.microsoft.com/office/drawing/2014/main" id="{521DD162-3FB4-4461-4E45-4FEF61663B7B}"/>
              </a:ext>
            </a:extLst>
          </p:cNvPr>
          <p:cNvSpPr txBox="1">
            <a:spLocks/>
          </p:cNvSpPr>
          <p:nvPr/>
        </p:nvSpPr>
        <p:spPr>
          <a:xfrm>
            <a:off x="10487492" y="2566376"/>
            <a:ext cx="1259246" cy="215444"/>
          </a:xfrm>
          <a:prstGeom prst="rect">
            <a:avLst/>
          </a:prstGeom>
          <a:noFill/>
        </p:spPr>
        <p:txBody>
          <a:bodyPr wrap="square" lIns="0" tIns="0" rIns="0" bIns="0" rtlCol="0">
            <a:spAutoFit/>
          </a:bodyPr>
          <a:lstStyle/>
          <a:p>
            <a:r>
              <a:rPr lang="en-GB" sz="1400" i="1" kern="0">
                <a:solidFill>
                  <a:schemeClr val="tx2"/>
                </a:solidFill>
              </a:rPr>
              <a:t>08h30 – 09h15</a:t>
            </a:r>
          </a:p>
        </p:txBody>
      </p:sp>
      <p:sp>
        <p:nvSpPr>
          <p:cNvPr id="14" name="TextBox 13">
            <a:extLst>
              <a:ext uri="{FF2B5EF4-FFF2-40B4-BE49-F238E27FC236}">
                <a16:creationId xmlns:a16="http://schemas.microsoft.com/office/drawing/2014/main" id="{856A1F5D-FFED-CAEC-ADA3-EBBECF179C0F}"/>
              </a:ext>
            </a:extLst>
          </p:cNvPr>
          <p:cNvSpPr txBox="1">
            <a:spLocks/>
          </p:cNvSpPr>
          <p:nvPr/>
        </p:nvSpPr>
        <p:spPr>
          <a:xfrm>
            <a:off x="10487492" y="3453256"/>
            <a:ext cx="1259246" cy="215444"/>
          </a:xfrm>
          <a:prstGeom prst="rect">
            <a:avLst/>
          </a:prstGeom>
          <a:noFill/>
        </p:spPr>
        <p:txBody>
          <a:bodyPr wrap="square" lIns="0" tIns="0" rIns="0" bIns="0" rtlCol="0">
            <a:spAutoFit/>
          </a:bodyPr>
          <a:lstStyle/>
          <a:p>
            <a:r>
              <a:rPr lang="en-GB" sz="1400" i="1" kern="0">
                <a:solidFill>
                  <a:schemeClr val="accent3"/>
                </a:solidFill>
              </a:rPr>
              <a:t>09h15 – 10h15</a:t>
            </a:r>
          </a:p>
        </p:txBody>
      </p:sp>
      <p:sp>
        <p:nvSpPr>
          <p:cNvPr id="15" name="TextBox 14">
            <a:extLst>
              <a:ext uri="{FF2B5EF4-FFF2-40B4-BE49-F238E27FC236}">
                <a16:creationId xmlns:a16="http://schemas.microsoft.com/office/drawing/2014/main" id="{0F93F637-2801-8862-7DBE-893391AA1E77}"/>
              </a:ext>
            </a:extLst>
          </p:cNvPr>
          <p:cNvSpPr txBox="1">
            <a:spLocks/>
          </p:cNvSpPr>
          <p:nvPr/>
        </p:nvSpPr>
        <p:spPr>
          <a:xfrm>
            <a:off x="10487492" y="4340136"/>
            <a:ext cx="1259246" cy="215444"/>
          </a:xfrm>
          <a:prstGeom prst="rect">
            <a:avLst/>
          </a:prstGeom>
          <a:noFill/>
        </p:spPr>
        <p:txBody>
          <a:bodyPr wrap="square" lIns="0" tIns="0" rIns="0" bIns="0" rtlCol="0">
            <a:spAutoFit/>
          </a:bodyPr>
          <a:lstStyle/>
          <a:p>
            <a:r>
              <a:rPr lang="en-GB" sz="1400" i="1" kern="0">
                <a:solidFill>
                  <a:schemeClr val="accent3"/>
                </a:solidFill>
              </a:rPr>
              <a:t>10h15 – 10h30</a:t>
            </a:r>
          </a:p>
        </p:txBody>
      </p:sp>
      <p:sp>
        <p:nvSpPr>
          <p:cNvPr id="16" name="Oval 15">
            <a:extLst>
              <a:ext uri="{FF2B5EF4-FFF2-40B4-BE49-F238E27FC236}">
                <a16:creationId xmlns:a16="http://schemas.microsoft.com/office/drawing/2014/main" id="{95F9DE53-C029-8E41-5106-D49EEFBB2A31}"/>
              </a:ext>
            </a:extLst>
          </p:cNvPr>
          <p:cNvSpPr/>
          <p:nvPr/>
        </p:nvSpPr>
        <p:spPr>
          <a:xfrm>
            <a:off x="2133844" y="4980286"/>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a:ln>
                  <a:noFill/>
                </a:ln>
                <a:solidFill>
                  <a:schemeClr val="accent3"/>
                </a:solidFill>
                <a:effectLst/>
                <a:uLnTx/>
                <a:uFillTx/>
                <a:latin typeface="MMC Display Condensed"/>
                <a:ea typeface="+mn-ea"/>
                <a:cs typeface="+mn-cs"/>
              </a:rPr>
              <a:t>4</a:t>
            </a:r>
          </a:p>
        </p:txBody>
      </p:sp>
      <p:sp>
        <p:nvSpPr>
          <p:cNvPr id="17" name="Rectangle 16">
            <a:extLst>
              <a:ext uri="{FF2B5EF4-FFF2-40B4-BE49-F238E27FC236}">
                <a16:creationId xmlns:a16="http://schemas.microsoft.com/office/drawing/2014/main" id="{C41E1B99-5C08-2224-7A9E-BFE68D784190}"/>
              </a:ext>
            </a:extLst>
          </p:cNvPr>
          <p:cNvSpPr/>
          <p:nvPr/>
        </p:nvSpPr>
        <p:spPr>
          <a:xfrm>
            <a:off x="2967382" y="4949105"/>
            <a:ext cx="7366000" cy="833628"/>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b="1" kern="0">
                <a:solidFill>
                  <a:schemeClr val="accent3"/>
                </a:solidFill>
              </a:rPr>
              <a:t>Permacrisis Profit Patterns design</a:t>
            </a:r>
          </a:p>
          <a:p>
            <a:r>
              <a:rPr lang="en-GB" sz="1400" kern="0">
                <a:solidFill>
                  <a:schemeClr val="accent3"/>
                </a:solidFill>
              </a:rPr>
              <a:t>Design patterns for a risk-adjusted business model, answering major risks &amp; opportunities for Nexans in Asia</a:t>
            </a:r>
          </a:p>
        </p:txBody>
      </p:sp>
      <p:sp>
        <p:nvSpPr>
          <p:cNvPr id="18" name="TextBox 17">
            <a:extLst>
              <a:ext uri="{FF2B5EF4-FFF2-40B4-BE49-F238E27FC236}">
                <a16:creationId xmlns:a16="http://schemas.microsoft.com/office/drawing/2014/main" id="{79CB84BB-613B-6A41-2E24-B16C0C1F4554}"/>
              </a:ext>
            </a:extLst>
          </p:cNvPr>
          <p:cNvSpPr txBox="1">
            <a:spLocks/>
          </p:cNvSpPr>
          <p:nvPr/>
        </p:nvSpPr>
        <p:spPr>
          <a:xfrm>
            <a:off x="10487492" y="5258197"/>
            <a:ext cx="1259246" cy="215444"/>
          </a:xfrm>
          <a:prstGeom prst="rect">
            <a:avLst/>
          </a:prstGeom>
          <a:noFill/>
        </p:spPr>
        <p:txBody>
          <a:bodyPr wrap="square" lIns="0" tIns="0" rIns="0" bIns="0" rtlCol="0">
            <a:spAutoFit/>
          </a:bodyPr>
          <a:lstStyle/>
          <a:p>
            <a:r>
              <a:rPr lang="en-GB" sz="1400" i="1" kern="0">
                <a:solidFill>
                  <a:schemeClr val="accent3"/>
                </a:solidFill>
              </a:rPr>
              <a:t>10h30 – 12h30</a:t>
            </a:r>
          </a:p>
        </p:txBody>
      </p:sp>
    </p:spTree>
    <p:extLst>
      <p:ext uri="{BB962C8B-B14F-4D97-AF65-F5344CB8AC3E}">
        <p14:creationId xmlns:p14="http://schemas.microsoft.com/office/powerpoint/2010/main" val="38565375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779108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70580"/>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Reasonable time allocated to this tracking</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Local-Central collaboration</a:t>
            </a:r>
          </a:p>
          <a:p>
            <a:pPr marL="179986" indent="-179986" defTabSz="554492">
              <a:spcBef>
                <a:spcPts val="600"/>
              </a:spcBef>
              <a:buSzPct val="100000"/>
              <a:buFont typeface="Arial" panose="020B0604020202020204" pitchFamily="34" charset="0"/>
              <a:buChar char="•"/>
            </a:pP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8404"/>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70580"/>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6632"/>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trategy</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upply Chain</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Finance</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10076"/>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fine KPIs and signals to be monitored (prelim. list to be specified today) and assign responsibilities (local)</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Leverage customer signals to extrapolate regional/global trends (e.g., Enel on accessories shortage)</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Track market dynamics through churn rate, failed payment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Share monitoring practices across geographie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Partner with non-competitor industrials to track weak signals</a:t>
            </a:r>
          </a:p>
          <a:p>
            <a:pPr marL="179994" indent="-179994" defTabSz="554492">
              <a:spcBef>
                <a:spcPts val="600"/>
              </a:spcBef>
              <a:buSzPct val="100000"/>
              <a:buFont typeface="Arial" panose="020B0604020202020204" pitchFamily="34" charset="0"/>
              <a:buChar char="•"/>
            </a:pPr>
            <a:endParaRPr lang="en-GB" sz="1100" kern="0">
              <a:solidFill>
                <a:prstClr val="black"/>
              </a:solidFill>
              <a:latin typeface="Calibri"/>
            </a:endParaRPr>
          </a:p>
          <a:p>
            <a:pPr marL="179994" indent="-179994" defTabSz="554492">
              <a:spcBef>
                <a:spcPts val="600"/>
              </a:spcBef>
              <a:buSzPct val="100000"/>
              <a:buFont typeface="Arial" panose="020B0604020202020204" pitchFamily="34" charset="0"/>
              <a:buChar char="•"/>
            </a:pPr>
            <a:endParaRPr lang="en-GB" sz="1400" kern="0">
              <a:solidFill>
                <a:prstClr val="black"/>
              </a:solidFill>
              <a:latin typeface="Calibri"/>
            </a:endParaRPr>
          </a:p>
          <a:p>
            <a:pPr marL="179994" indent="-179994" defTabSz="554492">
              <a:spcBef>
                <a:spcPts val="600"/>
              </a:spcBef>
              <a:buSzPct val="100000"/>
              <a:buFont typeface="Arial" panose="020B0604020202020204" pitchFamily="34" charset="0"/>
              <a:buChar char="•"/>
            </a:pPr>
            <a:endParaRPr lang="en-GB" sz="1400" kern="0">
              <a:solidFill>
                <a:prstClr val="black"/>
              </a:solidFill>
              <a:latin typeface="Calibri"/>
            </a:endParaRP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4048"/>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A1: Weak signal tracking</a:t>
            </a:r>
          </a:p>
        </p:txBody>
      </p:sp>
      <p:pic>
        <p:nvPicPr>
          <p:cNvPr id="20" name="ico-globe">
            <a:extLst>
              <a:ext uri="{FF2B5EF4-FFF2-40B4-BE49-F238E27FC236}">
                <a16:creationId xmlns:a16="http://schemas.microsoft.com/office/drawing/2014/main" id="{154BEF44-625C-CE11-E5B6-8DEA3C4C6DA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83028" y="1186903"/>
            <a:ext cx="213984" cy="213984"/>
          </a:xfrm>
          <a:prstGeom prst="rect">
            <a:avLst/>
          </a:prstGeom>
        </p:spPr>
      </p:pic>
      <p:sp>
        <p:nvSpPr>
          <p:cNvPr id="19" name="Text">
            <a:extLst>
              <a:ext uri="{FF2B5EF4-FFF2-40B4-BE49-F238E27FC236}">
                <a16:creationId xmlns:a16="http://schemas.microsoft.com/office/drawing/2014/main" id="{CBE38BAF-A334-B923-B82B-1524DF2F2CCC}"/>
              </a:ext>
            </a:extLst>
          </p:cNvPr>
          <p:cNvSpPr txBox="1">
            <a:spLocks/>
          </p:cNvSpPr>
          <p:nvPr/>
        </p:nvSpPr>
        <p:spPr bwMode="gray">
          <a:xfrm>
            <a:off x="1137761" y="1169236"/>
            <a:ext cx="1941272" cy="1077218"/>
          </a:xfrm>
          <a:prstGeom prst="rect">
            <a:avLst/>
          </a:prstGeom>
        </p:spPr>
        <p:txBody>
          <a:bodyPr wrap="square" lIns="0" tIns="0" rIns="0" bIns="0" anchor="t">
            <a:spAutoFit/>
          </a:bodyPr>
          <a:lstStyle/>
          <a:p>
            <a:pPr>
              <a:spcAft>
                <a:spcPts val="300"/>
              </a:spcAft>
            </a:pPr>
            <a:r>
              <a:rPr lang="en-GB" sz="1200"/>
              <a:t>Geopolitical tension in Asia</a:t>
            </a:r>
          </a:p>
          <a:p>
            <a:pPr>
              <a:spcAft>
                <a:spcPts val="300"/>
              </a:spcAft>
            </a:pPr>
            <a:r>
              <a:rPr lang="en-GB" sz="1200"/>
              <a:t>Volatile inflation</a:t>
            </a:r>
          </a:p>
          <a:p>
            <a:pPr>
              <a:spcAft>
                <a:spcPts val="300"/>
              </a:spcAft>
            </a:pPr>
            <a:r>
              <a:rPr lang="en-GB" sz="1200"/>
              <a:t>Grid dynamics</a:t>
            </a:r>
          </a:p>
          <a:p>
            <a:pPr>
              <a:spcAft>
                <a:spcPts val="300"/>
              </a:spcAft>
            </a:pPr>
            <a:r>
              <a:rPr lang="en-GB" sz="1200"/>
              <a:t>Resource crisis</a:t>
            </a:r>
          </a:p>
          <a:p>
            <a:pPr>
              <a:spcAft>
                <a:spcPts val="300"/>
              </a:spcAft>
            </a:pPr>
            <a:r>
              <a:rPr lang="en-GB" sz="1200"/>
              <a:t>Strategic consolidation</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8272"/>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8272"/>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sp>
        <p:nvSpPr>
          <p:cNvPr id="31" name="Text">
            <a:extLst>
              <a:ext uri="{FF2B5EF4-FFF2-40B4-BE49-F238E27FC236}">
                <a16:creationId xmlns:a16="http://schemas.microsoft.com/office/drawing/2014/main" id="{740AF070-33B2-1F8C-5853-5DBA2EC215A1}"/>
              </a:ext>
            </a:extLst>
          </p:cNvPr>
          <p:cNvSpPr txBox="1">
            <a:spLocks/>
          </p:cNvSpPr>
          <p:nvPr/>
        </p:nvSpPr>
        <p:spPr bwMode="gray">
          <a:xfrm>
            <a:off x="500277" y="908272"/>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1000320"/>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9353"/>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6131"/>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Ensure that unpredictable events are identified as early as possible, and trigger a quick reaction by Nexans teams</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7324"/>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42" name="Speech Bubble: Rectangle with Corners Rounded 41">
            <a:extLst>
              <a:ext uri="{FF2B5EF4-FFF2-40B4-BE49-F238E27FC236}">
                <a16:creationId xmlns:a16="http://schemas.microsoft.com/office/drawing/2014/main" id="{485BE980-4CAE-546A-8B7B-9AA67914D615}"/>
              </a:ext>
            </a:extLst>
          </p:cNvPr>
          <p:cNvSpPr>
            <a:spLocks/>
          </p:cNvSpPr>
          <p:nvPr/>
        </p:nvSpPr>
        <p:spPr>
          <a:xfrm>
            <a:off x="593382" y="5710354"/>
            <a:ext cx="1164473"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best monitor risks, disruptions and opportunities?</a:t>
            </a:r>
          </a:p>
        </p:txBody>
      </p:sp>
      <p:sp>
        <p:nvSpPr>
          <p:cNvPr id="43" name="Speech Bubble: Rectangle with Corners Rounded 42">
            <a:extLst>
              <a:ext uri="{FF2B5EF4-FFF2-40B4-BE49-F238E27FC236}">
                <a16:creationId xmlns:a16="http://schemas.microsoft.com/office/drawing/2014/main" id="{767A204F-B82D-9B45-C891-CB44AC007AB1}"/>
              </a:ext>
            </a:extLst>
          </p:cNvPr>
          <p:cNvSpPr>
            <a:spLocks/>
          </p:cNvSpPr>
          <p:nvPr/>
        </p:nvSpPr>
        <p:spPr>
          <a:xfrm>
            <a:off x="3079033" y="5710354"/>
            <a:ext cx="1627571"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ones do you monitor and are the most useful to maximize business agility?</a:t>
            </a: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2" y="2519499"/>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90771" y="3159226"/>
            <a:ext cx="293993" cy="293993"/>
          </a:xfrm>
          <a:prstGeom prst="rect">
            <a:avLst/>
          </a:prstGeom>
        </p:spPr>
      </p:pic>
      <p:sp>
        <p:nvSpPr>
          <p:cNvPr id="16" name="Speech Bubble: Rectangle with Corners Rounded 15">
            <a:extLst>
              <a:ext uri="{FF2B5EF4-FFF2-40B4-BE49-F238E27FC236}">
                <a16:creationId xmlns:a16="http://schemas.microsoft.com/office/drawing/2014/main" id="{9ED70E17-D43A-EB34-683C-DBE41182BC60}"/>
              </a:ext>
            </a:extLst>
          </p:cNvPr>
          <p:cNvSpPr>
            <a:spLocks/>
          </p:cNvSpPr>
          <p:nvPr/>
        </p:nvSpPr>
        <p:spPr>
          <a:xfrm>
            <a:off x="1838743" y="5710354"/>
            <a:ext cx="1164473"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signposts &amp; KPIs should be monitored, and why?</a:t>
            </a:r>
          </a:p>
        </p:txBody>
      </p:sp>
      <p:pic>
        <p:nvPicPr>
          <p:cNvPr id="36" name="ico-coal">
            <a:extLst>
              <a:ext uri="{FF2B5EF4-FFF2-40B4-BE49-F238E27FC236}">
                <a16:creationId xmlns:a16="http://schemas.microsoft.com/office/drawing/2014/main" id="{38E01DB3-94DA-EE4A-182F-E501F7A9E18A}"/>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83028" y="1809873"/>
            <a:ext cx="213984" cy="213984"/>
          </a:xfrm>
          <a:prstGeom prst="rect">
            <a:avLst/>
          </a:prstGeom>
        </p:spPr>
      </p:pic>
      <p:pic>
        <p:nvPicPr>
          <p:cNvPr id="11" name="ico-line-chart">
            <a:extLst>
              <a:ext uri="{FF2B5EF4-FFF2-40B4-BE49-F238E27FC236}">
                <a16:creationId xmlns:a16="http://schemas.microsoft.com/office/drawing/2014/main" id="{50D176EB-4F36-6827-C273-43F90B6EFB9F}"/>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83028" y="1382229"/>
            <a:ext cx="213984" cy="213984"/>
          </a:xfrm>
          <a:prstGeom prst="rect">
            <a:avLst/>
          </a:prstGeom>
        </p:spPr>
      </p:pic>
      <p:pic>
        <p:nvPicPr>
          <p:cNvPr id="18" name="ico-energy-tower">
            <a:extLst>
              <a:ext uri="{FF2B5EF4-FFF2-40B4-BE49-F238E27FC236}">
                <a16:creationId xmlns:a16="http://schemas.microsoft.com/office/drawing/2014/main" id="{523F52AA-D6A8-650C-4613-576D461B391B}"/>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789804" y="1595889"/>
            <a:ext cx="213984" cy="213984"/>
          </a:xfrm>
          <a:prstGeom prst="rect">
            <a:avLst/>
          </a:prstGeom>
        </p:spPr>
      </p:pic>
      <p:cxnSp>
        <p:nvCxnSpPr>
          <p:cNvPr id="28" name="Straight Connector 27">
            <a:extLst>
              <a:ext uri="{FF2B5EF4-FFF2-40B4-BE49-F238E27FC236}">
                <a16:creationId xmlns:a16="http://schemas.microsoft.com/office/drawing/2014/main" id="{D3A2CA40-6759-04CA-8BFA-9F3A03375EA5}"/>
              </a:ext>
            </a:extLst>
          </p:cNvPr>
          <p:cNvCxnSpPr>
            <a:cxnSpLocks/>
          </p:cNvCxnSpPr>
          <p:nvPr/>
        </p:nvCxnSpPr>
        <p:spPr>
          <a:xfrm>
            <a:off x="3236473" y="1000320"/>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9" name="ico-group">
            <a:extLst>
              <a:ext uri="{FF2B5EF4-FFF2-40B4-BE49-F238E27FC236}">
                <a16:creationId xmlns:a16="http://schemas.microsoft.com/office/drawing/2014/main" id="{627249F1-D669-09B0-AAFE-A3C6AD4D2794}"/>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83028" y="2062154"/>
            <a:ext cx="213984" cy="213984"/>
          </a:xfrm>
          <a:prstGeom prst="rect">
            <a:avLst/>
          </a:prstGeom>
        </p:spPr>
      </p:pic>
      <p:pic>
        <p:nvPicPr>
          <p:cNvPr id="9" name="ico-research">
            <a:extLst>
              <a:ext uri="{FF2B5EF4-FFF2-40B4-BE49-F238E27FC236}">
                <a16:creationId xmlns:a16="http://schemas.microsoft.com/office/drawing/2014/main" id="{18F63823-8AED-EB4D-2FD4-A3D12CD35236}"/>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63269" y="456234"/>
            <a:ext cx="219775" cy="219775"/>
          </a:xfrm>
          <a:prstGeom prst="rect">
            <a:avLst/>
          </a:prstGeom>
        </p:spPr>
      </p:pic>
    </p:spTree>
    <p:extLst>
      <p:ext uri="{BB962C8B-B14F-4D97-AF65-F5344CB8AC3E}">
        <p14:creationId xmlns:p14="http://schemas.microsoft.com/office/powerpoint/2010/main" val="9285242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319404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70580"/>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Market knowledge</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Clear target (technology, volume, market)</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8404"/>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70580"/>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6632"/>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trategy</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Innovation </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ales &amp; Marketing</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4"/>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10076"/>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mplement constant competitive outlook &amp; Geopolitical screening</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Set up collaboration between Innovation &amp; Marketing to identify target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Leverage international customer relationships for insights on foreign market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sign counter-cyclical offers to benefit from all conjunctures</a:t>
            </a: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4048"/>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A2: Turning risks into opportunities</a:t>
            </a:r>
          </a:p>
        </p:txBody>
      </p:sp>
      <p:pic>
        <p:nvPicPr>
          <p:cNvPr id="12" name="ico-stack">
            <a:extLst>
              <a:ext uri="{FF2B5EF4-FFF2-40B4-BE49-F238E27FC236}">
                <a16:creationId xmlns:a16="http://schemas.microsoft.com/office/drawing/2014/main" id="{A266D571-E312-6BAA-2FF6-F2F94089E5AA}"/>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86175" y="1281777"/>
            <a:ext cx="207690" cy="207690"/>
          </a:xfrm>
          <a:prstGeom prst="rect">
            <a:avLst/>
          </a:prstGeom>
        </p:spPr>
      </p:pic>
      <p:sp>
        <p:nvSpPr>
          <p:cNvPr id="21" name="Text">
            <a:extLst>
              <a:ext uri="{FF2B5EF4-FFF2-40B4-BE49-F238E27FC236}">
                <a16:creationId xmlns:a16="http://schemas.microsoft.com/office/drawing/2014/main" id="{42205D9C-ADE6-DA19-CECA-2D7F23653BCC}"/>
              </a:ext>
            </a:extLst>
          </p:cNvPr>
          <p:cNvSpPr txBox="1">
            <a:spLocks/>
          </p:cNvSpPr>
          <p:nvPr/>
        </p:nvSpPr>
        <p:spPr bwMode="gray">
          <a:xfrm>
            <a:off x="1137761" y="1280015"/>
            <a:ext cx="1941272" cy="630942"/>
          </a:xfrm>
          <a:prstGeom prst="rect">
            <a:avLst/>
          </a:prstGeom>
        </p:spPr>
        <p:txBody>
          <a:bodyPr wrap="square" lIns="0" tIns="0" rIns="0" bIns="0" anchor="t">
            <a:spAutoFit/>
          </a:bodyPr>
          <a:lstStyle/>
          <a:p>
            <a:pPr>
              <a:spcAft>
                <a:spcPts val="300"/>
              </a:spcAft>
            </a:pPr>
            <a:r>
              <a:rPr lang="en-GB" sz="1200"/>
              <a:t>Commoditization</a:t>
            </a:r>
          </a:p>
          <a:p>
            <a:pPr>
              <a:spcAft>
                <a:spcPts val="300"/>
              </a:spcAft>
            </a:pPr>
            <a:r>
              <a:rPr lang="en-GB" sz="1200"/>
              <a:t>Geopolitical tension in Asia</a:t>
            </a:r>
          </a:p>
          <a:p>
            <a:pPr>
              <a:spcAft>
                <a:spcPts val="300"/>
              </a:spcAft>
            </a:pPr>
            <a:r>
              <a:rPr lang="en-GB" sz="1200"/>
              <a:t>Volatile inflation</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8272"/>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8272"/>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1000320"/>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71360" y="1464681"/>
            <a:ext cx="1672113"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6131"/>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US" sz="1200" kern="0">
                <a:solidFill>
                  <a:schemeClr val="tx1"/>
                </a:solidFill>
              </a:rPr>
              <a:t>Capitalize on conjunctural crises to enter or grow in new markets at lower cost than what their potential would suggest</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7324"/>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42" name="Speech Bubble: Rectangle with Corners Rounded 41">
            <a:extLst>
              <a:ext uri="{FF2B5EF4-FFF2-40B4-BE49-F238E27FC236}">
                <a16:creationId xmlns:a16="http://schemas.microsoft.com/office/drawing/2014/main" id="{485BE980-4CAE-546A-8B7B-9AA67914D615}"/>
              </a:ext>
            </a:extLst>
          </p:cNvPr>
          <p:cNvSpPr>
            <a:spLocks/>
          </p:cNvSpPr>
          <p:nvPr/>
        </p:nvSpPr>
        <p:spPr>
          <a:xfrm>
            <a:off x="636555" y="5682887"/>
            <a:ext cx="1685713"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markets have structural attractiveness, but suffer from conjunctural headwind?</a:t>
            </a:r>
          </a:p>
        </p:txBody>
      </p:sp>
      <p:sp>
        <p:nvSpPr>
          <p:cNvPr id="43" name="Speech Bubble: Rectangle with Corners Rounded 42">
            <a:extLst>
              <a:ext uri="{FF2B5EF4-FFF2-40B4-BE49-F238E27FC236}">
                <a16:creationId xmlns:a16="http://schemas.microsoft.com/office/drawing/2014/main" id="{767A204F-B82D-9B45-C891-CB44AC007AB1}"/>
              </a:ext>
            </a:extLst>
          </p:cNvPr>
          <p:cNvSpPr>
            <a:spLocks/>
          </p:cNvSpPr>
          <p:nvPr/>
        </p:nvSpPr>
        <p:spPr>
          <a:xfrm>
            <a:off x="3489648" y="5682887"/>
            <a:ext cx="1179707"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offers should we design &amp; push to such markets?</a:t>
            </a: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2" y="2519499"/>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90771" y="3159226"/>
            <a:ext cx="293993" cy="293993"/>
          </a:xfrm>
          <a:prstGeom prst="rect">
            <a:avLst/>
          </a:prstGeom>
        </p:spPr>
      </p:pic>
      <p:pic>
        <p:nvPicPr>
          <p:cNvPr id="11" name="ico-line-chart">
            <a:extLst>
              <a:ext uri="{FF2B5EF4-FFF2-40B4-BE49-F238E27FC236}">
                <a16:creationId xmlns:a16="http://schemas.microsoft.com/office/drawing/2014/main" id="{D1CBAEE9-5569-B1E2-1768-E91B0E3128C7}"/>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86175" y="1819184"/>
            <a:ext cx="207690" cy="207690"/>
          </a:xfrm>
          <a:prstGeom prst="rect">
            <a:avLst/>
          </a:prstGeom>
        </p:spPr>
      </p:pic>
      <p:pic>
        <p:nvPicPr>
          <p:cNvPr id="8" name="ico-globe">
            <a:extLst>
              <a:ext uri="{FF2B5EF4-FFF2-40B4-BE49-F238E27FC236}">
                <a16:creationId xmlns:a16="http://schemas.microsoft.com/office/drawing/2014/main" id="{E8D48B78-D60D-020F-8B11-804329944DD8}"/>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86175" y="1550480"/>
            <a:ext cx="207690" cy="207690"/>
          </a:xfrm>
          <a:prstGeom prst="rect">
            <a:avLst/>
          </a:prstGeom>
        </p:spPr>
      </p:pic>
      <p:sp>
        <p:nvSpPr>
          <p:cNvPr id="16" name="Speech Bubble: Rectangle with Corners Rounded 15">
            <a:extLst>
              <a:ext uri="{FF2B5EF4-FFF2-40B4-BE49-F238E27FC236}">
                <a16:creationId xmlns:a16="http://schemas.microsoft.com/office/drawing/2014/main" id="{9ED70E17-D43A-EB34-683C-DBE41182BC60}"/>
              </a:ext>
            </a:extLst>
          </p:cNvPr>
          <p:cNvSpPr>
            <a:spLocks/>
          </p:cNvSpPr>
          <p:nvPr/>
        </p:nvSpPr>
        <p:spPr>
          <a:xfrm>
            <a:off x="2402650" y="5682887"/>
            <a:ext cx="1018467"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Is now the best timing to enter these markets?</a:t>
            </a:r>
          </a:p>
        </p:txBody>
      </p:sp>
      <p:sp>
        <p:nvSpPr>
          <p:cNvPr id="18" name="Text">
            <a:extLst>
              <a:ext uri="{FF2B5EF4-FFF2-40B4-BE49-F238E27FC236}">
                <a16:creationId xmlns:a16="http://schemas.microsoft.com/office/drawing/2014/main" id="{6AC1AD2F-9FF5-8AC4-BA39-F62002030A9B}"/>
              </a:ext>
            </a:extLst>
          </p:cNvPr>
          <p:cNvSpPr txBox="1">
            <a:spLocks/>
          </p:cNvSpPr>
          <p:nvPr/>
        </p:nvSpPr>
        <p:spPr bwMode="gray">
          <a:xfrm>
            <a:off x="500277" y="908272"/>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19" name="Straight Connector 18">
            <a:extLst>
              <a:ext uri="{FF2B5EF4-FFF2-40B4-BE49-F238E27FC236}">
                <a16:creationId xmlns:a16="http://schemas.microsoft.com/office/drawing/2014/main" id="{3F177DEA-56A9-E13A-E6BB-8DB89A89B8D0}"/>
              </a:ext>
            </a:extLst>
          </p:cNvPr>
          <p:cNvCxnSpPr>
            <a:cxnSpLocks/>
          </p:cNvCxnSpPr>
          <p:nvPr/>
        </p:nvCxnSpPr>
        <p:spPr>
          <a:xfrm>
            <a:off x="3236473" y="1000320"/>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ico-pins">
            <a:extLst>
              <a:ext uri="{FF2B5EF4-FFF2-40B4-BE49-F238E27FC236}">
                <a16:creationId xmlns:a16="http://schemas.microsoft.com/office/drawing/2014/main" id="{7AC208AB-A291-6A5B-8389-6276E8E41C94}"/>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63270" y="456235"/>
            <a:ext cx="219775" cy="219775"/>
          </a:xfrm>
          <a:prstGeom prst="rect">
            <a:avLst/>
          </a:prstGeom>
        </p:spPr>
      </p:pic>
    </p:spTree>
    <p:extLst>
      <p:ext uri="{BB962C8B-B14F-4D97-AF65-F5344CB8AC3E}">
        <p14:creationId xmlns:p14="http://schemas.microsoft.com/office/powerpoint/2010/main" val="8690330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1475894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Market knowledge</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Competitors’ know-how mapping</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Clear target (technology, volume, market)</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trategy</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ales &amp; Marketing</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Focus on R&amp;D, Engineering &amp; Marketing, and externalize production</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Create partnerships with local industrial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Explore asset sharing (e.g., warehousing, transport)</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Leverage other Nexans sites to share services &amp; infrastructures</a:t>
            </a: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A3: Asset light strategy</a:t>
            </a:r>
          </a:p>
        </p:txBody>
      </p:sp>
      <p:pic>
        <p:nvPicPr>
          <p:cNvPr id="8" name="ico-globe">
            <a:extLst>
              <a:ext uri="{FF2B5EF4-FFF2-40B4-BE49-F238E27FC236}">
                <a16:creationId xmlns:a16="http://schemas.microsoft.com/office/drawing/2014/main" id="{E8D48B78-D60D-020F-8B11-804329944DD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86175" y="1278729"/>
            <a:ext cx="207690" cy="207690"/>
          </a:xfrm>
          <a:prstGeom prst="rect">
            <a:avLst/>
          </a:prstGeom>
        </p:spPr>
      </p:pic>
      <p:sp>
        <p:nvSpPr>
          <p:cNvPr id="21" name="Text">
            <a:extLst>
              <a:ext uri="{FF2B5EF4-FFF2-40B4-BE49-F238E27FC236}">
                <a16:creationId xmlns:a16="http://schemas.microsoft.com/office/drawing/2014/main" id="{42205D9C-ADE6-DA19-CECA-2D7F23653BCC}"/>
              </a:ext>
            </a:extLst>
          </p:cNvPr>
          <p:cNvSpPr txBox="1">
            <a:spLocks/>
          </p:cNvSpPr>
          <p:nvPr/>
        </p:nvSpPr>
        <p:spPr bwMode="gray">
          <a:xfrm>
            <a:off x="1137761" y="1276967"/>
            <a:ext cx="1941272" cy="630942"/>
          </a:xfrm>
          <a:prstGeom prst="rect">
            <a:avLst/>
          </a:prstGeom>
        </p:spPr>
        <p:txBody>
          <a:bodyPr wrap="square" lIns="0" tIns="0" rIns="0" bIns="0" anchor="t">
            <a:spAutoFit/>
          </a:bodyPr>
          <a:lstStyle/>
          <a:p>
            <a:pPr>
              <a:spcAft>
                <a:spcPts val="300"/>
              </a:spcAft>
            </a:pPr>
            <a:r>
              <a:rPr lang="en-GB" sz="1200"/>
              <a:t>Geopolitical tension in Asia</a:t>
            </a:r>
          </a:p>
          <a:p>
            <a:pPr>
              <a:spcAft>
                <a:spcPts val="300"/>
              </a:spcAft>
            </a:pPr>
            <a:r>
              <a:rPr lang="en-GB" sz="1200"/>
              <a:t>Compliance</a:t>
            </a:r>
          </a:p>
          <a:p>
            <a:pPr>
              <a:spcAft>
                <a:spcPts val="300"/>
              </a:spcAft>
            </a:pPr>
            <a:r>
              <a:rPr lang="en-GB" sz="1200"/>
              <a:t>Cyber, AI, Automation</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71360" y="1461633"/>
            <a:ext cx="1672113" cy="369332"/>
          </a:xfrm>
          <a:prstGeom prst="rect">
            <a:avLst/>
          </a:prstGeom>
        </p:spPr>
        <p:txBody>
          <a:bodyPr wrap="square" lIns="0" tIns="0" rIns="0" bIns="0" anchor="t">
            <a:spAutoFit/>
          </a:bodyPr>
          <a:lstStyle/>
          <a:p>
            <a:pPr algn="ctr">
              <a:spcAft>
                <a:spcPts val="300"/>
              </a:spcAft>
            </a:pPr>
            <a:r>
              <a:rPr lang="en-GB" sz="1200"/>
              <a:t>Nexans’ limited presence in China</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Leverage Nexans China’s current limited footprint to investigate innovative business </a:t>
            </a:r>
          </a:p>
          <a:p>
            <a:r>
              <a:rPr lang="en-GB" sz="1200" kern="0">
                <a:solidFill>
                  <a:schemeClr val="tx1"/>
                </a:solidFill>
              </a:rPr>
              <a:t>models, including a high share of external contribution</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42" name="Speech Bubble: Rectangle with Corners Rounded 41">
            <a:extLst>
              <a:ext uri="{FF2B5EF4-FFF2-40B4-BE49-F238E27FC236}">
                <a16:creationId xmlns:a16="http://schemas.microsoft.com/office/drawing/2014/main" id="{485BE980-4CAE-546A-8B7B-9AA67914D615}"/>
              </a:ext>
            </a:extLst>
          </p:cNvPr>
          <p:cNvSpPr>
            <a:spLocks/>
          </p:cNvSpPr>
          <p:nvPr/>
        </p:nvSpPr>
        <p:spPr>
          <a:xfrm>
            <a:off x="636555" y="5725495"/>
            <a:ext cx="1420845"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To which extent should we try and externalize our value chain in China?</a:t>
            </a:r>
          </a:p>
        </p:txBody>
      </p:sp>
      <p:sp>
        <p:nvSpPr>
          <p:cNvPr id="43" name="Speech Bubble: Rectangle with Corners Rounded 42">
            <a:extLst>
              <a:ext uri="{FF2B5EF4-FFF2-40B4-BE49-F238E27FC236}">
                <a16:creationId xmlns:a16="http://schemas.microsoft.com/office/drawing/2014/main" id="{767A204F-B82D-9B45-C891-CB44AC007AB1}"/>
              </a:ext>
            </a:extLst>
          </p:cNvPr>
          <p:cNvSpPr>
            <a:spLocks/>
          </p:cNvSpPr>
          <p:nvPr/>
        </p:nvSpPr>
        <p:spPr>
          <a:xfrm>
            <a:off x="3845107" y="5725495"/>
            <a:ext cx="1685713"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Could such a model be translated to another region in which Nexans operates?</a:t>
            </a: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90771" y="3156178"/>
            <a:ext cx="293993" cy="293993"/>
          </a:xfrm>
          <a:prstGeom prst="rect">
            <a:avLst/>
          </a:prstGeom>
        </p:spPr>
      </p:pic>
      <p:pic>
        <p:nvPicPr>
          <p:cNvPr id="3" name="ico-cyber">
            <a:extLst>
              <a:ext uri="{FF2B5EF4-FFF2-40B4-BE49-F238E27FC236}">
                <a16:creationId xmlns:a16="http://schemas.microsoft.com/office/drawing/2014/main" id="{2D5D2C6F-2C73-F9A4-9231-D08BE5CFAB9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86175" y="1737807"/>
            <a:ext cx="207690" cy="207690"/>
          </a:xfrm>
          <a:prstGeom prst="rect">
            <a:avLst/>
          </a:prstGeom>
        </p:spPr>
      </p:pic>
      <p:pic>
        <p:nvPicPr>
          <p:cNvPr id="2" name="ico-grammar-check">
            <a:extLst>
              <a:ext uri="{FF2B5EF4-FFF2-40B4-BE49-F238E27FC236}">
                <a16:creationId xmlns:a16="http://schemas.microsoft.com/office/drawing/2014/main" id="{A7D3C7DF-7A47-E89D-FC76-2A755B399652}"/>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86175" y="1515902"/>
            <a:ext cx="207690" cy="207690"/>
          </a:xfrm>
          <a:prstGeom prst="rect">
            <a:avLst/>
          </a:prstGeom>
        </p:spPr>
      </p:pic>
      <p:sp>
        <p:nvSpPr>
          <p:cNvPr id="16" name="Speech Bubble: Rectangle with Corners Rounded 15">
            <a:extLst>
              <a:ext uri="{FF2B5EF4-FFF2-40B4-BE49-F238E27FC236}">
                <a16:creationId xmlns:a16="http://schemas.microsoft.com/office/drawing/2014/main" id="{9ED70E17-D43A-EB34-683C-DBE41182BC60}"/>
              </a:ext>
            </a:extLst>
          </p:cNvPr>
          <p:cNvSpPr>
            <a:spLocks/>
          </p:cNvSpPr>
          <p:nvPr/>
        </p:nvSpPr>
        <p:spPr>
          <a:xfrm>
            <a:off x="2108397" y="5725495"/>
            <a:ext cx="1685713"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at could be the other alternative model or scenario for Nexans in China?</a:t>
            </a:r>
          </a:p>
        </p:txBody>
      </p:sp>
      <p:sp>
        <p:nvSpPr>
          <p:cNvPr id="18" name="Text">
            <a:extLst>
              <a:ext uri="{FF2B5EF4-FFF2-40B4-BE49-F238E27FC236}">
                <a16:creationId xmlns:a16="http://schemas.microsoft.com/office/drawing/2014/main" id="{6AC1AD2F-9FF5-8AC4-BA39-F62002030A9B}"/>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19" name="Straight Connector 18">
            <a:extLst>
              <a:ext uri="{FF2B5EF4-FFF2-40B4-BE49-F238E27FC236}">
                <a16:creationId xmlns:a16="http://schemas.microsoft.com/office/drawing/2014/main" id="{3F177DEA-56A9-E13A-E6BB-8DB89A89B8D0}"/>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0" name="ico-optimization">
            <a:extLst>
              <a:ext uri="{FF2B5EF4-FFF2-40B4-BE49-F238E27FC236}">
                <a16:creationId xmlns:a16="http://schemas.microsoft.com/office/drawing/2014/main" id="{73F64157-04DC-9B7D-DEEB-38EAE2606FC5}"/>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63270" y="456235"/>
            <a:ext cx="219775" cy="219775"/>
          </a:xfrm>
          <a:prstGeom prst="rect">
            <a:avLst/>
          </a:prstGeom>
        </p:spPr>
      </p:pic>
      <p:pic>
        <p:nvPicPr>
          <p:cNvPr id="9" name="Apple">
            <a:extLst>
              <a:ext uri="{FF2B5EF4-FFF2-40B4-BE49-F238E27FC236}">
                <a16:creationId xmlns:a16="http://schemas.microsoft.com/office/drawing/2014/main" id="{C6E721FF-021F-808C-6C62-B8C7654022D2}"/>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6187056" y="1244186"/>
            <a:ext cx="251817" cy="309928"/>
          </a:xfrm>
          <a:prstGeom prst="rect">
            <a:avLst/>
          </a:prstGeom>
        </p:spPr>
      </p:pic>
      <p:pic>
        <p:nvPicPr>
          <p:cNvPr id="10" name="Accor">
            <a:extLst>
              <a:ext uri="{FF2B5EF4-FFF2-40B4-BE49-F238E27FC236}">
                <a16:creationId xmlns:a16="http://schemas.microsoft.com/office/drawing/2014/main" id="{BD1E607C-8823-A9A9-2739-23B7CFFA5BF8}"/>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6372284" y="1646299"/>
            <a:ext cx="484791" cy="396648"/>
          </a:xfrm>
          <a:prstGeom prst="rect">
            <a:avLst/>
          </a:prstGeom>
        </p:spPr>
      </p:pic>
      <p:pic>
        <p:nvPicPr>
          <p:cNvPr id="11" name="Nike">
            <a:extLst>
              <a:ext uri="{FF2B5EF4-FFF2-40B4-BE49-F238E27FC236}">
                <a16:creationId xmlns:a16="http://schemas.microsoft.com/office/drawing/2014/main" id="{A202A6A1-B384-3E58-D03B-C4B041E1C6DC}"/>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6810879" y="1341275"/>
            <a:ext cx="489926" cy="174627"/>
          </a:xfrm>
          <a:prstGeom prst="rect">
            <a:avLst/>
          </a:prstGeom>
        </p:spPr>
      </p:pic>
    </p:spTree>
    <p:extLst>
      <p:ext uri="{BB962C8B-B14F-4D97-AF65-F5344CB8AC3E}">
        <p14:creationId xmlns:p14="http://schemas.microsoft.com/office/powerpoint/2010/main" val="11385677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3396213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Precise knowledge of customer need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Available skillset/technology/innovation </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Mindset shift from regions to push’ innovation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No follow-up from competition on new offers</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Innovation (esp. local design labs)</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ales &amp; Marketing</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Engineering (Nexans G&amp;T have experience)</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Create broader offers, focusing on customer experience</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Leverage Innovation (incl. partnership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Push “Green” offers and steer customers’ sustainability agenda</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ncrease value through digital (e.g., sensors &amp; trackers to offer grid monitoring solutions ; AR for inspection)</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Offer adjacent services to customers (e.g., predictive maintenance, installation trainings)</a:t>
            </a:r>
          </a:p>
          <a:p>
            <a:pPr marL="179994" indent="-179994" defTabSz="554492">
              <a:spcBef>
                <a:spcPts val="600"/>
              </a:spcBef>
              <a:buSzPct val="100000"/>
              <a:buFont typeface="Arial" panose="020B0604020202020204" pitchFamily="34" charset="0"/>
              <a:buChar char="•"/>
            </a:pPr>
            <a:endParaRPr lang="en-GB" sz="1200" kern="0">
              <a:solidFill>
                <a:prstClr val="black"/>
              </a:solidFill>
              <a:latin typeface="Calibri"/>
            </a:endParaRP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B1: Differentiate, Differentiate, Differentiate</a:t>
            </a:r>
          </a:p>
        </p:txBody>
      </p:sp>
      <p:pic>
        <p:nvPicPr>
          <p:cNvPr id="12" name="ico-stack">
            <a:extLst>
              <a:ext uri="{FF2B5EF4-FFF2-40B4-BE49-F238E27FC236}">
                <a16:creationId xmlns:a16="http://schemas.microsoft.com/office/drawing/2014/main" id="{A266D571-E312-6BAA-2FF6-F2F94089E5AA}"/>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65806" y="1345819"/>
            <a:ext cx="248428" cy="248428"/>
          </a:xfrm>
          <a:prstGeom prst="rect">
            <a:avLst/>
          </a:prstGeom>
        </p:spPr>
      </p:pic>
      <p:sp>
        <p:nvSpPr>
          <p:cNvPr id="21" name="Text">
            <a:extLst>
              <a:ext uri="{FF2B5EF4-FFF2-40B4-BE49-F238E27FC236}">
                <a16:creationId xmlns:a16="http://schemas.microsoft.com/office/drawing/2014/main" id="{42205D9C-ADE6-DA19-CECA-2D7F23653BCC}"/>
              </a:ext>
            </a:extLst>
          </p:cNvPr>
          <p:cNvSpPr txBox="1">
            <a:spLocks/>
          </p:cNvSpPr>
          <p:nvPr/>
        </p:nvSpPr>
        <p:spPr bwMode="gray">
          <a:xfrm>
            <a:off x="1137761" y="1351135"/>
            <a:ext cx="1941272" cy="630942"/>
          </a:xfrm>
          <a:prstGeom prst="rect">
            <a:avLst/>
          </a:prstGeom>
        </p:spPr>
        <p:txBody>
          <a:bodyPr wrap="square" lIns="0" tIns="0" rIns="0" bIns="0" anchor="t">
            <a:spAutoFit/>
          </a:bodyPr>
          <a:lstStyle/>
          <a:p>
            <a:pPr>
              <a:spcAft>
                <a:spcPts val="300"/>
              </a:spcAft>
            </a:pPr>
            <a:r>
              <a:rPr lang="en-GB" sz="1200"/>
              <a:t>Commoditization</a:t>
            </a:r>
          </a:p>
          <a:p>
            <a:pPr>
              <a:spcAft>
                <a:spcPts val="300"/>
              </a:spcAft>
            </a:pPr>
            <a:endParaRPr lang="en-GB" sz="1200"/>
          </a:p>
          <a:p>
            <a:pPr>
              <a:spcAft>
                <a:spcPts val="300"/>
              </a:spcAft>
            </a:pPr>
            <a:r>
              <a:rPr lang="en-GB" sz="1200"/>
              <a:t>Cyber, AI, Automation</a:t>
            </a:r>
            <a:endParaRPr lang="en-GB" sz="1100"/>
          </a:p>
        </p:txBody>
      </p:sp>
      <p:pic>
        <p:nvPicPr>
          <p:cNvPr id="1026" name="Picture 2" descr="SCHNEIDER-ELECTRIC-logo - NATURAVÉLO">
            <a:extLst>
              <a:ext uri="{FF2B5EF4-FFF2-40B4-BE49-F238E27FC236}">
                <a16:creationId xmlns:a16="http://schemas.microsoft.com/office/drawing/2014/main" id="{85E14FD2-B3C4-2BF3-FD6A-B036BE3B0BEF}"/>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292534" y="1328177"/>
            <a:ext cx="714768" cy="28590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ichelin-Logo - ANEF 03 63">
            <a:extLst>
              <a:ext uri="{FF2B5EF4-FFF2-40B4-BE49-F238E27FC236}">
                <a16:creationId xmlns:a16="http://schemas.microsoft.com/office/drawing/2014/main" id="{28BCC23A-0F0E-20E9-747A-9C9A79A2599C}"/>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292535" y="1648108"/>
            <a:ext cx="714767" cy="403998"/>
          </a:xfrm>
          <a:prstGeom prst="rect">
            <a:avLst/>
          </a:prstGeom>
          <a:noFill/>
          <a:extLst>
            <a:ext uri="{909E8E84-426E-40DD-AFC4-6F175D3DCCD1}">
              <a14:hiddenFill xmlns:a14="http://schemas.microsoft.com/office/drawing/2010/main">
                <a:solidFill>
                  <a:srgbClr val="FFFFFF"/>
                </a:solidFill>
              </a14:hiddenFill>
            </a:ext>
          </a:extLst>
        </p:spPr>
      </p:pic>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3" name="Straight Connector 32">
            <a:extLst>
              <a:ext uri="{FF2B5EF4-FFF2-40B4-BE49-F238E27FC236}">
                <a16:creationId xmlns:a16="http://schemas.microsoft.com/office/drawing/2014/main" id="{F5C95BDB-741F-6CC0-4E35-B93CB66E3E1B}"/>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71360" y="1634663"/>
            <a:ext cx="1672113" cy="184666"/>
          </a:xfrm>
          <a:prstGeom prst="rect">
            <a:avLst/>
          </a:prstGeom>
        </p:spPr>
        <p:txBody>
          <a:bodyPr wrap="square" lIns="0" tIns="0" rIns="0" bIns="0" anchor="t">
            <a:spAutoFit/>
          </a:bodyPr>
          <a:lstStyle/>
          <a:p>
            <a:pPr algn="ctr">
              <a:spcAft>
                <a:spcPts val="300"/>
              </a:spcAft>
            </a:pPr>
            <a:r>
              <a:rPr lang="en-GB" sz="1200"/>
              <a:t>Counterfeiting</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Create a unique position in the market to attract customers and gain a competitive advantage</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42" name="Speech Bubble: Rectangle with Corners Rounded 41">
            <a:extLst>
              <a:ext uri="{FF2B5EF4-FFF2-40B4-BE49-F238E27FC236}">
                <a16:creationId xmlns:a16="http://schemas.microsoft.com/office/drawing/2014/main" id="{485BE980-4CAE-546A-8B7B-9AA67914D615}"/>
              </a:ext>
            </a:extLst>
          </p:cNvPr>
          <p:cNvSpPr/>
          <p:nvPr/>
        </p:nvSpPr>
        <p:spPr>
          <a:xfrm>
            <a:off x="636555" y="5725495"/>
            <a:ext cx="1645504"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GB" sz="1100">
                <a:solidFill>
                  <a:schemeClr val="tx1"/>
                </a:solidFill>
                <a:latin typeface="Calibri"/>
              </a:rPr>
              <a:t>How to move towards a specialist positioning (as opposed to a commodity manufacturer)?</a:t>
            </a:r>
          </a:p>
        </p:txBody>
      </p:sp>
      <p:sp>
        <p:nvSpPr>
          <p:cNvPr id="43" name="Speech Bubble: Rectangle with Corners Rounded 42">
            <a:extLst>
              <a:ext uri="{FF2B5EF4-FFF2-40B4-BE49-F238E27FC236}">
                <a16:creationId xmlns:a16="http://schemas.microsoft.com/office/drawing/2014/main" id="{767A204F-B82D-9B45-C891-CB44AC007AB1}"/>
              </a:ext>
            </a:extLst>
          </p:cNvPr>
          <p:cNvSpPr/>
          <p:nvPr/>
        </p:nvSpPr>
        <p:spPr>
          <a:xfrm>
            <a:off x="2334112" y="5725495"/>
            <a:ext cx="1230371"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GB" sz="1100">
                <a:solidFill>
                  <a:schemeClr val="tx1"/>
                </a:solidFill>
                <a:latin typeface="Calibri"/>
              </a:rPr>
              <a:t>How to differentiate our offer by customer verticals?</a:t>
            </a:r>
          </a:p>
        </p:txBody>
      </p:sp>
      <p:sp>
        <p:nvSpPr>
          <p:cNvPr id="44" name="Speech Bubble: Rectangle with Corners Rounded 43">
            <a:extLst>
              <a:ext uri="{FF2B5EF4-FFF2-40B4-BE49-F238E27FC236}">
                <a16:creationId xmlns:a16="http://schemas.microsoft.com/office/drawing/2014/main" id="{07C25CD7-A67D-4B58-563E-085B732B6674}"/>
              </a:ext>
            </a:extLst>
          </p:cNvPr>
          <p:cNvSpPr/>
          <p:nvPr/>
        </p:nvSpPr>
        <p:spPr>
          <a:xfrm>
            <a:off x="3616536" y="5725495"/>
            <a:ext cx="2286913"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GB" sz="1100">
                <a:solidFill>
                  <a:schemeClr val="tx1"/>
                </a:solidFill>
                <a:latin typeface="Calibri"/>
              </a:rPr>
              <a:t>How to secure a deep understanding of your Usages customers verticals to maximize Nexans value creation?</a:t>
            </a: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390771" y="3156178"/>
            <a:ext cx="293993" cy="293993"/>
          </a:xfrm>
          <a:prstGeom prst="rect">
            <a:avLst/>
          </a:prstGeom>
        </p:spPr>
      </p:pic>
      <p:pic>
        <p:nvPicPr>
          <p:cNvPr id="10" name="ico-cyber">
            <a:extLst>
              <a:ext uri="{FF2B5EF4-FFF2-40B4-BE49-F238E27FC236}">
                <a16:creationId xmlns:a16="http://schemas.microsoft.com/office/drawing/2014/main" id="{20A60503-C6A2-0BC9-53C1-87CF2991C1A8}"/>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65806" y="1768459"/>
            <a:ext cx="248428" cy="248428"/>
          </a:xfrm>
          <a:prstGeom prst="rect">
            <a:avLst/>
          </a:prstGeom>
        </p:spPr>
      </p:pic>
      <p:sp>
        <p:nvSpPr>
          <p:cNvPr id="2" name="Text">
            <a:extLst>
              <a:ext uri="{FF2B5EF4-FFF2-40B4-BE49-F238E27FC236}">
                <a16:creationId xmlns:a16="http://schemas.microsoft.com/office/drawing/2014/main" id="{89DCFF1A-7B82-2C4D-9C86-B39644F76A89}"/>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pic>
        <p:nvPicPr>
          <p:cNvPr id="11" name="ico-app-store">
            <a:extLst>
              <a:ext uri="{FF2B5EF4-FFF2-40B4-BE49-F238E27FC236}">
                <a16:creationId xmlns:a16="http://schemas.microsoft.com/office/drawing/2014/main" id="{9167FEB3-88A0-926C-0EEA-0C670DEBFD1B}"/>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63270" y="456235"/>
            <a:ext cx="219775" cy="219775"/>
          </a:xfrm>
          <a:prstGeom prst="rect">
            <a:avLst/>
          </a:prstGeom>
        </p:spPr>
      </p:pic>
    </p:spTree>
    <p:extLst>
      <p:ext uri="{BB962C8B-B14F-4D97-AF65-F5344CB8AC3E}">
        <p14:creationId xmlns:p14="http://schemas.microsoft.com/office/powerpoint/2010/main" val="23951434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344195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Understanding of customer pain point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Cross-BU collaboration on platinum customers</a:t>
            </a:r>
          </a:p>
          <a:p>
            <a:pPr marL="179986" indent="-179986" defTabSz="554492">
              <a:spcBef>
                <a:spcPts val="600"/>
              </a:spcBef>
              <a:buSzPct val="100000"/>
              <a:buFont typeface="Arial" panose="020B0604020202020204" pitchFamily="34" charset="0"/>
              <a:buChar char="•"/>
            </a:pP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Innovation</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ales &amp; Marketing</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velop integrated solutions, around the core business (e.g. modular wiring)</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Focus on platinum customer need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ncrease customer support offers on core product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Set up cross-BU sharing of international customers pain points, and associated solutions</a:t>
            </a:r>
          </a:p>
          <a:p>
            <a:pPr marL="179994" indent="-179994" defTabSz="554492">
              <a:spcBef>
                <a:spcPts val="600"/>
              </a:spcBef>
              <a:buSzPct val="100000"/>
              <a:buFont typeface="Arial" panose="020B0604020202020204" pitchFamily="34" charset="0"/>
              <a:buChar char="•"/>
            </a:pPr>
            <a:endParaRPr lang="en-GB" sz="1200" b="1" kern="0">
              <a:solidFill>
                <a:prstClr val="black"/>
              </a:solidFill>
              <a:latin typeface="Calibri"/>
            </a:endParaRPr>
          </a:p>
          <a:p>
            <a:pPr marL="179994" indent="-179994" defTabSz="554492">
              <a:spcBef>
                <a:spcPts val="600"/>
              </a:spcBef>
              <a:buSzPct val="100000"/>
              <a:buFont typeface="Arial" panose="020B0604020202020204" pitchFamily="34" charset="0"/>
              <a:buChar char="•"/>
            </a:pPr>
            <a:endParaRPr lang="en-GB" sz="1200" kern="0">
              <a:solidFill>
                <a:prstClr val="black"/>
              </a:solidFill>
              <a:latin typeface="Calibri"/>
            </a:endParaRPr>
          </a:p>
          <a:p>
            <a:pPr marL="179994" indent="-179994" defTabSz="554492">
              <a:spcBef>
                <a:spcPts val="600"/>
              </a:spcBef>
              <a:buSzPct val="100000"/>
              <a:buFont typeface="Arial" panose="020B0604020202020204" pitchFamily="34" charset="0"/>
              <a:buChar char="•"/>
            </a:pPr>
            <a:endParaRPr lang="en-GB" sz="1200" kern="0">
              <a:solidFill>
                <a:prstClr val="black"/>
              </a:solidFill>
              <a:latin typeface="Calibri"/>
            </a:endParaRP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B2: Strengthen the Core</a:t>
            </a:r>
          </a:p>
        </p:txBody>
      </p:sp>
      <p:pic>
        <p:nvPicPr>
          <p:cNvPr id="32" name="ico-stack">
            <a:extLst>
              <a:ext uri="{FF2B5EF4-FFF2-40B4-BE49-F238E27FC236}">
                <a16:creationId xmlns:a16="http://schemas.microsoft.com/office/drawing/2014/main" id="{952CA112-385D-4461-4175-7146BCA7D62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65806" y="1250871"/>
            <a:ext cx="216000" cy="216000"/>
          </a:xfrm>
          <a:prstGeom prst="rect">
            <a:avLst/>
          </a:prstGeom>
        </p:spPr>
      </p:pic>
      <p:sp>
        <p:nvSpPr>
          <p:cNvPr id="21" name="Text">
            <a:extLst>
              <a:ext uri="{FF2B5EF4-FFF2-40B4-BE49-F238E27FC236}">
                <a16:creationId xmlns:a16="http://schemas.microsoft.com/office/drawing/2014/main" id="{42205D9C-ADE6-DA19-CECA-2D7F23653BCC}"/>
              </a:ext>
            </a:extLst>
          </p:cNvPr>
          <p:cNvSpPr txBox="1">
            <a:spLocks/>
          </p:cNvSpPr>
          <p:nvPr/>
        </p:nvSpPr>
        <p:spPr bwMode="gray">
          <a:xfrm>
            <a:off x="1137761" y="1269478"/>
            <a:ext cx="1941272" cy="630942"/>
          </a:xfrm>
          <a:prstGeom prst="rect">
            <a:avLst/>
          </a:prstGeom>
        </p:spPr>
        <p:txBody>
          <a:bodyPr wrap="square" lIns="0" tIns="0" rIns="0" bIns="0" anchor="t">
            <a:spAutoFit/>
          </a:bodyPr>
          <a:lstStyle/>
          <a:p>
            <a:pPr>
              <a:spcAft>
                <a:spcPts val="300"/>
              </a:spcAft>
            </a:pPr>
            <a:r>
              <a:rPr lang="en-GB" sz="1200"/>
              <a:t>Commoditization</a:t>
            </a:r>
          </a:p>
          <a:p>
            <a:pPr>
              <a:spcAft>
                <a:spcPts val="300"/>
              </a:spcAft>
            </a:pPr>
            <a:r>
              <a:rPr lang="en-GB" sz="1200"/>
              <a:t>Volatile inflation</a:t>
            </a:r>
          </a:p>
          <a:p>
            <a:pPr>
              <a:spcAft>
                <a:spcPts val="300"/>
              </a:spcAft>
            </a:pPr>
            <a:r>
              <a:rPr lang="en-GB" sz="1200"/>
              <a:t>Economic or financial crisis</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Adapted value proposition, better answering customer needs, and reinforcing Nexans’ </a:t>
            </a:r>
            <a:br>
              <a:rPr lang="en-GB" sz="1200" kern="0">
                <a:solidFill>
                  <a:schemeClr val="tx1"/>
                </a:solidFill>
              </a:rPr>
            </a:br>
            <a:r>
              <a:rPr lang="en-GB" sz="1200" kern="0">
                <a:solidFill>
                  <a:schemeClr val="tx1"/>
                </a:solidFill>
              </a:rPr>
              <a:t>core business</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42" name="Speech Bubble: Rectangle with Corners Rounded 41">
            <a:extLst>
              <a:ext uri="{FF2B5EF4-FFF2-40B4-BE49-F238E27FC236}">
                <a16:creationId xmlns:a16="http://schemas.microsoft.com/office/drawing/2014/main" id="{485BE980-4CAE-546A-8B7B-9AA67914D615}"/>
              </a:ext>
            </a:extLst>
          </p:cNvPr>
          <p:cNvSpPr>
            <a:spLocks/>
          </p:cNvSpPr>
          <p:nvPr/>
        </p:nvSpPr>
        <p:spPr>
          <a:xfrm>
            <a:off x="593382" y="5725495"/>
            <a:ext cx="1231477"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transition our offering from components to solutions?</a:t>
            </a:r>
          </a:p>
        </p:txBody>
      </p:sp>
      <p:sp>
        <p:nvSpPr>
          <p:cNvPr id="43" name="Speech Bubble: Rectangle with Corners Rounded 42">
            <a:extLst>
              <a:ext uri="{FF2B5EF4-FFF2-40B4-BE49-F238E27FC236}">
                <a16:creationId xmlns:a16="http://schemas.microsoft.com/office/drawing/2014/main" id="{767A204F-B82D-9B45-C891-CB44AC007AB1}"/>
              </a:ext>
            </a:extLst>
          </p:cNvPr>
          <p:cNvSpPr>
            <a:spLocks/>
          </p:cNvSpPr>
          <p:nvPr/>
        </p:nvSpPr>
        <p:spPr>
          <a:xfrm>
            <a:off x="3397339" y="5725495"/>
            <a:ext cx="1986585"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additional capabilities should we master to open new attractive profit pools that strengthen our core business?</a:t>
            </a: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90771" y="3156178"/>
            <a:ext cx="293993" cy="293993"/>
          </a:xfrm>
          <a:prstGeom prst="rect">
            <a:avLst/>
          </a:prstGeom>
        </p:spPr>
      </p:pic>
      <p:pic>
        <p:nvPicPr>
          <p:cNvPr id="36" name="ico-line-chart">
            <a:extLst>
              <a:ext uri="{FF2B5EF4-FFF2-40B4-BE49-F238E27FC236}">
                <a16:creationId xmlns:a16="http://schemas.microsoft.com/office/drawing/2014/main" id="{9C2D8DC6-2D1B-CA94-C0A3-C7A549B9CEB8}"/>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65806" y="1519574"/>
            <a:ext cx="216000" cy="216000"/>
          </a:xfrm>
          <a:prstGeom prst="rect">
            <a:avLst/>
          </a:prstGeom>
        </p:spPr>
      </p:pic>
      <p:sp>
        <p:nvSpPr>
          <p:cNvPr id="16" name="Speech Bubble: Rectangle with Corners Rounded 15">
            <a:extLst>
              <a:ext uri="{FF2B5EF4-FFF2-40B4-BE49-F238E27FC236}">
                <a16:creationId xmlns:a16="http://schemas.microsoft.com/office/drawing/2014/main" id="{9ED70E17-D43A-EB34-683C-DBE41182BC60}"/>
              </a:ext>
            </a:extLst>
          </p:cNvPr>
          <p:cNvSpPr>
            <a:spLocks/>
          </p:cNvSpPr>
          <p:nvPr/>
        </p:nvSpPr>
        <p:spPr>
          <a:xfrm>
            <a:off x="1885417" y="5725495"/>
            <a:ext cx="1451364"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new attractive profit pools could be opened to strengthen our core?</a:t>
            </a:r>
          </a:p>
        </p:txBody>
      </p:sp>
      <p:pic>
        <p:nvPicPr>
          <p:cNvPr id="40" name="ico-trend-down">
            <a:extLst>
              <a:ext uri="{FF2B5EF4-FFF2-40B4-BE49-F238E27FC236}">
                <a16:creationId xmlns:a16="http://schemas.microsoft.com/office/drawing/2014/main" id="{C6DA75DB-CCAA-913C-761F-9BF9C2620783}"/>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65806" y="1735574"/>
            <a:ext cx="216000" cy="216000"/>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Text">
            <a:extLst>
              <a:ext uri="{FF2B5EF4-FFF2-40B4-BE49-F238E27FC236}">
                <a16:creationId xmlns:a16="http://schemas.microsoft.com/office/drawing/2014/main" id="{249DB55A-FAB5-E808-B0E3-2CA04B2D9BC3}"/>
              </a:ext>
            </a:extLst>
          </p:cNvPr>
          <p:cNvSpPr txBox="1">
            <a:spLocks/>
          </p:cNvSpPr>
          <p:nvPr/>
        </p:nvSpPr>
        <p:spPr bwMode="gray">
          <a:xfrm>
            <a:off x="5612290" y="1416305"/>
            <a:ext cx="2040297" cy="546303"/>
          </a:xfrm>
          <a:prstGeom prst="rect">
            <a:avLst/>
          </a:prstGeom>
        </p:spPr>
        <p:txBody>
          <a:bodyPr wrap="square" lIns="0" tIns="0" rIns="0" bIns="0" anchor="t">
            <a:spAutoFit/>
          </a:bodyPr>
          <a:lstStyle/>
          <a:p>
            <a:pPr algn="ctr">
              <a:spcAft>
                <a:spcPts val="300"/>
              </a:spcAft>
            </a:pPr>
            <a:r>
              <a:rPr lang="en-GB" sz="1100"/>
              <a:t>Nexans Morocco (transformers)</a:t>
            </a:r>
          </a:p>
          <a:p>
            <a:pPr algn="ctr">
              <a:spcAft>
                <a:spcPts val="300"/>
              </a:spcAft>
            </a:pPr>
            <a:r>
              <a:rPr lang="en-GB" sz="1100"/>
              <a:t>Nexans Australia (modular wiring)</a:t>
            </a:r>
          </a:p>
        </p:txBody>
      </p:sp>
      <p:pic>
        <p:nvPicPr>
          <p:cNvPr id="9" name="ico-centralize">
            <a:extLst>
              <a:ext uri="{FF2B5EF4-FFF2-40B4-BE49-F238E27FC236}">
                <a16:creationId xmlns:a16="http://schemas.microsoft.com/office/drawing/2014/main" id="{EAB24CCB-CE35-76F7-F8FD-05C2D966BC45}"/>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63270" y="456235"/>
            <a:ext cx="219775" cy="219775"/>
          </a:xfrm>
          <a:prstGeom prst="rect">
            <a:avLst/>
          </a:prstGeom>
        </p:spPr>
      </p:pic>
    </p:spTree>
    <p:extLst>
      <p:ext uri="{BB962C8B-B14F-4D97-AF65-F5344CB8AC3E}">
        <p14:creationId xmlns:p14="http://schemas.microsoft.com/office/powerpoint/2010/main" val="13647951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233113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SHIFT methodology</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Deep understanding of customer need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Cross-BU collaboration</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Cross-BU R&amp;D</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Marketing</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Leverage SHIFT Prime guidelines and frequently refresh the analysis </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Collaborate internationally to harmonize/rationalize solutions to common customer need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Pool R&amp;D efforts across BUs for international customer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Focus volume on few customized offers, vs irrelevant standard offers</a:t>
            </a:r>
          </a:p>
          <a:p>
            <a:pPr marL="179994" indent="-179994" defTabSz="554492">
              <a:spcBef>
                <a:spcPts val="600"/>
              </a:spcBef>
              <a:buSzPct val="100000"/>
              <a:buFont typeface="Arial" panose="020B0604020202020204" pitchFamily="34" charset="0"/>
              <a:buChar char="•"/>
            </a:pPr>
            <a:endParaRPr lang="en-GB" sz="1100" kern="0">
              <a:solidFill>
                <a:prstClr val="black"/>
              </a:solidFill>
              <a:latin typeface="Calibri"/>
            </a:endParaRPr>
          </a:p>
          <a:p>
            <a:pPr marL="179994" indent="-179994" defTabSz="554492">
              <a:spcBef>
                <a:spcPts val="600"/>
              </a:spcBef>
              <a:buSzPct val="100000"/>
              <a:buFont typeface="Arial" panose="020B0604020202020204" pitchFamily="34" charset="0"/>
              <a:buChar char="•"/>
            </a:pPr>
            <a:endParaRPr lang="en-GB" sz="1100" kern="0">
              <a:solidFill>
                <a:prstClr val="black"/>
              </a:solidFill>
              <a:latin typeface="Calibri"/>
            </a:endParaRP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B3: Manageable Product Segmentation</a:t>
            </a:r>
          </a:p>
        </p:txBody>
      </p:sp>
      <p:pic>
        <p:nvPicPr>
          <p:cNvPr id="32" name="ico-stack">
            <a:extLst>
              <a:ext uri="{FF2B5EF4-FFF2-40B4-BE49-F238E27FC236}">
                <a16:creationId xmlns:a16="http://schemas.microsoft.com/office/drawing/2014/main" id="{952CA112-385D-4461-4175-7146BCA7D62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65806" y="1250871"/>
            <a:ext cx="216000" cy="216000"/>
          </a:xfrm>
          <a:prstGeom prst="rect">
            <a:avLst/>
          </a:prstGeom>
        </p:spPr>
      </p:pic>
      <p:sp>
        <p:nvSpPr>
          <p:cNvPr id="21" name="Text">
            <a:extLst>
              <a:ext uri="{FF2B5EF4-FFF2-40B4-BE49-F238E27FC236}">
                <a16:creationId xmlns:a16="http://schemas.microsoft.com/office/drawing/2014/main" id="{42205D9C-ADE6-DA19-CECA-2D7F23653BCC}"/>
              </a:ext>
            </a:extLst>
          </p:cNvPr>
          <p:cNvSpPr txBox="1">
            <a:spLocks/>
          </p:cNvSpPr>
          <p:nvPr/>
        </p:nvSpPr>
        <p:spPr bwMode="gray">
          <a:xfrm>
            <a:off x="1137761" y="1269478"/>
            <a:ext cx="1941272" cy="184666"/>
          </a:xfrm>
          <a:prstGeom prst="rect">
            <a:avLst/>
          </a:prstGeom>
        </p:spPr>
        <p:txBody>
          <a:bodyPr wrap="square" lIns="0" tIns="0" rIns="0" bIns="0" anchor="t">
            <a:spAutoFit/>
          </a:bodyPr>
          <a:lstStyle/>
          <a:p>
            <a:pPr>
              <a:spcAft>
                <a:spcPts val="300"/>
              </a:spcAft>
            </a:pPr>
            <a:r>
              <a:rPr lang="en-GB" sz="1200"/>
              <a:t>Commoditization</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553998"/>
          </a:xfrm>
          <a:prstGeom prst="rect">
            <a:avLst/>
          </a:prstGeom>
        </p:spPr>
        <p:txBody>
          <a:bodyPr wrap="square" lIns="0" tIns="0" rIns="0" bIns="0" anchor="t">
            <a:spAutoFit/>
          </a:bodyPr>
          <a:lstStyle/>
          <a:p>
            <a:pPr algn="ctr">
              <a:spcAft>
                <a:spcPts val="300"/>
              </a:spcAft>
            </a:pPr>
            <a:r>
              <a:rPr lang="en-GB" sz="1200"/>
              <a:t>Risk of increased complexity through differentiation &amp; customer centricity</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Right level of product customization to answer customer needs, without overloading </a:t>
            </a:r>
            <a:br>
              <a:rPr lang="en-GB" sz="1200" kern="0">
                <a:solidFill>
                  <a:schemeClr val="tx1"/>
                </a:solidFill>
              </a:rPr>
            </a:br>
            <a:r>
              <a:rPr lang="en-GB" sz="1200" kern="0">
                <a:solidFill>
                  <a:schemeClr val="tx1"/>
                </a:solidFill>
              </a:rPr>
              <a:t>Nexans teams</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42" name="Speech Bubble: Rectangle with Corners Rounded 41">
            <a:extLst>
              <a:ext uri="{FF2B5EF4-FFF2-40B4-BE49-F238E27FC236}">
                <a16:creationId xmlns:a16="http://schemas.microsoft.com/office/drawing/2014/main" id="{485BE980-4CAE-546A-8B7B-9AA67914D615}"/>
              </a:ext>
            </a:extLst>
          </p:cNvPr>
          <p:cNvSpPr>
            <a:spLocks/>
          </p:cNvSpPr>
          <p:nvPr/>
        </p:nvSpPr>
        <p:spPr>
          <a:xfrm>
            <a:off x="593382" y="5725495"/>
            <a:ext cx="1952749"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at is an acceptable number of offers/verticals with respect to management bandwidth &amp; existing capabilities?</a:t>
            </a: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ico-layers">
            <a:extLst>
              <a:ext uri="{FF2B5EF4-FFF2-40B4-BE49-F238E27FC236}">
                <a16:creationId xmlns:a16="http://schemas.microsoft.com/office/drawing/2014/main" id="{57C4F729-C050-4281-0A3E-B99FA6F1D326}"/>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63270" y="456235"/>
            <a:ext cx="219775" cy="219775"/>
          </a:xfrm>
          <a:prstGeom prst="rect">
            <a:avLst/>
          </a:prstGeom>
        </p:spPr>
      </p:pic>
      <p:pic>
        <p:nvPicPr>
          <p:cNvPr id="8" name="Stellantis">
            <a:extLst>
              <a:ext uri="{FF2B5EF4-FFF2-40B4-BE49-F238E27FC236}">
                <a16:creationId xmlns:a16="http://schemas.microsoft.com/office/drawing/2014/main" id="{463F7B15-58D9-6459-75A8-3172DE741546}"/>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045277" y="1338877"/>
            <a:ext cx="1209283" cy="256082"/>
          </a:xfrm>
          <a:prstGeom prst="rect">
            <a:avLst/>
          </a:prstGeom>
        </p:spPr>
      </p:pic>
    </p:spTree>
    <p:extLst>
      <p:ext uri="{BB962C8B-B14F-4D97-AF65-F5344CB8AC3E}">
        <p14:creationId xmlns:p14="http://schemas.microsoft.com/office/powerpoint/2010/main" val="10060529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865603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Precise inflation monitoring</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Supplier &amp; customer relationship</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ales</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Innovation</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US" sz="1100" kern="0">
                <a:solidFill>
                  <a:prstClr val="black"/>
                </a:solidFill>
                <a:latin typeface="Calibri"/>
              </a:rPr>
              <a:t>Use index-based pricing (with attention to delays in increase/decrease pass-through)</a:t>
            </a:r>
          </a:p>
          <a:p>
            <a:pPr marL="179994" indent="-179994" defTabSz="554492">
              <a:spcBef>
                <a:spcPts val="600"/>
              </a:spcBef>
              <a:buSzPct val="100000"/>
              <a:buFont typeface="Arial" panose="020B0604020202020204" pitchFamily="34" charset="0"/>
              <a:buChar char="•"/>
            </a:pPr>
            <a:r>
              <a:rPr lang="en-US" sz="1100" kern="0">
                <a:solidFill>
                  <a:prstClr val="black"/>
                </a:solidFill>
                <a:latin typeface="Calibri"/>
              </a:rPr>
              <a:t>Include index-based pricing to framework agreements to avoid case-by-case negotiations</a:t>
            </a:r>
          </a:p>
          <a:p>
            <a:pPr marL="179994" indent="-179994" defTabSz="554492">
              <a:spcBef>
                <a:spcPts val="600"/>
              </a:spcBef>
              <a:buSzPct val="100000"/>
              <a:buFont typeface="Arial" panose="020B0604020202020204" pitchFamily="34" charset="0"/>
              <a:buChar char="•"/>
            </a:pPr>
            <a:r>
              <a:rPr lang="en-US" sz="1100" kern="0">
                <a:solidFill>
                  <a:prstClr val="black"/>
                </a:solidFill>
                <a:latin typeface="Calibri"/>
              </a:rPr>
              <a:t>Invest in innovation to adapt offer instead of adapting price</a:t>
            </a:r>
          </a:p>
          <a:p>
            <a:pPr marL="179994" indent="-179994" defTabSz="554492">
              <a:spcBef>
                <a:spcPts val="600"/>
              </a:spcBef>
              <a:buSzPct val="100000"/>
              <a:buFont typeface="Arial" panose="020B0604020202020204" pitchFamily="34" charset="0"/>
              <a:buChar char="•"/>
            </a:pPr>
            <a:r>
              <a:rPr lang="en-US" sz="1100" kern="0">
                <a:solidFill>
                  <a:prstClr val="black"/>
                </a:solidFill>
                <a:latin typeface="Calibri"/>
              </a:rPr>
              <a:t>Identify and protect strategic contracts, and compensate with steeper increase on other contracts</a:t>
            </a:r>
            <a:endParaRPr lang="en-GB" sz="1100" kern="0">
              <a:solidFill>
                <a:prstClr val="black"/>
              </a:solidFill>
              <a:latin typeface="Calibri"/>
            </a:endParaRP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B4: Inflation-proof pricing</a:t>
            </a:r>
          </a:p>
        </p:txBody>
      </p:sp>
      <p:pic>
        <p:nvPicPr>
          <p:cNvPr id="3" name="ico-line-chart">
            <a:extLst>
              <a:ext uri="{FF2B5EF4-FFF2-40B4-BE49-F238E27FC236}">
                <a16:creationId xmlns:a16="http://schemas.microsoft.com/office/drawing/2014/main" id="{97758EF0-764D-FA1F-1CB4-B97240D893B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65806" y="1250871"/>
            <a:ext cx="248428" cy="248428"/>
          </a:xfrm>
          <a:prstGeom prst="rect">
            <a:avLst/>
          </a:prstGeom>
        </p:spPr>
      </p:pic>
      <p:sp>
        <p:nvSpPr>
          <p:cNvPr id="21" name="Text">
            <a:extLst>
              <a:ext uri="{FF2B5EF4-FFF2-40B4-BE49-F238E27FC236}">
                <a16:creationId xmlns:a16="http://schemas.microsoft.com/office/drawing/2014/main" id="{42205D9C-ADE6-DA19-CECA-2D7F23653BCC}"/>
              </a:ext>
            </a:extLst>
          </p:cNvPr>
          <p:cNvSpPr txBox="1">
            <a:spLocks/>
          </p:cNvSpPr>
          <p:nvPr/>
        </p:nvSpPr>
        <p:spPr bwMode="gray">
          <a:xfrm>
            <a:off x="1137761" y="1269478"/>
            <a:ext cx="1941272" cy="407804"/>
          </a:xfrm>
          <a:prstGeom prst="rect">
            <a:avLst/>
          </a:prstGeom>
        </p:spPr>
        <p:txBody>
          <a:bodyPr wrap="square" lIns="0" tIns="0" rIns="0" bIns="0" anchor="t">
            <a:spAutoFit/>
          </a:bodyPr>
          <a:lstStyle/>
          <a:p>
            <a:pPr>
              <a:spcAft>
                <a:spcPts val="300"/>
              </a:spcAft>
            </a:pPr>
            <a:r>
              <a:rPr lang="en-GB" sz="1200"/>
              <a:t>Volatile Inflation</a:t>
            </a:r>
          </a:p>
          <a:p>
            <a:pPr>
              <a:spcAft>
                <a:spcPts val="300"/>
              </a:spcAft>
            </a:pPr>
            <a:r>
              <a:rPr lang="en-GB" sz="1200"/>
              <a:t>Economic or Financial Crisis</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369332"/>
          </a:xfrm>
          <a:prstGeom prst="rect">
            <a:avLst/>
          </a:prstGeom>
        </p:spPr>
        <p:txBody>
          <a:bodyPr wrap="square" lIns="0" tIns="0" rIns="0" bIns="0" anchor="t">
            <a:spAutoFit/>
          </a:bodyPr>
          <a:lstStyle/>
          <a:p>
            <a:pPr algn="ctr">
              <a:spcAft>
                <a:spcPts val="300"/>
              </a:spcAft>
            </a:pPr>
            <a:r>
              <a:rPr lang="en-GB" sz="1200"/>
              <a:t>Regional differences in inflation levels</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Adequate &amp; responsive pricing methodology to pass-through inflation from suppliers to customers (both when inflation increases &amp; decreases)</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42" name="Speech Bubble: Rectangle with Corners Rounded 41">
            <a:extLst>
              <a:ext uri="{FF2B5EF4-FFF2-40B4-BE49-F238E27FC236}">
                <a16:creationId xmlns:a16="http://schemas.microsoft.com/office/drawing/2014/main" id="{485BE980-4CAE-546A-8B7B-9AA67914D615}"/>
              </a:ext>
            </a:extLst>
          </p:cNvPr>
          <p:cNvSpPr>
            <a:spLocks/>
          </p:cNvSpPr>
          <p:nvPr/>
        </p:nvSpPr>
        <p:spPr>
          <a:xfrm>
            <a:off x="593382" y="5725495"/>
            <a:ext cx="1519197"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systems should be deployed to monitor inflation’s volatility across BUs?</a:t>
            </a: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 name="ico-trend-down">
            <a:extLst>
              <a:ext uri="{FF2B5EF4-FFF2-40B4-BE49-F238E27FC236}">
                <a16:creationId xmlns:a16="http://schemas.microsoft.com/office/drawing/2014/main" id="{D9C87574-541E-C344-5AC2-6100FF3FA455}"/>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65806" y="1482798"/>
            <a:ext cx="248428" cy="248428"/>
          </a:xfrm>
          <a:prstGeom prst="rect">
            <a:avLst/>
          </a:prstGeom>
        </p:spPr>
      </p:pic>
      <p:sp>
        <p:nvSpPr>
          <p:cNvPr id="8" name="Speech Bubble: Rectangle with Corners Rounded 7">
            <a:extLst>
              <a:ext uri="{FF2B5EF4-FFF2-40B4-BE49-F238E27FC236}">
                <a16:creationId xmlns:a16="http://schemas.microsoft.com/office/drawing/2014/main" id="{DB227D25-2D10-F04C-8FD0-21CB3057DAE1}"/>
              </a:ext>
            </a:extLst>
          </p:cNvPr>
          <p:cNvSpPr>
            <a:spLocks/>
          </p:cNvSpPr>
          <p:nvPr/>
        </p:nvSpPr>
        <p:spPr>
          <a:xfrm>
            <a:off x="2176720" y="5725495"/>
            <a:ext cx="1733128"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ensure satisfactory pass-through, from suppliers to customers (incl. wholesalers)?</a:t>
            </a:r>
          </a:p>
        </p:txBody>
      </p:sp>
      <p:pic>
        <p:nvPicPr>
          <p:cNvPr id="12" name="ico-line-chart">
            <a:extLst>
              <a:ext uri="{FF2B5EF4-FFF2-40B4-BE49-F238E27FC236}">
                <a16:creationId xmlns:a16="http://schemas.microsoft.com/office/drawing/2014/main" id="{EA3C5A23-8471-AE75-0B64-DE108B02C057}"/>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63270" y="456235"/>
            <a:ext cx="219775" cy="219775"/>
          </a:xfrm>
          <a:prstGeom prst="rect">
            <a:avLst/>
          </a:prstGeom>
        </p:spPr>
      </p:pic>
      <p:sp>
        <p:nvSpPr>
          <p:cNvPr id="10" name="Text">
            <a:extLst>
              <a:ext uri="{FF2B5EF4-FFF2-40B4-BE49-F238E27FC236}">
                <a16:creationId xmlns:a16="http://schemas.microsoft.com/office/drawing/2014/main" id="{B1903CCE-3F54-838D-D1DB-8F6CC95DFB98}"/>
              </a:ext>
            </a:extLst>
          </p:cNvPr>
          <p:cNvSpPr txBox="1">
            <a:spLocks/>
          </p:cNvSpPr>
          <p:nvPr/>
        </p:nvSpPr>
        <p:spPr bwMode="gray">
          <a:xfrm>
            <a:off x="5744589" y="1416305"/>
            <a:ext cx="1810658" cy="184666"/>
          </a:xfrm>
          <a:prstGeom prst="rect">
            <a:avLst/>
          </a:prstGeom>
        </p:spPr>
        <p:txBody>
          <a:bodyPr wrap="square" lIns="0" tIns="0" rIns="0" bIns="0" anchor="t">
            <a:spAutoFit/>
          </a:bodyPr>
          <a:lstStyle/>
          <a:p>
            <a:pPr algn="ctr">
              <a:spcAft>
                <a:spcPts val="300"/>
              </a:spcAft>
            </a:pPr>
            <a:r>
              <a:rPr lang="en-GB" sz="1200"/>
              <a:t>Nexans Turkey</a:t>
            </a:r>
            <a:endParaRPr lang="en-GB" sz="1100"/>
          </a:p>
        </p:txBody>
      </p:sp>
    </p:spTree>
    <p:extLst>
      <p:ext uri="{BB962C8B-B14F-4D97-AF65-F5344CB8AC3E}">
        <p14:creationId xmlns:p14="http://schemas.microsoft.com/office/powerpoint/2010/main" val="788329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3993447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Supplier &amp; customer relationship</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Demand forecast reliability</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Purchasing</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Manufacturing</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nstore a Cash Leadership Office</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Negotiate payment terms (suppliers &amp; customer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nstore downpayments when possible</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ouble-down on claim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Reinforce demand forecasting to avoid inventory build-up</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Switch to just-in-time production</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Reduce lead-times</a:t>
            </a: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C1: Cash is king</a:t>
            </a:r>
          </a:p>
        </p:txBody>
      </p:sp>
      <p:pic>
        <p:nvPicPr>
          <p:cNvPr id="3" name="ico-line-chart">
            <a:extLst>
              <a:ext uri="{FF2B5EF4-FFF2-40B4-BE49-F238E27FC236}">
                <a16:creationId xmlns:a16="http://schemas.microsoft.com/office/drawing/2014/main" id="{97758EF0-764D-FA1F-1CB4-B97240D893B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65806" y="1250871"/>
            <a:ext cx="248428" cy="248428"/>
          </a:xfrm>
          <a:prstGeom prst="rect">
            <a:avLst/>
          </a:prstGeom>
        </p:spPr>
      </p:pic>
      <p:sp>
        <p:nvSpPr>
          <p:cNvPr id="21" name="Text">
            <a:extLst>
              <a:ext uri="{FF2B5EF4-FFF2-40B4-BE49-F238E27FC236}">
                <a16:creationId xmlns:a16="http://schemas.microsoft.com/office/drawing/2014/main" id="{42205D9C-ADE6-DA19-CECA-2D7F23653BCC}"/>
              </a:ext>
            </a:extLst>
          </p:cNvPr>
          <p:cNvSpPr txBox="1">
            <a:spLocks/>
          </p:cNvSpPr>
          <p:nvPr/>
        </p:nvSpPr>
        <p:spPr bwMode="gray">
          <a:xfrm>
            <a:off x="1137761" y="1269478"/>
            <a:ext cx="1941272" cy="407804"/>
          </a:xfrm>
          <a:prstGeom prst="rect">
            <a:avLst/>
          </a:prstGeom>
        </p:spPr>
        <p:txBody>
          <a:bodyPr wrap="square" lIns="0" tIns="0" rIns="0" bIns="0" anchor="t">
            <a:spAutoFit/>
          </a:bodyPr>
          <a:lstStyle/>
          <a:p>
            <a:pPr>
              <a:spcAft>
                <a:spcPts val="300"/>
              </a:spcAft>
            </a:pPr>
            <a:r>
              <a:rPr lang="en-GB" sz="1200"/>
              <a:t>Volatile Inflation</a:t>
            </a:r>
          </a:p>
          <a:p>
            <a:pPr>
              <a:spcAft>
                <a:spcPts val="300"/>
              </a:spcAft>
            </a:pPr>
            <a:r>
              <a:rPr lang="en-GB" sz="1200"/>
              <a:t>Economic or Financial Crisis</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369332"/>
          </a:xfrm>
          <a:prstGeom prst="rect">
            <a:avLst/>
          </a:prstGeom>
        </p:spPr>
        <p:txBody>
          <a:bodyPr wrap="square" lIns="0" tIns="0" rIns="0" bIns="0" anchor="t">
            <a:spAutoFit/>
          </a:bodyPr>
          <a:lstStyle/>
          <a:p>
            <a:pPr algn="ctr">
              <a:spcAft>
                <a:spcPts val="300"/>
              </a:spcAft>
            </a:pPr>
            <a:r>
              <a:rPr lang="en-GB" sz="1200"/>
              <a:t>Prospect of incoming recession</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Operating model focused on cash generation and retention, as opposed to business growth </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 name="ico-trend-down">
            <a:extLst>
              <a:ext uri="{FF2B5EF4-FFF2-40B4-BE49-F238E27FC236}">
                <a16:creationId xmlns:a16="http://schemas.microsoft.com/office/drawing/2014/main" id="{D9C87574-541E-C344-5AC2-6100FF3FA455}"/>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65806" y="1482798"/>
            <a:ext cx="248428" cy="248428"/>
          </a:xfrm>
          <a:prstGeom prst="rect">
            <a:avLst/>
          </a:prstGeom>
        </p:spPr>
      </p:pic>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2" y="5725495"/>
            <a:ext cx="1369425"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ensure our operating model is calibrated to generate cash?</a:t>
            </a:r>
          </a:p>
        </p:txBody>
      </p:sp>
      <p:sp>
        <p:nvSpPr>
          <p:cNvPr id="9" name="Speech Bubble: Rectangle with Corners Rounded 8">
            <a:extLst>
              <a:ext uri="{FF2B5EF4-FFF2-40B4-BE49-F238E27FC236}">
                <a16:creationId xmlns:a16="http://schemas.microsoft.com/office/drawing/2014/main" id="{5ECC99B7-1B15-1ED8-05C0-3B8A9BB9C776}"/>
              </a:ext>
            </a:extLst>
          </p:cNvPr>
          <p:cNvSpPr>
            <a:spLocks/>
          </p:cNvSpPr>
          <p:nvPr/>
        </p:nvSpPr>
        <p:spPr>
          <a:xfrm>
            <a:off x="2007107" y="5725495"/>
            <a:ext cx="1776617"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measures should be taken to adapt our businesses from a growth context to a recession?</a:t>
            </a:r>
          </a:p>
        </p:txBody>
      </p:sp>
      <p:pic>
        <p:nvPicPr>
          <p:cNvPr id="16" name="ico-cash-withdrawal">
            <a:extLst>
              <a:ext uri="{FF2B5EF4-FFF2-40B4-BE49-F238E27FC236}">
                <a16:creationId xmlns:a16="http://schemas.microsoft.com/office/drawing/2014/main" id="{2E3F752F-58F4-1157-3499-DC0282268763}"/>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63270" y="456235"/>
            <a:ext cx="219775" cy="219775"/>
          </a:xfrm>
          <a:prstGeom prst="rect">
            <a:avLst/>
          </a:prstGeom>
        </p:spPr>
      </p:pic>
      <p:pic>
        <p:nvPicPr>
          <p:cNvPr id="10" name="Picture 2" descr="Toyota logo vector - Download logo Toyota vector">
            <a:extLst>
              <a:ext uri="{FF2B5EF4-FFF2-40B4-BE49-F238E27FC236}">
                <a16:creationId xmlns:a16="http://schemas.microsoft.com/office/drawing/2014/main" id="{809E14E7-68AE-1DC7-5356-004C6BDB6587}"/>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6419310" y="1304837"/>
            <a:ext cx="461216" cy="490879"/>
          </a:xfrm>
          <a:prstGeom prst="rect">
            <a:avLst/>
          </a:prstGeom>
          <a:solidFill>
            <a:schemeClr val="bg1"/>
          </a:solidFill>
        </p:spPr>
      </p:pic>
    </p:spTree>
    <p:extLst>
      <p:ext uri="{BB962C8B-B14F-4D97-AF65-F5344CB8AC3E}">
        <p14:creationId xmlns:p14="http://schemas.microsoft.com/office/powerpoint/2010/main" val="3713952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106700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External partnership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Data availability (IT usage, building occupancy)</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Production planning</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upport functions</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ncrease shift flexibility through temp. worker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Explore support functions externalization </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T “pay-as-you-go”</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Right-size real estate footprint</a:t>
            </a:r>
          </a:p>
          <a:p>
            <a:pPr marL="179994" indent="-179994" defTabSz="554492">
              <a:spcBef>
                <a:spcPts val="600"/>
              </a:spcBef>
              <a:buSzPct val="100000"/>
              <a:buFont typeface="Arial" panose="020B0604020202020204" pitchFamily="34" charset="0"/>
              <a:buChar char="•"/>
            </a:pPr>
            <a:r>
              <a:rPr lang="en-US" sz="1100" kern="0">
                <a:solidFill>
                  <a:prstClr val="black"/>
                </a:solidFill>
                <a:latin typeface="Calibri"/>
              </a:rPr>
              <a:t>Leverage best-cost-countries </a:t>
            </a:r>
          </a:p>
          <a:p>
            <a:pPr marL="359988" lvl="1" indent="-179994" defTabSz="554492">
              <a:spcBef>
                <a:spcPts val="300"/>
              </a:spcBef>
              <a:buSzPct val="100000"/>
              <a:buFont typeface="Arial" panose="020B0604020202020204" pitchFamily="34" charset="0"/>
              <a:buChar char="–"/>
            </a:pPr>
            <a:r>
              <a:rPr lang="en-US" sz="1100" kern="0">
                <a:solidFill>
                  <a:prstClr val="black"/>
                </a:solidFill>
                <a:latin typeface="Calibri"/>
              </a:rPr>
              <a:t>With local partners providing flexible workforce</a:t>
            </a:r>
          </a:p>
          <a:p>
            <a:pPr marL="359988" lvl="1" indent="-179994" defTabSz="554492">
              <a:spcBef>
                <a:spcPts val="300"/>
              </a:spcBef>
              <a:buSzPct val="100000"/>
              <a:buFont typeface="Arial" panose="020B0604020202020204" pitchFamily="34" charset="0"/>
              <a:buChar char="–"/>
            </a:pPr>
            <a:r>
              <a:rPr lang="en-US" sz="1100" kern="0">
                <a:solidFill>
                  <a:prstClr val="black"/>
                </a:solidFill>
                <a:latin typeface="Calibri"/>
              </a:rPr>
              <a:t>With existing Nexans offices</a:t>
            </a:r>
            <a:endParaRPr lang="en-GB" sz="1100" kern="0">
              <a:solidFill>
                <a:prstClr val="black"/>
              </a:solidFill>
              <a:latin typeface="Calibri"/>
            </a:endParaRP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C2: Cost </a:t>
            </a:r>
            <a:r>
              <a:rPr lang="en-GB" sz="1200" b="1" kern="0" err="1">
                <a:solidFill>
                  <a:schemeClr val="bg1"/>
                </a:solidFill>
              </a:rPr>
              <a:t>variabilization</a:t>
            </a:r>
            <a:endParaRPr lang="en-GB" sz="1200" b="1" kern="0">
              <a:solidFill>
                <a:schemeClr val="bg1"/>
              </a:solidFill>
            </a:endParaRP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Increased business resilience and adaptiveness through lower fixed costs </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3" y="5725495"/>
            <a:ext cx="1448252"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functions &amp; competencies should be outsourced and why?</a:t>
            </a:r>
          </a:p>
        </p:txBody>
      </p:sp>
      <p:sp>
        <p:nvSpPr>
          <p:cNvPr id="9" name="Speech Bubble: Rectangle with Corners Rounded 8">
            <a:extLst>
              <a:ext uri="{FF2B5EF4-FFF2-40B4-BE49-F238E27FC236}">
                <a16:creationId xmlns:a16="http://schemas.microsoft.com/office/drawing/2014/main" id="{5ECC99B7-1B15-1ED8-05C0-3B8A9BB9C776}"/>
              </a:ext>
            </a:extLst>
          </p:cNvPr>
          <p:cNvSpPr>
            <a:spLocks/>
          </p:cNvSpPr>
          <p:nvPr/>
        </p:nvSpPr>
        <p:spPr>
          <a:xfrm>
            <a:off x="2108397" y="5725495"/>
            <a:ext cx="1586164"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Is your real-estate footprint right-sized? What would being asset light mean for you?</a:t>
            </a:r>
          </a:p>
        </p:txBody>
      </p:sp>
      <p:pic>
        <p:nvPicPr>
          <p:cNvPr id="10" name="ico-globe">
            <a:extLst>
              <a:ext uri="{FF2B5EF4-FFF2-40B4-BE49-F238E27FC236}">
                <a16:creationId xmlns:a16="http://schemas.microsoft.com/office/drawing/2014/main" id="{052E0670-3276-DB72-AE0B-B210D17DC7A6}"/>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83028" y="1183855"/>
            <a:ext cx="213984" cy="213984"/>
          </a:xfrm>
          <a:prstGeom prst="rect">
            <a:avLst/>
          </a:prstGeom>
        </p:spPr>
      </p:pic>
      <p:sp>
        <p:nvSpPr>
          <p:cNvPr id="11" name="Text">
            <a:extLst>
              <a:ext uri="{FF2B5EF4-FFF2-40B4-BE49-F238E27FC236}">
                <a16:creationId xmlns:a16="http://schemas.microsoft.com/office/drawing/2014/main" id="{7021C420-101B-C257-E4F1-20C1E6043EE5}"/>
              </a:ext>
            </a:extLst>
          </p:cNvPr>
          <p:cNvSpPr txBox="1">
            <a:spLocks/>
          </p:cNvSpPr>
          <p:nvPr/>
        </p:nvSpPr>
        <p:spPr bwMode="gray">
          <a:xfrm>
            <a:off x="1137761" y="1166188"/>
            <a:ext cx="1941272" cy="854080"/>
          </a:xfrm>
          <a:prstGeom prst="rect">
            <a:avLst/>
          </a:prstGeom>
        </p:spPr>
        <p:txBody>
          <a:bodyPr wrap="square" lIns="0" tIns="0" rIns="0" bIns="0" anchor="t">
            <a:spAutoFit/>
          </a:bodyPr>
          <a:lstStyle/>
          <a:p>
            <a:pPr>
              <a:spcAft>
                <a:spcPts val="300"/>
              </a:spcAft>
            </a:pPr>
            <a:r>
              <a:rPr lang="en-GB" sz="1200"/>
              <a:t>Geopolitical tension in Asia</a:t>
            </a:r>
          </a:p>
          <a:p>
            <a:pPr>
              <a:spcAft>
                <a:spcPts val="300"/>
              </a:spcAft>
            </a:pPr>
            <a:r>
              <a:rPr lang="en-GB" sz="1200"/>
              <a:t>Natural hazards</a:t>
            </a:r>
          </a:p>
          <a:p>
            <a:pPr>
              <a:spcAft>
                <a:spcPts val="300"/>
              </a:spcAft>
            </a:pPr>
            <a:r>
              <a:rPr lang="en-GB" sz="1200"/>
              <a:t>Volatile inflation</a:t>
            </a:r>
          </a:p>
          <a:p>
            <a:pPr>
              <a:spcAft>
                <a:spcPts val="300"/>
              </a:spcAft>
            </a:pPr>
            <a:r>
              <a:rPr lang="en-GB" sz="1200"/>
              <a:t>Economic or financial crisis</a:t>
            </a:r>
          </a:p>
        </p:txBody>
      </p:sp>
      <p:pic>
        <p:nvPicPr>
          <p:cNvPr id="31" name="ico-trend-down">
            <a:extLst>
              <a:ext uri="{FF2B5EF4-FFF2-40B4-BE49-F238E27FC236}">
                <a16:creationId xmlns:a16="http://schemas.microsoft.com/office/drawing/2014/main" id="{9A5AC0FE-7FC1-57FE-A00D-B9159DF1123F}"/>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83028" y="1806825"/>
            <a:ext cx="248428" cy="248428"/>
          </a:xfrm>
          <a:prstGeom prst="rect">
            <a:avLst/>
          </a:prstGeom>
        </p:spPr>
      </p:pic>
      <p:pic>
        <p:nvPicPr>
          <p:cNvPr id="20" name="ico-cloud-light">
            <a:extLst>
              <a:ext uri="{FF2B5EF4-FFF2-40B4-BE49-F238E27FC236}">
                <a16:creationId xmlns:a16="http://schemas.microsoft.com/office/drawing/2014/main" id="{96C98FEA-3E12-DB9E-6FB0-C87D0F5C15BA}"/>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83028" y="1394421"/>
            <a:ext cx="248428" cy="248428"/>
          </a:xfrm>
          <a:prstGeom prst="rect">
            <a:avLst/>
          </a:prstGeom>
        </p:spPr>
      </p:pic>
      <p:pic>
        <p:nvPicPr>
          <p:cNvPr id="16" name="ico-line-chart">
            <a:extLst>
              <a:ext uri="{FF2B5EF4-FFF2-40B4-BE49-F238E27FC236}">
                <a16:creationId xmlns:a16="http://schemas.microsoft.com/office/drawing/2014/main" id="{38BE9678-FED3-2C94-24E6-1BDAE55B29E5}"/>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789804" y="1615701"/>
            <a:ext cx="213984" cy="213984"/>
          </a:xfrm>
          <a:prstGeom prst="rect">
            <a:avLst/>
          </a:prstGeom>
        </p:spPr>
      </p:pic>
      <p:sp>
        <p:nvSpPr>
          <p:cNvPr id="32" name="Speech Bubble: Rectangle with Corners Rounded 31">
            <a:extLst>
              <a:ext uri="{FF2B5EF4-FFF2-40B4-BE49-F238E27FC236}">
                <a16:creationId xmlns:a16="http://schemas.microsoft.com/office/drawing/2014/main" id="{32E83A3A-E468-E405-98BA-831957BFBF41}"/>
              </a:ext>
            </a:extLst>
          </p:cNvPr>
          <p:cNvSpPr>
            <a:spLocks/>
          </p:cNvSpPr>
          <p:nvPr/>
        </p:nvSpPr>
        <p:spPr>
          <a:xfrm>
            <a:off x="3761323" y="5725495"/>
            <a:ext cx="1157240"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other fixed costs could be </a:t>
            </a:r>
            <a:r>
              <a:rPr lang="en-US" sz="1100" err="1">
                <a:solidFill>
                  <a:schemeClr val="tx1"/>
                </a:solidFill>
                <a:latin typeface="Calibri"/>
              </a:rPr>
              <a:t>variabilized</a:t>
            </a:r>
            <a:r>
              <a:rPr lang="en-US" sz="1100">
                <a:solidFill>
                  <a:schemeClr val="tx1"/>
                </a:solidFill>
                <a:latin typeface="Calibri"/>
              </a:rPr>
              <a:t>?</a:t>
            </a:r>
          </a:p>
        </p:txBody>
      </p:sp>
      <p:pic>
        <p:nvPicPr>
          <p:cNvPr id="18" name="Hon Hai Technology Group (Foxconn)">
            <a:extLst>
              <a:ext uri="{FF2B5EF4-FFF2-40B4-BE49-F238E27FC236}">
                <a16:creationId xmlns:a16="http://schemas.microsoft.com/office/drawing/2014/main" id="{E2B56C98-7422-96CB-E35E-58D4BD09627A}"/>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6106823" y="1351738"/>
            <a:ext cx="1086191" cy="215443"/>
          </a:xfrm>
          <a:prstGeom prst="rect">
            <a:avLst/>
          </a:prstGeom>
        </p:spPr>
      </p:pic>
      <p:pic>
        <p:nvPicPr>
          <p:cNvPr id="33" name="ico-content-delivery">
            <a:extLst>
              <a:ext uri="{FF2B5EF4-FFF2-40B4-BE49-F238E27FC236}">
                <a16:creationId xmlns:a16="http://schemas.microsoft.com/office/drawing/2014/main" id="{4DD3759D-256D-66EE-AF52-586851443997}"/>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63270" y="456235"/>
            <a:ext cx="219775" cy="219775"/>
          </a:xfrm>
          <a:prstGeom prst="rect">
            <a:avLst/>
          </a:prstGeom>
        </p:spPr>
      </p:pic>
    </p:spTree>
    <p:extLst>
      <p:ext uri="{BB962C8B-B14F-4D97-AF65-F5344CB8AC3E}">
        <p14:creationId xmlns:p14="http://schemas.microsoft.com/office/powerpoint/2010/main" val="23280914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260159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BG leaders’ drive to connect BU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Aligned mindset across geographie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Willingness to adapt annual objectives’ structure</a:t>
            </a:r>
          </a:p>
          <a:p>
            <a:pPr marL="179986" indent="-179986" defTabSz="554492">
              <a:spcBef>
                <a:spcPts val="600"/>
              </a:spcBef>
              <a:buSzPct val="100000"/>
              <a:buFont typeface="Arial" panose="020B0604020202020204" pitchFamily="34" charset="0"/>
              <a:buChar char="•"/>
            </a:pP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BU &amp; BG leaders</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Set up recurring cross-BU meetings </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ploy internal promotion of “local champions”, encouraged to share expertise with BU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nclude best-practice sharing in individual annual objectives (e.g., Thales Engineering)</a:t>
            </a: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C3: Networked organization</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Increased cross-geographic and cross-functional collaboration, as a key to share local expertise and customer understanding</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2" y="5725495"/>
            <a:ext cx="1330011"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can we create links between functions and across BUs? </a:t>
            </a:r>
          </a:p>
        </p:txBody>
      </p:sp>
      <p:sp>
        <p:nvSpPr>
          <p:cNvPr id="9" name="Speech Bubble: Rectangle with Corners Rounded 8">
            <a:extLst>
              <a:ext uri="{FF2B5EF4-FFF2-40B4-BE49-F238E27FC236}">
                <a16:creationId xmlns:a16="http://schemas.microsoft.com/office/drawing/2014/main" id="{5ECC99B7-1B15-1ED8-05C0-3B8A9BB9C776}"/>
              </a:ext>
            </a:extLst>
          </p:cNvPr>
          <p:cNvSpPr>
            <a:spLocks/>
          </p:cNvSpPr>
          <p:nvPr/>
        </p:nvSpPr>
        <p:spPr>
          <a:xfrm>
            <a:off x="1980907" y="5725495"/>
            <a:ext cx="1940765"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can we benefit from other geographies’ functional expertise, while keeping regional/ local autonomy?</a:t>
            </a:r>
          </a:p>
        </p:txBody>
      </p:sp>
      <p:pic>
        <p:nvPicPr>
          <p:cNvPr id="2" name="ico-stack">
            <a:extLst>
              <a:ext uri="{FF2B5EF4-FFF2-40B4-BE49-F238E27FC236}">
                <a16:creationId xmlns:a16="http://schemas.microsoft.com/office/drawing/2014/main" id="{9D32B009-EBCA-7248-E87C-AB5375FAE934}"/>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03984" y="1183855"/>
            <a:ext cx="216000" cy="216000"/>
          </a:xfrm>
          <a:prstGeom prst="rect">
            <a:avLst/>
          </a:prstGeom>
        </p:spPr>
      </p:pic>
      <p:sp>
        <p:nvSpPr>
          <p:cNvPr id="11" name="Text">
            <a:extLst>
              <a:ext uri="{FF2B5EF4-FFF2-40B4-BE49-F238E27FC236}">
                <a16:creationId xmlns:a16="http://schemas.microsoft.com/office/drawing/2014/main" id="{7021C420-101B-C257-E4F1-20C1E6043EE5}"/>
              </a:ext>
            </a:extLst>
          </p:cNvPr>
          <p:cNvSpPr txBox="1">
            <a:spLocks/>
          </p:cNvSpPr>
          <p:nvPr/>
        </p:nvSpPr>
        <p:spPr bwMode="gray">
          <a:xfrm>
            <a:off x="1137761" y="1166188"/>
            <a:ext cx="1941272" cy="407804"/>
          </a:xfrm>
          <a:prstGeom prst="rect">
            <a:avLst/>
          </a:prstGeom>
        </p:spPr>
        <p:txBody>
          <a:bodyPr wrap="square" lIns="0" tIns="0" rIns="0" bIns="0" anchor="t">
            <a:spAutoFit/>
          </a:bodyPr>
          <a:lstStyle/>
          <a:p>
            <a:pPr>
              <a:spcAft>
                <a:spcPts val="300"/>
              </a:spcAft>
            </a:pPr>
            <a:r>
              <a:rPr lang="en-GB" sz="1200"/>
              <a:t>Commoditization</a:t>
            </a:r>
          </a:p>
          <a:p>
            <a:pPr>
              <a:spcAft>
                <a:spcPts val="300"/>
              </a:spcAft>
            </a:pPr>
            <a:r>
              <a:rPr lang="en-GB" sz="1200"/>
              <a:t>War for Talent</a:t>
            </a:r>
          </a:p>
        </p:txBody>
      </p:sp>
      <p:pic>
        <p:nvPicPr>
          <p:cNvPr id="3" name="ico-hat-3">
            <a:extLst>
              <a:ext uri="{FF2B5EF4-FFF2-40B4-BE49-F238E27FC236}">
                <a16:creationId xmlns:a16="http://schemas.microsoft.com/office/drawing/2014/main" id="{63A09D7B-88DE-6E31-FE0A-E1334F8824AA}"/>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98719" y="1394421"/>
            <a:ext cx="216000" cy="216000"/>
          </a:xfrm>
          <a:prstGeom prst="rect">
            <a:avLst/>
          </a:prstGeom>
        </p:spPr>
      </p:pic>
      <p:sp>
        <p:nvSpPr>
          <p:cNvPr id="32" name="Speech Bubble: Rectangle with Corners Rounded 31">
            <a:extLst>
              <a:ext uri="{FF2B5EF4-FFF2-40B4-BE49-F238E27FC236}">
                <a16:creationId xmlns:a16="http://schemas.microsoft.com/office/drawing/2014/main" id="{32E83A3A-E468-E405-98BA-831957BFBF41}"/>
              </a:ext>
            </a:extLst>
          </p:cNvPr>
          <p:cNvSpPr>
            <a:spLocks/>
          </p:cNvSpPr>
          <p:nvPr/>
        </p:nvSpPr>
        <p:spPr>
          <a:xfrm>
            <a:off x="3979186" y="5725495"/>
            <a:ext cx="1378904"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To which extent should systematic approaches be used across geographies?</a:t>
            </a:r>
          </a:p>
        </p:txBody>
      </p:sp>
      <p:pic>
        <p:nvPicPr>
          <p:cNvPr id="2050" name="Picture 2">
            <a:extLst>
              <a:ext uri="{FF2B5EF4-FFF2-40B4-BE49-F238E27FC236}">
                <a16:creationId xmlns:a16="http://schemas.microsoft.com/office/drawing/2014/main" id="{B63B5032-084C-A2D9-3109-BA14CF484615}"/>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6142747" y="1313207"/>
            <a:ext cx="953888" cy="111288"/>
          </a:xfrm>
          <a:prstGeom prst="rect">
            <a:avLst/>
          </a:prstGeom>
          <a:noFill/>
          <a:extLst>
            <a:ext uri="{909E8E84-426E-40DD-AFC4-6F175D3DCCD1}">
              <a14:hiddenFill xmlns:a14="http://schemas.microsoft.com/office/drawing/2010/main">
                <a:solidFill>
                  <a:srgbClr val="FFFFFF"/>
                </a:solidFill>
              </a14:hiddenFill>
            </a:ext>
          </a:extLst>
        </p:spPr>
      </p:pic>
      <p:pic>
        <p:nvPicPr>
          <p:cNvPr id="19" name="ico-handshake">
            <a:extLst>
              <a:ext uri="{FF2B5EF4-FFF2-40B4-BE49-F238E27FC236}">
                <a16:creationId xmlns:a16="http://schemas.microsoft.com/office/drawing/2014/main" id="{7894AE83-9894-CF8F-DABC-965FB502224D}"/>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63270" y="456235"/>
            <a:ext cx="219775" cy="219775"/>
          </a:xfrm>
          <a:prstGeom prst="rect">
            <a:avLst/>
          </a:prstGeom>
        </p:spPr>
      </p:pic>
      <p:pic>
        <p:nvPicPr>
          <p:cNvPr id="12" name="Airbus">
            <a:extLst>
              <a:ext uri="{FF2B5EF4-FFF2-40B4-BE49-F238E27FC236}">
                <a16:creationId xmlns:a16="http://schemas.microsoft.com/office/drawing/2014/main" id="{87E3016C-538B-EF40-E977-A501151979B0}"/>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207930" y="1610421"/>
            <a:ext cx="813498" cy="150570"/>
          </a:xfrm>
          <a:prstGeom prst="rect">
            <a:avLst/>
          </a:prstGeom>
        </p:spPr>
      </p:pic>
    </p:spTree>
    <p:extLst>
      <p:ext uri="{BB962C8B-B14F-4D97-AF65-F5344CB8AC3E}">
        <p14:creationId xmlns:p14="http://schemas.microsoft.com/office/powerpoint/2010/main" val="39077066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A7962E-DE6E-B7C4-B698-67DB9EB9E9AF}"/>
              </a:ext>
            </a:extLst>
          </p:cNvPr>
          <p:cNvGraphicFramePr>
            <a:graphicFrameLocks noChangeAspect="1"/>
          </p:cNvGraphicFramePr>
          <p:nvPr>
            <p:custDataLst>
              <p:tags r:id="rId1"/>
            </p:custDataLst>
            <p:extLst>
              <p:ext uri="{D42A27DB-BD31-4B8C-83A1-F6EECF244321}">
                <p14:modId xmlns:p14="http://schemas.microsoft.com/office/powerpoint/2010/main" val="249255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5" name="Object 4" hidden="1">
                        <a:extLst>
                          <a:ext uri="{FF2B5EF4-FFF2-40B4-BE49-F238E27FC236}">
                            <a16:creationId xmlns:a16="http://schemas.microsoft.com/office/drawing/2014/main" id="{44A7962E-DE6E-B7C4-B698-67DB9EB9E9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picture containing water&#10;&#10;Description automatically generated">
            <a:extLst>
              <a:ext uri="{FF2B5EF4-FFF2-40B4-BE49-F238E27FC236}">
                <a16:creationId xmlns:a16="http://schemas.microsoft.com/office/drawing/2014/main" id="{D1CCC9F3-EB87-CBAB-0C43-C18604EC73B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0"/>
            <a:ext cx="3753134" cy="6858000"/>
          </a:xfrm>
          <a:prstGeom prst="rect">
            <a:avLst/>
          </a:prstGeom>
        </p:spPr>
      </p:pic>
      <p:sp>
        <p:nvSpPr>
          <p:cNvPr id="2" name="Title 1">
            <a:extLst>
              <a:ext uri="{FF2B5EF4-FFF2-40B4-BE49-F238E27FC236}">
                <a16:creationId xmlns:a16="http://schemas.microsoft.com/office/drawing/2014/main" id="{E7B5CCD4-8826-4E2F-BE5D-170E8A517FFF}"/>
              </a:ext>
            </a:extLst>
          </p:cNvPr>
          <p:cNvSpPr>
            <a:spLocks noGrp="1"/>
          </p:cNvSpPr>
          <p:nvPr>
            <p:ph type="title"/>
          </p:nvPr>
        </p:nvSpPr>
        <p:spPr>
          <a:xfrm>
            <a:off x="4197350" y="384048"/>
            <a:ext cx="7366000" cy="758952"/>
          </a:xfrm>
        </p:spPr>
        <p:txBody>
          <a:bodyPr vert="horz"/>
          <a:lstStyle/>
          <a:p>
            <a:r>
              <a:rPr lang="en-GB" b="1" kern="0">
                <a:solidFill>
                  <a:schemeClr val="tx2"/>
                </a:solidFill>
              </a:rPr>
              <a:t>Permacrisis overview - </a:t>
            </a:r>
            <a:r>
              <a:rPr lang="en-GB">
                <a:cs typeface="Calibri" panose="020F0502020204030204" pitchFamily="34" charset="0"/>
              </a:rPr>
              <a:t>Contents</a:t>
            </a:r>
          </a:p>
        </p:txBody>
      </p:sp>
      <p:sp>
        <p:nvSpPr>
          <p:cNvPr id="9" name="Oval 8">
            <a:extLst>
              <a:ext uri="{FF2B5EF4-FFF2-40B4-BE49-F238E27FC236}">
                <a16:creationId xmlns:a16="http://schemas.microsoft.com/office/drawing/2014/main" id="{3E7EB780-A806-4E1E-9B01-6077A71D2E33}"/>
              </a:ext>
            </a:extLst>
          </p:cNvPr>
          <p:cNvSpPr/>
          <p:nvPr/>
        </p:nvSpPr>
        <p:spPr>
          <a:xfrm>
            <a:off x="3363812" y="1497915"/>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2800" b="1" kern="0">
                <a:solidFill>
                  <a:schemeClr val="tx1"/>
                </a:solidFill>
                <a:latin typeface="+mj-lt"/>
                <a:cs typeface="Calibri" panose="020F0502020204030204" pitchFamily="34" charset="0"/>
              </a:rPr>
              <a:t>1</a:t>
            </a:r>
          </a:p>
        </p:txBody>
      </p:sp>
      <p:sp>
        <p:nvSpPr>
          <p:cNvPr id="10" name="Oval 9">
            <a:extLst>
              <a:ext uri="{FF2B5EF4-FFF2-40B4-BE49-F238E27FC236}">
                <a16:creationId xmlns:a16="http://schemas.microsoft.com/office/drawing/2014/main" id="{58A7118C-E150-46CC-A998-0F89A970B9CC}"/>
              </a:ext>
            </a:extLst>
          </p:cNvPr>
          <p:cNvSpPr/>
          <p:nvPr/>
        </p:nvSpPr>
        <p:spPr>
          <a:xfrm>
            <a:off x="3363812" y="2678404"/>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2800" b="1" kern="0">
                <a:solidFill>
                  <a:schemeClr val="tx1"/>
                </a:solidFill>
                <a:latin typeface="+mj-lt"/>
                <a:cs typeface="Calibri" panose="020F0502020204030204" pitchFamily="34" charset="0"/>
              </a:rPr>
              <a:t>2</a:t>
            </a:r>
          </a:p>
        </p:txBody>
      </p:sp>
      <p:sp>
        <p:nvSpPr>
          <p:cNvPr id="11" name="Oval 10">
            <a:extLst>
              <a:ext uri="{FF2B5EF4-FFF2-40B4-BE49-F238E27FC236}">
                <a16:creationId xmlns:a16="http://schemas.microsoft.com/office/drawing/2014/main" id="{700C0EB8-FDAE-4FBC-99A2-74FFE2084AC1}"/>
              </a:ext>
            </a:extLst>
          </p:cNvPr>
          <p:cNvSpPr/>
          <p:nvPr/>
        </p:nvSpPr>
        <p:spPr>
          <a:xfrm>
            <a:off x="3363812" y="3858893"/>
            <a:ext cx="771266" cy="771266"/>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2800" b="1" kern="0">
                <a:solidFill>
                  <a:schemeClr val="tx1"/>
                </a:solidFill>
                <a:latin typeface="+mj-lt"/>
                <a:cs typeface="Calibri" panose="020F0502020204030204" pitchFamily="34" charset="0"/>
              </a:rPr>
              <a:t>3</a:t>
            </a:r>
          </a:p>
        </p:txBody>
      </p:sp>
      <p:sp>
        <p:nvSpPr>
          <p:cNvPr id="14" name="Rectangle 13">
            <a:extLst>
              <a:ext uri="{FF2B5EF4-FFF2-40B4-BE49-F238E27FC236}">
                <a16:creationId xmlns:a16="http://schemas.microsoft.com/office/drawing/2014/main" id="{3F1031B1-FF26-46D5-9AF0-FCF2F7F2B716}"/>
              </a:ext>
            </a:extLst>
          </p:cNvPr>
          <p:cNvSpPr/>
          <p:nvPr/>
        </p:nvSpPr>
        <p:spPr>
          <a:xfrm>
            <a:off x="4197350" y="1397000"/>
            <a:ext cx="7366000" cy="1002931"/>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spcBef>
                <a:spcPts val="300"/>
              </a:spcBef>
              <a:buNone/>
            </a:pPr>
            <a:r>
              <a:rPr lang="en-GB" sz="2000" b="1" kern="0">
                <a:solidFill>
                  <a:schemeClr val="tx1"/>
                </a:solidFill>
                <a:latin typeface="+mn-lt" panose="020F0502020204030204" pitchFamily="34" charset="0"/>
                <a:cs typeface="Calibri" panose="020F0502020204030204" pitchFamily="34" charset="0"/>
              </a:rPr>
              <a:t>Understanding the perma-crisis environment</a:t>
            </a:r>
          </a:p>
        </p:txBody>
      </p:sp>
      <p:sp>
        <p:nvSpPr>
          <p:cNvPr id="15" name="Rectangle 14">
            <a:extLst>
              <a:ext uri="{FF2B5EF4-FFF2-40B4-BE49-F238E27FC236}">
                <a16:creationId xmlns:a16="http://schemas.microsoft.com/office/drawing/2014/main" id="{5AD6ADAC-1417-43AA-9C88-F37BBE5D3B7A}"/>
              </a:ext>
            </a:extLst>
          </p:cNvPr>
          <p:cNvSpPr/>
          <p:nvPr/>
        </p:nvSpPr>
        <p:spPr>
          <a:xfrm>
            <a:off x="4197350" y="2565214"/>
            <a:ext cx="7366000" cy="1002931"/>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spcBef>
                <a:spcPts val="300"/>
              </a:spcBef>
              <a:buNone/>
            </a:pPr>
            <a:r>
              <a:rPr lang="en-GB" sz="2000" b="1" kern="0">
                <a:solidFill>
                  <a:schemeClr val="tx1"/>
                </a:solidFill>
                <a:latin typeface="+mn-lt" panose="020F0502020204030204" pitchFamily="34" charset="0"/>
                <a:cs typeface="Calibri" panose="020F0502020204030204" pitchFamily="34" charset="0"/>
              </a:rPr>
              <a:t>Confronting perma-crisis in Asia </a:t>
            </a:r>
          </a:p>
        </p:txBody>
      </p:sp>
      <p:sp>
        <p:nvSpPr>
          <p:cNvPr id="16" name="Rectangle 15">
            <a:extLst>
              <a:ext uri="{FF2B5EF4-FFF2-40B4-BE49-F238E27FC236}">
                <a16:creationId xmlns:a16="http://schemas.microsoft.com/office/drawing/2014/main" id="{5B33B311-25DB-4618-B659-C19BDCED1B98}"/>
              </a:ext>
            </a:extLst>
          </p:cNvPr>
          <p:cNvSpPr/>
          <p:nvPr/>
        </p:nvSpPr>
        <p:spPr>
          <a:xfrm>
            <a:off x="4197350" y="3751535"/>
            <a:ext cx="7366000" cy="1002931"/>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spcBef>
                <a:spcPts val="300"/>
              </a:spcBef>
              <a:buNone/>
            </a:pPr>
            <a:r>
              <a:rPr lang="en-GB" sz="2000" b="1" kern="0">
                <a:solidFill>
                  <a:schemeClr val="tx1"/>
                </a:solidFill>
                <a:latin typeface="+mn-lt" panose="020F0502020204030204" pitchFamily="34" charset="0"/>
                <a:cs typeface="Calibri" panose="020F0502020204030204" pitchFamily="34" charset="0"/>
              </a:rPr>
              <a:t>How to lead in a perma-crisis world? </a:t>
            </a:r>
          </a:p>
        </p:txBody>
      </p:sp>
    </p:spTree>
    <p:extLst>
      <p:ext uri="{BB962C8B-B14F-4D97-AF65-F5344CB8AC3E}">
        <p14:creationId xmlns:p14="http://schemas.microsoft.com/office/powerpoint/2010/main" val="1370790489"/>
      </p:ext>
    </p:extLst>
  </p:cSld>
  <p:clrMapOvr>
    <a:masterClrMapping/>
  </p:clrMapOvr>
  <p:transition spd="slow">
    <p:push/>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41702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Supply chain knowledge</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Ability to multi-source</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Purchasing</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upply Chain</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Map suppliers’ exposure to global risks, and limit common exposure to same risk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Nurture supplier relationship to gain preference in shortage context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Find optimum between supplier concentration (better terms) and the associated risk of supply failure</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Leverage digital (incl. AI) tools to monitor and avoid supply disruption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Create coalitions to boost recycled content availability</a:t>
            </a: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C4: Supply Chain Resilience</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Robust supply chain, with low exposure to geopolitical and physical risks and/or prepared alternatives in case these risks materialize</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2" y="5725495"/>
            <a:ext cx="1998997"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secure our supply chain from disruptions, such as natural disasters, geopolitical sanctions, taxes, etc.?</a:t>
            </a:r>
          </a:p>
        </p:txBody>
      </p:sp>
      <p:sp>
        <p:nvSpPr>
          <p:cNvPr id="32" name="Speech Bubble: Rectangle with Corners Rounded 31">
            <a:extLst>
              <a:ext uri="{FF2B5EF4-FFF2-40B4-BE49-F238E27FC236}">
                <a16:creationId xmlns:a16="http://schemas.microsoft.com/office/drawing/2014/main" id="{32E83A3A-E468-E405-98BA-831957BFBF41}"/>
              </a:ext>
            </a:extLst>
          </p:cNvPr>
          <p:cNvSpPr>
            <a:spLocks/>
          </p:cNvSpPr>
          <p:nvPr/>
        </p:nvSpPr>
        <p:spPr>
          <a:xfrm>
            <a:off x="2647040" y="5725495"/>
            <a:ext cx="1641182"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at could we do to boost recycling capabilities, while securing metal volumes?</a:t>
            </a:r>
          </a:p>
        </p:txBody>
      </p:sp>
      <p:pic>
        <p:nvPicPr>
          <p:cNvPr id="10" name="ico-globe">
            <a:extLst>
              <a:ext uri="{FF2B5EF4-FFF2-40B4-BE49-F238E27FC236}">
                <a16:creationId xmlns:a16="http://schemas.microsoft.com/office/drawing/2014/main" id="{F69626DC-E4A9-4347-F652-3046A27ACAC8}"/>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09303" y="1183855"/>
            <a:ext cx="213984" cy="213984"/>
          </a:xfrm>
          <a:prstGeom prst="rect">
            <a:avLst/>
          </a:prstGeom>
        </p:spPr>
      </p:pic>
      <p:sp>
        <p:nvSpPr>
          <p:cNvPr id="12" name="Text">
            <a:extLst>
              <a:ext uri="{FF2B5EF4-FFF2-40B4-BE49-F238E27FC236}">
                <a16:creationId xmlns:a16="http://schemas.microsoft.com/office/drawing/2014/main" id="{F7540107-2DE9-FA47-709C-1F7CD99EE721}"/>
              </a:ext>
            </a:extLst>
          </p:cNvPr>
          <p:cNvSpPr txBox="1">
            <a:spLocks/>
          </p:cNvSpPr>
          <p:nvPr/>
        </p:nvSpPr>
        <p:spPr bwMode="gray">
          <a:xfrm>
            <a:off x="1137761" y="1166188"/>
            <a:ext cx="1941272" cy="854080"/>
          </a:xfrm>
          <a:prstGeom prst="rect">
            <a:avLst/>
          </a:prstGeom>
        </p:spPr>
        <p:txBody>
          <a:bodyPr wrap="square" lIns="0" tIns="0" rIns="0" bIns="0" anchor="t">
            <a:spAutoFit/>
          </a:bodyPr>
          <a:lstStyle/>
          <a:p>
            <a:pPr>
              <a:spcAft>
                <a:spcPts val="300"/>
              </a:spcAft>
            </a:pPr>
            <a:r>
              <a:rPr lang="en-GB" sz="1200"/>
              <a:t>Geopolitical tension in Asia</a:t>
            </a:r>
          </a:p>
          <a:p>
            <a:pPr>
              <a:spcAft>
                <a:spcPts val="300"/>
              </a:spcAft>
            </a:pPr>
            <a:r>
              <a:rPr lang="en-GB" sz="1200"/>
              <a:t>Natural hazards</a:t>
            </a:r>
          </a:p>
          <a:p>
            <a:pPr>
              <a:spcAft>
                <a:spcPts val="300"/>
              </a:spcAft>
            </a:pPr>
            <a:r>
              <a:rPr lang="en-GB" sz="1200"/>
              <a:t>Resource crisis</a:t>
            </a:r>
          </a:p>
          <a:p>
            <a:pPr>
              <a:spcAft>
                <a:spcPts val="300"/>
              </a:spcAft>
            </a:pPr>
            <a:r>
              <a:rPr lang="en-GB" sz="1200"/>
              <a:t>Cyber, AI, Automation</a:t>
            </a:r>
          </a:p>
        </p:txBody>
      </p:sp>
      <p:pic>
        <p:nvPicPr>
          <p:cNvPr id="21" name="ico-cyber">
            <a:extLst>
              <a:ext uri="{FF2B5EF4-FFF2-40B4-BE49-F238E27FC236}">
                <a16:creationId xmlns:a16="http://schemas.microsoft.com/office/drawing/2014/main" id="{69189C15-4ACB-7327-E459-65547BD2BF22}"/>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08295" y="1806825"/>
            <a:ext cx="216000" cy="216000"/>
          </a:xfrm>
          <a:prstGeom prst="rect">
            <a:avLst/>
          </a:prstGeom>
        </p:spPr>
      </p:pic>
      <p:pic>
        <p:nvPicPr>
          <p:cNvPr id="18" name="ico-cloud-light">
            <a:extLst>
              <a:ext uri="{FF2B5EF4-FFF2-40B4-BE49-F238E27FC236}">
                <a16:creationId xmlns:a16="http://schemas.microsoft.com/office/drawing/2014/main" id="{AA25F807-F45E-FCED-9C83-8D69454A4493}"/>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92081" y="1394421"/>
            <a:ext cx="248428" cy="248428"/>
          </a:xfrm>
          <a:prstGeom prst="rect">
            <a:avLst/>
          </a:prstGeom>
        </p:spPr>
      </p:pic>
      <p:pic>
        <p:nvPicPr>
          <p:cNvPr id="20" name="ico-coal">
            <a:extLst>
              <a:ext uri="{FF2B5EF4-FFF2-40B4-BE49-F238E27FC236}">
                <a16:creationId xmlns:a16="http://schemas.microsoft.com/office/drawing/2014/main" id="{0BEEEEF5-E856-A8EC-E4E3-845B07FBB1FC}"/>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808295" y="1615701"/>
            <a:ext cx="216000" cy="216000"/>
          </a:xfrm>
          <a:prstGeom prst="rect">
            <a:avLst/>
          </a:prstGeom>
        </p:spPr>
      </p:pic>
      <p:pic>
        <p:nvPicPr>
          <p:cNvPr id="3" name="Coca Cola">
            <a:extLst>
              <a:ext uri="{FF2B5EF4-FFF2-40B4-BE49-F238E27FC236}">
                <a16:creationId xmlns:a16="http://schemas.microsoft.com/office/drawing/2014/main" id="{0278E3E3-10F4-66AB-A54C-42D4D34E71CD}"/>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6314196" y="1320509"/>
            <a:ext cx="600967" cy="188129"/>
          </a:xfrm>
          <a:prstGeom prst="rect">
            <a:avLst/>
          </a:prstGeom>
        </p:spPr>
      </p:pic>
      <p:pic>
        <p:nvPicPr>
          <p:cNvPr id="9" name="Danone">
            <a:extLst>
              <a:ext uri="{FF2B5EF4-FFF2-40B4-BE49-F238E27FC236}">
                <a16:creationId xmlns:a16="http://schemas.microsoft.com/office/drawing/2014/main" id="{0E33E18F-BB71-648E-7185-6FF3DFD54F79}"/>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6314195" y="1661461"/>
            <a:ext cx="600967" cy="191459"/>
          </a:xfrm>
          <a:prstGeom prst="rect">
            <a:avLst/>
          </a:prstGeom>
        </p:spPr>
      </p:pic>
      <p:pic>
        <p:nvPicPr>
          <p:cNvPr id="19" name="ico-supply-chain">
            <a:extLst>
              <a:ext uri="{FF2B5EF4-FFF2-40B4-BE49-F238E27FC236}">
                <a16:creationId xmlns:a16="http://schemas.microsoft.com/office/drawing/2014/main" id="{C26F19AE-7664-E449-15FD-6700189ECE23}"/>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63270" y="456235"/>
            <a:ext cx="219775" cy="219775"/>
          </a:xfrm>
          <a:prstGeom prst="rect">
            <a:avLst/>
          </a:prstGeom>
        </p:spPr>
      </p:pic>
    </p:spTree>
    <p:extLst>
      <p:ext uri="{BB962C8B-B14F-4D97-AF65-F5344CB8AC3E}">
        <p14:creationId xmlns:p14="http://schemas.microsoft.com/office/powerpoint/2010/main" val="35634864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4213820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Understanding of platinum customer requirement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Sales organization flexibility</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ales &amp; Marketing</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Manufacturing</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upply Chain</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Adapt Nexans’ 5 pillars of customer experience, specifically for platinum customers (Engagement, Marketing support, Supply Chain, Offers, Sustainability)</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fine service level requirements for platinum customers, and derive implications for Operations</a:t>
            </a:r>
            <a:br>
              <a:rPr lang="en-GB" sz="1100" kern="0">
                <a:solidFill>
                  <a:prstClr val="black"/>
                </a:solidFill>
                <a:latin typeface="Calibri"/>
              </a:rPr>
            </a:br>
            <a:r>
              <a:rPr lang="en-GB" sz="1100" kern="0">
                <a:solidFill>
                  <a:prstClr val="black"/>
                </a:solidFill>
                <a:latin typeface="Calibri"/>
              </a:rPr>
              <a:t>(e.g., Airbus aircraft delivery process depends on the customer’s ranking)</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sign a sales organization to address key accounts</a:t>
            </a:r>
          </a:p>
          <a:p>
            <a:pPr marL="179994" indent="-179994" defTabSz="554492">
              <a:spcBef>
                <a:spcPts val="600"/>
              </a:spcBef>
              <a:buSzPct val="100000"/>
              <a:buFont typeface="Arial" panose="020B0604020202020204" pitchFamily="34" charset="0"/>
              <a:buChar char="•"/>
            </a:pPr>
            <a:endParaRPr lang="en-GB" sz="1100" kern="0">
              <a:solidFill>
                <a:prstClr val="black"/>
              </a:solidFill>
              <a:latin typeface="Calibri"/>
            </a:endParaRP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C5: Operating as a specialist</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Organization &amp; processes aligned with an electrification specialist positioning (incl. capabilities, innovation process, manufacturing setup)</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2" y="5725495"/>
            <a:ext cx="2743398"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at changes should be made to the current organization &amp; processes to operate as a specialist (as opposed to a generalist)?</a:t>
            </a:r>
          </a:p>
        </p:txBody>
      </p:sp>
      <p:sp>
        <p:nvSpPr>
          <p:cNvPr id="12" name="Text">
            <a:extLst>
              <a:ext uri="{FF2B5EF4-FFF2-40B4-BE49-F238E27FC236}">
                <a16:creationId xmlns:a16="http://schemas.microsoft.com/office/drawing/2014/main" id="{F7540107-2DE9-FA47-709C-1F7CD99EE721}"/>
              </a:ext>
            </a:extLst>
          </p:cNvPr>
          <p:cNvSpPr txBox="1">
            <a:spLocks/>
          </p:cNvSpPr>
          <p:nvPr/>
        </p:nvSpPr>
        <p:spPr bwMode="gray">
          <a:xfrm>
            <a:off x="1137761" y="1166188"/>
            <a:ext cx="1941272" cy="184666"/>
          </a:xfrm>
          <a:prstGeom prst="rect">
            <a:avLst/>
          </a:prstGeom>
        </p:spPr>
        <p:txBody>
          <a:bodyPr wrap="square" lIns="0" tIns="0" rIns="0" bIns="0" anchor="t">
            <a:spAutoFit/>
          </a:bodyPr>
          <a:lstStyle/>
          <a:p>
            <a:pPr>
              <a:spcAft>
                <a:spcPts val="300"/>
              </a:spcAft>
            </a:pPr>
            <a:r>
              <a:rPr lang="en-GB" sz="1200"/>
              <a:t>Commoditization</a:t>
            </a:r>
          </a:p>
        </p:txBody>
      </p:sp>
      <p:pic>
        <p:nvPicPr>
          <p:cNvPr id="2" name="ico-stack">
            <a:extLst>
              <a:ext uri="{FF2B5EF4-FFF2-40B4-BE49-F238E27FC236}">
                <a16:creationId xmlns:a16="http://schemas.microsoft.com/office/drawing/2014/main" id="{A597DCFE-0D7A-6AE3-8F57-A7B912C8A10B}"/>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03984" y="1183855"/>
            <a:ext cx="216000" cy="216000"/>
          </a:xfrm>
          <a:prstGeom prst="rect">
            <a:avLst/>
          </a:prstGeom>
        </p:spPr>
      </p:pic>
      <p:pic>
        <p:nvPicPr>
          <p:cNvPr id="11" name="ico-a-star">
            <a:extLst>
              <a:ext uri="{FF2B5EF4-FFF2-40B4-BE49-F238E27FC236}">
                <a16:creationId xmlns:a16="http://schemas.microsoft.com/office/drawing/2014/main" id="{FA96AD8A-9F1F-C2AD-87CA-E31D82A7E20B}"/>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63270" y="456235"/>
            <a:ext cx="219775" cy="219775"/>
          </a:xfrm>
          <a:prstGeom prst="rect">
            <a:avLst/>
          </a:prstGeom>
        </p:spPr>
      </p:pic>
      <p:pic>
        <p:nvPicPr>
          <p:cNvPr id="3" name="Airbus">
            <a:extLst>
              <a:ext uri="{FF2B5EF4-FFF2-40B4-BE49-F238E27FC236}">
                <a16:creationId xmlns:a16="http://schemas.microsoft.com/office/drawing/2014/main" id="{EBAD097C-03A7-7543-3A53-4E7B50A7F3DA}"/>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207930" y="1341020"/>
            <a:ext cx="813498" cy="150570"/>
          </a:xfrm>
          <a:prstGeom prst="rect">
            <a:avLst/>
          </a:prstGeom>
        </p:spPr>
      </p:pic>
    </p:spTree>
    <p:extLst>
      <p:ext uri="{BB962C8B-B14F-4D97-AF65-F5344CB8AC3E}">
        <p14:creationId xmlns:p14="http://schemas.microsoft.com/office/powerpoint/2010/main" val="25060828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47498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Customer (down to end-customer) relationship</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Access to marketplace data</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Sales &amp; Marketing</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Innovation</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Recruit technical profiles for Sales team</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ncrease frequency of customer visit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Tailor contracts with platinum customers, including “premium” SLA</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sign agreements with wholesalers to get marketplace data</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Leverage digital to better understand customer needs (e.g., sensors used by Siemen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Boost customer engagement through social media (Usages business)</a:t>
            </a: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D1: Platinum Customers</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Ability to precisely understand platinum customer needs &amp; their evolution, and reach markets with the most effective channels</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2" y="5725495"/>
            <a:ext cx="1516075"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at are the different customer segments and what are their distinct needs?</a:t>
            </a:r>
          </a:p>
        </p:txBody>
      </p:sp>
      <p:sp>
        <p:nvSpPr>
          <p:cNvPr id="12" name="Text">
            <a:extLst>
              <a:ext uri="{FF2B5EF4-FFF2-40B4-BE49-F238E27FC236}">
                <a16:creationId xmlns:a16="http://schemas.microsoft.com/office/drawing/2014/main" id="{F7540107-2DE9-FA47-709C-1F7CD99EE721}"/>
              </a:ext>
            </a:extLst>
          </p:cNvPr>
          <p:cNvSpPr txBox="1">
            <a:spLocks/>
          </p:cNvSpPr>
          <p:nvPr/>
        </p:nvSpPr>
        <p:spPr bwMode="gray">
          <a:xfrm>
            <a:off x="1137761" y="1166188"/>
            <a:ext cx="1941272" cy="630942"/>
          </a:xfrm>
          <a:prstGeom prst="rect">
            <a:avLst/>
          </a:prstGeom>
        </p:spPr>
        <p:txBody>
          <a:bodyPr wrap="square" lIns="0" tIns="0" rIns="0" bIns="0" anchor="t">
            <a:spAutoFit/>
          </a:bodyPr>
          <a:lstStyle/>
          <a:p>
            <a:pPr>
              <a:spcAft>
                <a:spcPts val="300"/>
              </a:spcAft>
            </a:pPr>
            <a:r>
              <a:rPr lang="en-GB" sz="1200"/>
              <a:t>Commoditization</a:t>
            </a:r>
          </a:p>
          <a:p>
            <a:pPr>
              <a:spcAft>
                <a:spcPts val="300"/>
              </a:spcAft>
            </a:pPr>
            <a:r>
              <a:rPr lang="en-GB" sz="1200"/>
              <a:t>Grid Dynamics</a:t>
            </a:r>
          </a:p>
          <a:p>
            <a:pPr>
              <a:spcAft>
                <a:spcPts val="300"/>
              </a:spcAft>
            </a:pPr>
            <a:r>
              <a:rPr lang="en-GB" sz="1200"/>
              <a:t>Cyber, AI, Automation</a:t>
            </a:r>
          </a:p>
        </p:txBody>
      </p:sp>
      <p:pic>
        <p:nvPicPr>
          <p:cNvPr id="2" name="ico-stack">
            <a:extLst>
              <a:ext uri="{FF2B5EF4-FFF2-40B4-BE49-F238E27FC236}">
                <a16:creationId xmlns:a16="http://schemas.microsoft.com/office/drawing/2014/main" id="{A597DCFE-0D7A-6AE3-8F57-A7B912C8A10B}"/>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09470" y="1183855"/>
            <a:ext cx="216000" cy="216000"/>
          </a:xfrm>
          <a:prstGeom prst="rect">
            <a:avLst/>
          </a:prstGeom>
        </p:spPr>
      </p:pic>
      <p:pic>
        <p:nvPicPr>
          <p:cNvPr id="3" name="ico-energy-tower">
            <a:extLst>
              <a:ext uri="{FF2B5EF4-FFF2-40B4-BE49-F238E27FC236}">
                <a16:creationId xmlns:a16="http://schemas.microsoft.com/office/drawing/2014/main" id="{8685CC5E-9B64-B4D0-AA15-92EF4053186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09470" y="1427882"/>
            <a:ext cx="216000" cy="216000"/>
          </a:xfrm>
          <a:prstGeom prst="rect">
            <a:avLst/>
          </a:prstGeom>
        </p:spPr>
      </p:pic>
      <p:pic>
        <p:nvPicPr>
          <p:cNvPr id="9" name="ico-cyber">
            <a:extLst>
              <a:ext uri="{FF2B5EF4-FFF2-40B4-BE49-F238E27FC236}">
                <a16:creationId xmlns:a16="http://schemas.microsoft.com/office/drawing/2014/main" id="{1D3BD56C-ACF8-8BBE-7A40-3787157FFD96}"/>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09470" y="1627427"/>
            <a:ext cx="216000" cy="216000"/>
          </a:xfrm>
          <a:prstGeom prst="rect">
            <a:avLst/>
          </a:prstGeom>
        </p:spPr>
      </p:pic>
      <p:sp>
        <p:nvSpPr>
          <p:cNvPr id="10" name="Speech Bubble: Rectangle with Corners Rounded 9">
            <a:extLst>
              <a:ext uri="{FF2B5EF4-FFF2-40B4-BE49-F238E27FC236}">
                <a16:creationId xmlns:a16="http://schemas.microsoft.com/office/drawing/2014/main" id="{0C3AB9CE-8B6C-2693-25AC-93A9DD8B8E26}"/>
              </a:ext>
            </a:extLst>
          </p:cNvPr>
          <p:cNvSpPr>
            <a:spLocks/>
          </p:cNvSpPr>
          <p:nvPr/>
        </p:nvSpPr>
        <p:spPr>
          <a:xfrm>
            <a:off x="2141913" y="5725495"/>
            <a:ext cx="2389734"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organization and skills should we build &amp; nurture to best match our customers’ needs (spanning marketing, sales, technical support)?</a:t>
            </a:r>
          </a:p>
        </p:txBody>
      </p:sp>
      <p:sp>
        <p:nvSpPr>
          <p:cNvPr id="11" name="Speech Bubble: Rectangle with Corners Rounded 10">
            <a:extLst>
              <a:ext uri="{FF2B5EF4-FFF2-40B4-BE49-F238E27FC236}">
                <a16:creationId xmlns:a16="http://schemas.microsoft.com/office/drawing/2014/main" id="{89273CE8-266C-C02B-E3D2-33FBDFD003A5}"/>
              </a:ext>
            </a:extLst>
          </p:cNvPr>
          <p:cNvSpPr>
            <a:spLocks/>
          </p:cNvSpPr>
          <p:nvPr/>
        </p:nvSpPr>
        <p:spPr>
          <a:xfrm>
            <a:off x="4564103" y="5725495"/>
            <a:ext cx="2627816"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can we leverage the internet &amp; digital to better reach customers and understand their needs (e.g., Nexans-specific sections in Rexel &amp; </a:t>
            </a:r>
            <a:r>
              <a:rPr lang="en-US" sz="1100" err="1">
                <a:solidFill>
                  <a:schemeClr val="tx1"/>
                </a:solidFill>
                <a:latin typeface="Calibri"/>
              </a:rPr>
              <a:t>Sonepar</a:t>
            </a:r>
            <a:r>
              <a:rPr lang="en-US" sz="1100">
                <a:solidFill>
                  <a:schemeClr val="tx1"/>
                </a:solidFill>
                <a:latin typeface="Calibri"/>
              </a:rPr>
              <a:t> sites)</a:t>
            </a:r>
          </a:p>
        </p:txBody>
      </p:sp>
      <p:pic>
        <p:nvPicPr>
          <p:cNvPr id="18" name="Apple">
            <a:extLst>
              <a:ext uri="{FF2B5EF4-FFF2-40B4-BE49-F238E27FC236}">
                <a16:creationId xmlns:a16="http://schemas.microsoft.com/office/drawing/2014/main" id="{FC2482D2-230F-D135-76D8-0CB1D3EF1260}"/>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6488771" y="1228859"/>
            <a:ext cx="251817" cy="309928"/>
          </a:xfrm>
          <a:prstGeom prst="rect">
            <a:avLst/>
          </a:prstGeom>
        </p:spPr>
      </p:pic>
      <p:pic>
        <p:nvPicPr>
          <p:cNvPr id="31" name="ico-focus">
            <a:extLst>
              <a:ext uri="{FF2B5EF4-FFF2-40B4-BE49-F238E27FC236}">
                <a16:creationId xmlns:a16="http://schemas.microsoft.com/office/drawing/2014/main" id="{9B040944-DFB0-AD4F-C855-6BA19D62E116}"/>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63270" y="456235"/>
            <a:ext cx="219775" cy="219775"/>
          </a:xfrm>
          <a:prstGeom prst="rect">
            <a:avLst/>
          </a:prstGeom>
        </p:spPr>
      </p:pic>
      <p:pic>
        <p:nvPicPr>
          <p:cNvPr id="20" name="Siemens">
            <a:extLst>
              <a:ext uri="{FF2B5EF4-FFF2-40B4-BE49-F238E27FC236}">
                <a16:creationId xmlns:a16="http://schemas.microsoft.com/office/drawing/2014/main" id="{DDC6DF46-0B8D-2ECD-F6A5-6D086A59B9F9}"/>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6096000" y="1695609"/>
            <a:ext cx="1009318" cy="158670"/>
          </a:xfrm>
          <a:prstGeom prst="rect">
            <a:avLst/>
          </a:prstGeom>
        </p:spPr>
      </p:pic>
    </p:spTree>
    <p:extLst>
      <p:ext uri="{BB962C8B-B14F-4D97-AF65-F5344CB8AC3E}">
        <p14:creationId xmlns:p14="http://schemas.microsoft.com/office/powerpoint/2010/main" val="10872344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383224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Best-practice sharing &amp; adoption mindset</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Resources (time) dedication to sharing with other BUs</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BU management teams</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dentify internal best-practices through recurring award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dicate Central resources to playbook design, update &amp; communication (e.g., “One Safran”)</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Set up cross-BU meetings to present/promote new playbooks</a:t>
            </a: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D2: Scaling through playbooks</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Generalized utilization of playbooks to spread &amp; scale local best-practices &amp; ideas </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2" y="5725495"/>
            <a:ext cx="1747797"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leverage playbooks to systematically transpose best-practices across regions?</a:t>
            </a:r>
          </a:p>
        </p:txBody>
      </p:sp>
      <p:sp>
        <p:nvSpPr>
          <p:cNvPr id="12" name="Text">
            <a:extLst>
              <a:ext uri="{FF2B5EF4-FFF2-40B4-BE49-F238E27FC236}">
                <a16:creationId xmlns:a16="http://schemas.microsoft.com/office/drawing/2014/main" id="{F7540107-2DE9-FA47-709C-1F7CD99EE721}"/>
              </a:ext>
            </a:extLst>
          </p:cNvPr>
          <p:cNvSpPr txBox="1">
            <a:spLocks/>
          </p:cNvSpPr>
          <p:nvPr/>
        </p:nvSpPr>
        <p:spPr bwMode="gray">
          <a:xfrm>
            <a:off x="1137761" y="1166188"/>
            <a:ext cx="1941272" cy="854080"/>
          </a:xfrm>
          <a:prstGeom prst="rect">
            <a:avLst/>
          </a:prstGeom>
        </p:spPr>
        <p:txBody>
          <a:bodyPr wrap="square" lIns="0" tIns="0" rIns="0" bIns="0" anchor="t">
            <a:spAutoFit/>
          </a:bodyPr>
          <a:lstStyle/>
          <a:p>
            <a:pPr>
              <a:spcAft>
                <a:spcPts val="300"/>
              </a:spcAft>
            </a:pPr>
            <a:r>
              <a:rPr lang="en-GB" sz="1200"/>
              <a:t>Commoditization</a:t>
            </a:r>
          </a:p>
          <a:p>
            <a:pPr>
              <a:spcAft>
                <a:spcPts val="300"/>
              </a:spcAft>
            </a:pPr>
            <a:r>
              <a:rPr lang="en-GB" sz="1200"/>
              <a:t>Volatile Inflation</a:t>
            </a:r>
          </a:p>
          <a:p>
            <a:pPr>
              <a:spcAft>
                <a:spcPts val="300"/>
              </a:spcAft>
            </a:pPr>
            <a:r>
              <a:rPr lang="en-GB" sz="1200"/>
              <a:t>Economic or financial crisis</a:t>
            </a:r>
          </a:p>
          <a:p>
            <a:pPr>
              <a:spcAft>
                <a:spcPts val="300"/>
              </a:spcAft>
            </a:pPr>
            <a:r>
              <a:rPr lang="en-GB" sz="1200"/>
              <a:t>War for Talent</a:t>
            </a:r>
          </a:p>
        </p:txBody>
      </p:sp>
      <p:pic>
        <p:nvPicPr>
          <p:cNvPr id="2" name="ico-stack">
            <a:extLst>
              <a:ext uri="{FF2B5EF4-FFF2-40B4-BE49-F238E27FC236}">
                <a16:creationId xmlns:a16="http://schemas.microsoft.com/office/drawing/2014/main" id="{A597DCFE-0D7A-6AE3-8F57-A7B912C8A10B}"/>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09470" y="1183855"/>
            <a:ext cx="216000" cy="216000"/>
          </a:xfrm>
          <a:prstGeom prst="rect">
            <a:avLst/>
          </a:prstGeom>
        </p:spPr>
      </p:pic>
      <p:pic>
        <p:nvPicPr>
          <p:cNvPr id="18" name="ico-line-chart">
            <a:extLst>
              <a:ext uri="{FF2B5EF4-FFF2-40B4-BE49-F238E27FC236}">
                <a16:creationId xmlns:a16="http://schemas.microsoft.com/office/drawing/2014/main" id="{EEDFFC2A-6D0D-F93C-201C-DAB80930DE75}"/>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09470" y="1427882"/>
            <a:ext cx="216000" cy="216000"/>
          </a:xfrm>
          <a:prstGeom prst="rect">
            <a:avLst/>
          </a:prstGeom>
        </p:spPr>
      </p:pic>
      <p:pic>
        <p:nvPicPr>
          <p:cNvPr id="19" name="ico-hat-3">
            <a:extLst>
              <a:ext uri="{FF2B5EF4-FFF2-40B4-BE49-F238E27FC236}">
                <a16:creationId xmlns:a16="http://schemas.microsoft.com/office/drawing/2014/main" id="{A1DCFEA2-2F99-B440-7840-6AD59792D673}"/>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09470" y="1826883"/>
            <a:ext cx="216000" cy="216000"/>
          </a:xfrm>
          <a:prstGeom prst="rect">
            <a:avLst/>
          </a:prstGeom>
        </p:spPr>
      </p:pic>
      <p:sp>
        <p:nvSpPr>
          <p:cNvPr id="10" name="Speech Bubble: Rectangle with Corners Rounded 9">
            <a:extLst>
              <a:ext uri="{FF2B5EF4-FFF2-40B4-BE49-F238E27FC236}">
                <a16:creationId xmlns:a16="http://schemas.microsoft.com/office/drawing/2014/main" id="{0C3AB9CE-8B6C-2693-25AC-93A9DD8B8E26}"/>
              </a:ext>
            </a:extLst>
          </p:cNvPr>
          <p:cNvSpPr>
            <a:spLocks/>
          </p:cNvSpPr>
          <p:nvPr/>
        </p:nvSpPr>
        <p:spPr>
          <a:xfrm>
            <a:off x="2388886" y="5725495"/>
            <a:ext cx="1284480"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identify &amp; select the best-practices to be transposed?</a:t>
            </a:r>
          </a:p>
        </p:txBody>
      </p:sp>
      <p:sp>
        <p:nvSpPr>
          <p:cNvPr id="11" name="Speech Bubble: Rectangle with Corners Rounded 10">
            <a:extLst>
              <a:ext uri="{FF2B5EF4-FFF2-40B4-BE49-F238E27FC236}">
                <a16:creationId xmlns:a16="http://schemas.microsoft.com/office/drawing/2014/main" id="{89273CE8-266C-C02B-E3D2-33FBDFD003A5}"/>
              </a:ext>
            </a:extLst>
          </p:cNvPr>
          <p:cNvSpPr>
            <a:spLocks/>
          </p:cNvSpPr>
          <p:nvPr/>
        </p:nvSpPr>
        <p:spPr>
          <a:xfrm>
            <a:off x="3721074" y="5725495"/>
            <a:ext cx="1059820"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tools &amp; governance models should we use?</a:t>
            </a:r>
          </a:p>
        </p:txBody>
      </p:sp>
      <p:pic>
        <p:nvPicPr>
          <p:cNvPr id="16" name="ico-trend-down">
            <a:extLst>
              <a:ext uri="{FF2B5EF4-FFF2-40B4-BE49-F238E27FC236}">
                <a16:creationId xmlns:a16="http://schemas.microsoft.com/office/drawing/2014/main" id="{C2660DE7-A7F6-567B-4164-2425BC10AA8A}"/>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803984" y="1637781"/>
            <a:ext cx="216000" cy="216000"/>
          </a:xfrm>
          <a:prstGeom prst="rect">
            <a:avLst/>
          </a:prstGeom>
        </p:spPr>
      </p:pic>
      <p:pic>
        <p:nvPicPr>
          <p:cNvPr id="21" name="ico-bulb-63">
            <a:extLst>
              <a:ext uri="{FF2B5EF4-FFF2-40B4-BE49-F238E27FC236}">
                <a16:creationId xmlns:a16="http://schemas.microsoft.com/office/drawing/2014/main" id="{DED5FA10-22A4-B549-F53B-B03D7A0DC4AA}"/>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63270" y="456235"/>
            <a:ext cx="219775" cy="219775"/>
          </a:xfrm>
          <a:prstGeom prst="rect">
            <a:avLst/>
          </a:prstGeom>
        </p:spPr>
      </p:pic>
      <p:pic>
        <p:nvPicPr>
          <p:cNvPr id="1026" name="Picture 2">
            <a:extLst>
              <a:ext uri="{FF2B5EF4-FFF2-40B4-BE49-F238E27FC236}">
                <a16:creationId xmlns:a16="http://schemas.microsoft.com/office/drawing/2014/main" id="{76D88CC3-FF6D-C01B-A034-F2D424DA03EF}"/>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6120452" y="1342593"/>
            <a:ext cx="988454" cy="211521"/>
          </a:xfrm>
          <a:prstGeom prst="rect">
            <a:avLst/>
          </a:prstGeom>
          <a:noFill/>
          <a:extLst>
            <a:ext uri="{909E8E84-426E-40DD-AFC4-6F175D3DCCD1}">
              <a14:hiddenFill xmlns:a14="http://schemas.microsoft.com/office/drawing/2010/main">
                <a:solidFill>
                  <a:srgbClr val="FFFFFF"/>
                </a:solidFill>
              </a14:hiddenFill>
            </a:ext>
          </a:extLst>
        </p:spPr>
      </p:pic>
      <p:sp>
        <p:nvSpPr>
          <p:cNvPr id="3" name="Text">
            <a:extLst>
              <a:ext uri="{FF2B5EF4-FFF2-40B4-BE49-F238E27FC236}">
                <a16:creationId xmlns:a16="http://schemas.microsoft.com/office/drawing/2014/main" id="{EC646ABB-06D4-A0A8-B8B1-A39EF9363C77}"/>
              </a:ext>
            </a:extLst>
          </p:cNvPr>
          <p:cNvSpPr txBox="1">
            <a:spLocks/>
          </p:cNvSpPr>
          <p:nvPr/>
        </p:nvSpPr>
        <p:spPr bwMode="gray">
          <a:xfrm>
            <a:off x="5744589" y="1744507"/>
            <a:ext cx="1810658" cy="338554"/>
          </a:xfrm>
          <a:prstGeom prst="rect">
            <a:avLst/>
          </a:prstGeom>
        </p:spPr>
        <p:txBody>
          <a:bodyPr wrap="square" lIns="0" tIns="0" rIns="0" bIns="0" anchor="t">
            <a:spAutoFit/>
          </a:bodyPr>
          <a:lstStyle/>
          <a:p>
            <a:pPr algn="ctr">
              <a:spcAft>
                <a:spcPts val="300"/>
              </a:spcAft>
            </a:pPr>
            <a:r>
              <a:rPr lang="en-GB" sz="1100"/>
              <a:t>Nexans Design Lab’s “grid innovation playbook”</a:t>
            </a:r>
          </a:p>
        </p:txBody>
      </p:sp>
    </p:spTree>
    <p:extLst>
      <p:ext uri="{BB962C8B-B14F-4D97-AF65-F5344CB8AC3E}">
        <p14:creationId xmlns:p14="http://schemas.microsoft.com/office/powerpoint/2010/main" val="12950436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818216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Agreement on scenario assumption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Scenario modelling capabilities</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BU leaders</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Finance</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Train local Management to design &amp; use scenarios for decision-making</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dentify relevant assumptions for the decision to be made (event likeliness, time horizon, geo scope)</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nvolve operational teams to get “down-to-earth” assumption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fine alternatives in case the risks materialize on the way</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Perform simulations on major risks (e.g., Sanofi simulated a global pandemic in 2019 budget exercise)</a:t>
            </a:r>
          </a:p>
          <a:p>
            <a:pPr marL="359988" lvl="1" indent="-179994" defTabSz="554492">
              <a:spcBef>
                <a:spcPts val="300"/>
              </a:spcBef>
              <a:buSzPct val="100000"/>
              <a:buFont typeface="Arial" panose="020B0604020202020204" pitchFamily="34" charset="0"/>
              <a:buChar char="–"/>
            </a:pPr>
            <a:endParaRPr lang="en-GB" sz="1100" kern="0">
              <a:solidFill>
                <a:prstClr val="black"/>
              </a:solidFill>
              <a:latin typeface="Calibri"/>
            </a:endParaRP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D3: Adaptive decision making</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Mindset shift to adapt decision making to multi-scenario consideration</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2" y="5725495"/>
            <a:ext cx="2847442"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can we switch from linear decision-making to building multiple scenarios (“no regrets” / “big bet” / other open options) (e.g., in budgeting, investment decisions, etc.)</a:t>
            </a:r>
          </a:p>
        </p:txBody>
      </p:sp>
      <p:sp>
        <p:nvSpPr>
          <p:cNvPr id="12" name="Text">
            <a:extLst>
              <a:ext uri="{FF2B5EF4-FFF2-40B4-BE49-F238E27FC236}">
                <a16:creationId xmlns:a16="http://schemas.microsoft.com/office/drawing/2014/main" id="{F7540107-2DE9-FA47-709C-1F7CD99EE721}"/>
              </a:ext>
            </a:extLst>
          </p:cNvPr>
          <p:cNvSpPr txBox="1">
            <a:spLocks/>
          </p:cNvSpPr>
          <p:nvPr/>
        </p:nvSpPr>
        <p:spPr bwMode="gray">
          <a:xfrm>
            <a:off x="1137761" y="1166188"/>
            <a:ext cx="1941272" cy="854080"/>
          </a:xfrm>
          <a:prstGeom prst="rect">
            <a:avLst/>
          </a:prstGeom>
        </p:spPr>
        <p:txBody>
          <a:bodyPr wrap="square" lIns="0" tIns="0" rIns="0" bIns="0" anchor="t">
            <a:spAutoFit/>
          </a:bodyPr>
          <a:lstStyle/>
          <a:p>
            <a:pPr>
              <a:spcAft>
                <a:spcPts val="300"/>
              </a:spcAft>
            </a:pPr>
            <a:r>
              <a:rPr lang="en-GB" sz="1200"/>
              <a:t>Commoditization</a:t>
            </a:r>
          </a:p>
          <a:p>
            <a:pPr>
              <a:spcAft>
                <a:spcPts val="300"/>
              </a:spcAft>
            </a:pPr>
            <a:r>
              <a:rPr lang="en-GB" sz="1200"/>
              <a:t>Volatile Inflation</a:t>
            </a:r>
          </a:p>
          <a:p>
            <a:pPr>
              <a:spcAft>
                <a:spcPts val="300"/>
              </a:spcAft>
            </a:pPr>
            <a:r>
              <a:rPr lang="en-GB" sz="1200"/>
              <a:t>Economic or financial crisis</a:t>
            </a:r>
          </a:p>
          <a:p>
            <a:pPr>
              <a:spcAft>
                <a:spcPts val="300"/>
              </a:spcAft>
            </a:pPr>
            <a:r>
              <a:rPr lang="en-GB" sz="1200"/>
              <a:t>War for Talent</a:t>
            </a:r>
          </a:p>
        </p:txBody>
      </p:sp>
      <p:pic>
        <p:nvPicPr>
          <p:cNvPr id="2" name="ico-stack">
            <a:extLst>
              <a:ext uri="{FF2B5EF4-FFF2-40B4-BE49-F238E27FC236}">
                <a16:creationId xmlns:a16="http://schemas.microsoft.com/office/drawing/2014/main" id="{A597DCFE-0D7A-6AE3-8F57-A7B912C8A10B}"/>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09470" y="1183855"/>
            <a:ext cx="216000" cy="216000"/>
          </a:xfrm>
          <a:prstGeom prst="rect">
            <a:avLst/>
          </a:prstGeom>
        </p:spPr>
      </p:pic>
      <p:pic>
        <p:nvPicPr>
          <p:cNvPr id="18" name="ico-line-chart">
            <a:extLst>
              <a:ext uri="{FF2B5EF4-FFF2-40B4-BE49-F238E27FC236}">
                <a16:creationId xmlns:a16="http://schemas.microsoft.com/office/drawing/2014/main" id="{EEDFFC2A-6D0D-F93C-201C-DAB80930DE75}"/>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09470" y="1427882"/>
            <a:ext cx="216000" cy="216000"/>
          </a:xfrm>
          <a:prstGeom prst="rect">
            <a:avLst/>
          </a:prstGeom>
        </p:spPr>
      </p:pic>
      <p:pic>
        <p:nvPicPr>
          <p:cNvPr id="19" name="ico-hat-3">
            <a:extLst>
              <a:ext uri="{FF2B5EF4-FFF2-40B4-BE49-F238E27FC236}">
                <a16:creationId xmlns:a16="http://schemas.microsoft.com/office/drawing/2014/main" id="{A1DCFEA2-2F99-B440-7840-6AD59792D673}"/>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09470" y="1826883"/>
            <a:ext cx="216000" cy="216000"/>
          </a:xfrm>
          <a:prstGeom prst="rect">
            <a:avLst/>
          </a:prstGeom>
        </p:spPr>
      </p:pic>
      <p:sp>
        <p:nvSpPr>
          <p:cNvPr id="11" name="Speech Bubble: Rectangle with Corners Rounded 10">
            <a:extLst>
              <a:ext uri="{FF2B5EF4-FFF2-40B4-BE49-F238E27FC236}">
                <a16:creationId xmlns:a16="http://schemas.microsoft.com/office/drawing/2014/main" id="{89273CE8-266C-C02B-E3D2-33FBDFD003A5}"/>
              </a:ext>
            </a:extLst>
          </p:cNvPr>
          <p:cNvSpPr>
            <a:spLocks/>
          </p:cNvSpPr>
          <p:nvPr/>
        </p:nvSpPr>
        <p:spPr>
          <a:xfrm>
            <a:off x="3488237" y="5725495"/>
            <a:ext cx="1280832"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mechanism should guide us to trigger one option or the other?</a:t>
            </a:r>
          </a:p>
        </p:txBody>
      </p:sp>
      <p:pic>
        <p:nvPicPr>
          <p:cNvPr id="16" name="ico-trend-down">
            <a:extLst>
              <a:ext uri="{FF2B5EF4-FFF2-40B4-BE49-F238E27FC236}">
                <a16:creationId xmlns:a16="http://schemas.microsoft.com/office/drawing/2014/main" id="{C2660DE7-A7F6-567B-4164-2425BC10AA8A}"/>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803984" y="1637781"/>
            <a:ext cx="216000" cy="216000"/>
          </a:xfrm>
          <a:prstGeom prst="rect">
            <a:avLst/>
          </a:prstGeom>
        </p:spPr>
      </p:pic>
      <p:pic>
        <p:nvPicPr>
          <p:cNvPr id="20" name="ico-flexibility">
            <a:extLst>
              <a:ext uri="{FF2B5EF4-FFF2-40B4-BE49-F238E27FC236}">
                <a16:creationId xmlns:a16="http://schemas.microsoft.com/office/drawing/2014/main" id="{56A34C78-4576-16A5-3A47-538999ED6722}"/>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63270" y="456235"/>
            <a:ext cx="219775" cy="219775"/>
          </a:xfrm>
          <a:prstGeom prst="rect">
            <a:avLst/>
          </a:prstGeom>
        </p:spPr>
      </p:pic>
      <p:pic>
        <p:nvPicPr>
          <p:cNvPr id="3" name="Sanofi">
            <a:extLst>
              <a:ext uri="{FF2B5EF4-FFF2-40B4-BE49-F238E27FC236}">
                <a16:creationId xmlns:a16="http://schemas.microsoft.com/office/drawing/2014/main" id="{E7A5E309-4647-DF54-E01C-995D46B0FDCA}"/>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6180084" y="1388300"/>
            <a:ext cx="919409" cy="235578"/>
          </a:xfrm>
          <a:prstGeom prst="rect">
            <a:avLst/>
          </a:prstGeom>
        </p:spPr>
      </p:pic>
    </p:spTree>
    <p:extLst>
      <p:ext uri="{BB962C8B-B14F-4D97-AF65-F5344CB8AC3E}">
        <p14:creationId xmlns:p14="http://schemas.microsoft.com/office/powerpoint/2010/main" val="577191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124308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Local education network</a:t>
            </a:r>
          </a:p>
          <a:p>
            <a:pPr marL="179986" indent="-179986" defTabSz="554492">
              <a:spcBef>
                <a:spcPts val="600"/>
              </a:spcBef>
              <a:buSzPct val="100000"/>
              <a:buFont typeface="Arial" panose="020B0604020202020204" pitchFamily="34" charset="0"/>
              <a:buChar char="•"/>
            </a:pPr>
            <a:r>
              <a:rPr lang="en-GB" sz="1200" kern="0">
                <a:solidFill>
                  <a:schemeClr val="tx1"/>
                </a:solidFill>
              </a:rPr>
              <a:t>Governments</a:t>
            </a: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HR</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Communication</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Engage/partner with STEM universities, foster apprenticeship</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Design l</a:t>
            </a:r>
            <a:r>
              <a:rPr lang="en-US" sz="1100" kern="0">
                <a:solidFill>
                  <a:prstClr val="black"/>
                </a:solidFill>
                <a:latin typeface="Calibri"/>
              </a:rPr>
              <a:t>earning programs for employees (incl. up- or re-skilling)</a:t>
            </a:r>
            <a:endParaRPr lang="en-GB" sz="1100" kern="0">
              <a:solidFill>
                <a:prstClr val="black"/>
              </a:solidFill>
              <a:latin typeface="Calibri"/>
            </a:endParaRP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Organize plant visits &amp; events, incl. virtual presence on social media</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Leverage employees’ success stories for internal &amp; external communication</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Promote internal mobility towards skill-scarce geographie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Frequently engage on work-life balance &amp; employee welfare </a:t>
            </a:r>
          </a:p>
          <a:p>
            <a:pPr marL="179994" indent="-179994" defTabSz="554492">
              <a:spcBef>
                <a:spcPts val="600"/>
              </a:spcBef>
              <a:buSzPct val="100000"/>
              <a:buFont typeface="Arial" panose="020B0604020202020204" pitchFamily="34" charset="0"/>
              <a:buChar char="•"/>
            </a:pPr>
            <a:endParaRPr lang="en-GB" sz="1100" kern="0">
              <a:solidFill>
                <a:prstClr val="black"/>
              </a:solidFill>
              <a:latin typeface="Calibri"/>
            </a:endParaRP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D4: Talent-driven culture</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Local recognition of Nexans as an attractive employer, with high engagement and low </a:t>
            </a:r>
            <a:br>
              <a:rPr lang="en-GB" sz="1200" kern="0">
                <a:solidFill>
                  <a:schemeClr val="tx1"/>
                </a:solidFill>
              </a:rPr>
            </a:br>
            <a:r>
              <a:rPr lang="en-GB" sz="1200" kern="0">
                <a:solidFill>
                  <a:schemeClr val="tx1"/>
                </a:solidFill>
              </a:rPr>
              <a:t>churn</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2" y="5725495"/>
            <a:ext cx="1381249"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boost our attractiveness, especially regarding blue collars?</a:t>
            </a:r>
          </a:p>
        </p:txBody>
      </p:sp>
      <p:sp>
        <p:nvSpPr>
          <p:cNvPr id="12" name="Text">
            <a:extLst>
              <a:ext uri="{FF2B5EF4-FFF2-40B4-BE49-F238E27FC236}">
                <a16:creationId xmlns:a16="http://schemas.microsoft.com/office/drawing/2014/main" id="{F7540107-2DE9-FA47-709C-1F7CD99EE721}"/>
              </a:ext>
            </a:extLst>
          </p:cNvPr>
          <p:cNvSpPr txBox="1">
            <a:spLocks/>
          </p:cNvSpPr>
          <p:nvPr/>
        </p:nvSpPr>
        <p:spPr bwMode="gray">
          <a:xfrm>
            <a:off x="1137761" y="1166188"/>
            <a:ext cx="1941272" cy="407804"/>
          </a:xfrm>
          <a:prstGeom prst="rect">
            <a:avLst/>
          </a:prstGeom>
        </p:spPr>
        <p:txBody>
          <a:bodyPr wrap="square" lIns="0" tIns="0" rIns="0" bIns="0" anchor="t">
            <a:spAutoFit/>
          </a:bodyPr>
          <a:lstStyle/>
          <a:p>
            <a:pPr>
              <a:spcAft>
                <a:spcPts val="300"/>
              </a:spcAft>
            </a:pPr>
            <a:r>
              <a:rPr lang="en-GB" sz="1200"/>
              <a:t>War for Talent</a:t>
            </a:r>
          </a:p>
          <a:p>
            <a:pPr>
              <a:spcAft>
                <a:spcPts val="300"/>
              </a:spcAft>
            </a:pPr>
            <a:r>
              <a:rPr lang="en-GB" sz="1200"/>
              <a:t>Cyber, AI &amp; Automation</a:t>
            </a:r>
          </a:p>
        </p:txBody>
      </p:sp>
      <p:pic>
        <p:nvPicPr>
          <p:cNvPr id="19" name="ico-hat-3">
            <a:extLst>
              <a:ext uri="{FF2B5EF4-FFF2-40B4-BE49-F238E27FC236}">
                <a16:creationId xmlns:a16="http://schemas.microsoft.com/office/drawing/2014/main" id="{A1DCFEA2-2F99-B440-7840-6AD59792D67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09470" y="1183855"/>
            <a:ext cx="216000" cy="216000"/>
          </a:xfrm>
          <a:prstGeom prst="rect">
            <a:avLst/>
          </a:prstGeom>
        </p:spPr>
      </p:pic>
      <p:pic>
        <p:nvPicPr>
          <p:cNvPr id="3" name="ico-cyber">
            <a:extLst>
              <a:ext uri="{FF2B5EF4-FFF2-40B4-BE49-F238E27FC236}">
                <a16:creationId xmlns:a16="http://schemas.microsoft.com/office/drawing/2014/main" id="{1AD572CD-4086-1D8A-88E9-B542094E6FDF}"/>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09470" y="1409594"/>
            <a:ext cx="216000" cy="216000"/>
          </a:xfrm>
          <a:prstGeom prst="rect">
            <a:avLst/>
          </a:prstGeom>
        </p:spPr>
      </p:pic>
      <p:sp>
        <p:nvSpPr>
          <p:cNvPr id="11" name="Speech Bubble: Rectangle with Corners Rounded 10">
            <a:extLst>
              <a:ext uri="{FF2B5EF4-FFF2-40B4-BE49-F238E27FC236}">
                <a16:creationId xmlns:a16="http://schemas.microsoft.com/office/drawing/2014/main" id="{89273CE8-266C-C02B-E3D2-33FBDFD003A5}"/>
              </a:ext>
            </a:extLst>
          </p:cNvPr>
          <p:cNvSpPr>
            <a:spLocks/>
          </p:cNvSpPr>
          <p:nvPr/>
        </p:nvSpPr>
        <p:spPr>
          <a:xfrm>
            <a:off x="2023375" y="5725495"/>
            <a:ext cx="1571164"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ensure the skills we need will continue being available across our geographies?</a:t>
            </a:r>
          </a:p>
        </p:txBody>
      </p:sp>
      <p:pic>
        <p:nvPicPr>
          <p:cNvPr id="16" name="ico-analytical-thinking">
            <a:extLst>
              <a:ext uri="{FF2B5EF4-FFF2-40B4-BE49-F238E27FC236}">
                <a16:creationId xmlns:a16="http://schemas.microsoft.com/office/drawing/2014/main" id="{DED71616-D1FE-DD23-BE3D-5465EAFB650A}"/>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63270" y="456235"/>
            <a:ext cx="219775" cy="219775"/>
          </a:xfrm>
          <a:prstGeom prst="rect">
            <a:avLst/>
          </a:prstGeom>
        </p:spPr>
      </p:pic>
      <p:pic>
        <p:nvPicPr>
          <p:cNvPr id="18" name="Amazon">
            <a:extLst>
              <a:ext uri="{FF2B5EF4-FFF2-40B4-BE49-F238E27FC236}">
                <a16:creationId xmlns:a16="http://schemas.microsoft.com/office/drawing/2014/main" id="{B44ACE2A-D38F-01B6-A8BD-8F598129FB8C}"/>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6322969" y="1379317"/>
            <a:ext cx="653898" cy="196990"/>
          </a:xfrm>
          <a:prstGeom prst="rect">
            <a:avLst/>
          </a:prstGeom>
        </p:spPr>
      </p:pic>
      <p:pic>
        <p:nvPicPr>
          <p:cNvPr id="2" name="Picture 2">
            <a:extLst>
              <a:ext uri="{FF2B5EF4-FFF2-40B4-BE49-F238E27FC236}">
                <a16:creationId xmlns:a16="http://schemas.microsoft.com/office/drawing/2014/main" id="{D856A54C-F7BA-ABB1-B4AF-BCE2C6196E8E}"/>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6447746" y="1635729"/>
            <a:ext cx="333866" cy="410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2276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32DC8D-EF10-C559-FE82-D80CBE53E380}"/>
              </a:ext>
            </a:extLst>
          </p:cNvPr>
          <p:cNvGraphicFramePr>
            <a:graphicFrameLocks noChangeAspect="1"/>
          </p:cNvGraphicFramePr>
          <p:nvPr>
            <p:custDataLst>
              <p:tags r:id="rId1"/>
            </p:custDataLst>
            <p:extLst>
              <p:ext uri="{D42A27DB-BD31-4B8C-83A1-F6EECF244321}">
                <p14:modId xmlns:p14="http://schemas.microsoft.com/office/powerpoint/2010/main" val="8216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6" name="think-cell data - do not delete" hidden="1">
                        <a:extLst>
                          <a:ext uri="{FF2B5EF4-FFF2-40B4-BE49-F238E27FC236}">
                            <a16:creationId xmlns:a16="http://schemas.microsoft.com/office/drawing/2014/main" id="{1532DC8D-EF10-C559-FE82-D80CBE53E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F884FB3-6C01-F685-77F6-4D1FA5C1E1B5}"/>
              </a:ext>
            </a:extLst>
          </p:cNvPr>
          <p:cNvSpPr>
            <a:spLocks/>
          </p:cNvSpPr>
          <p:nvPr/>
        </p:nvSpPr>
        <p:spPr>
          <a:xfrm>
            <a:off x="7882466" y="767532"/>
            <a:ext cx="3852333"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Enablers &amp; Key success factors</a:t>
            </a:r>
            <a:endParaRPr lang="en-GB" sz="1200" kern="0">
              <a:solidFill>
                <a:schemeClr val="tx1"/>
              </a:solidFill>
            </a:endParaRP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Established Local-Central communication channels</a:t>
            </a:r>
          </a:p>
          <a:p>
            <a:pPr marL="179986" indent="-179986" defTabSz="554492">
              <a:spcBef>
                <a:spcPts val="600"/>
              </a:spcBef>
              <a:buSzPct val="100000"/>
              <a:buFont typeface="Arial" panose="020B0604020202020204" pitchFamily="34" charset="0"/>
              <a:buChar char="•"/>
            </a:pPr>
            <a:r>
              <a:rPr lang="en-GB" sz="1200" kern="0">
                <a:solidFill>
                  <a:prstClr val="black"/>
                </a:solidFill>
                <a:latin typeface="Calibri"/>
              </a:rPr>
              <a:t>Explicit share of responsibilities/activities</a:t>
            </a:r>
            <a:endParaRPr lang="en-GB" sz="1200" kern="0">
              <a:solidFill>
                <a:schemeClr val="tx1"/>
              </a:solidFill>
            </a:endParaRPr>
          </a:p>
        </p:txBody>
      </p:sp>
      <p:pic>
        <p:nvPicPr>
          <p:cNvPr id="5" name="ico-arrows-same-direction">
            <a:extLst>
              <a:ext uri="{FF2B5EF4-FFF2-40B4-BE49-F238E27FC236}">
                <a16:creationId xmlns:a16="http://schemas.microsoft.com/office/drawing/2014/main" id="{AD8C3515-AF2C-9985-6CBF-B2D736D554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6472" y="875356"/>
            <a:ext cx="293993" cy="293993"/>
          </a:xfrm>
          <a:prstGeom prst="rect">
            <a:avLst/>
          </a:prstGeom>
        </p:spPr>
      </p:pic>
      <p:sp>
        <p:nvSpPr>
          <p:cNvPr id="7" name="Rectangle 6">
            <a:extLst>
              <a:ext uri="{FF2B5EF4-FFF2-40B4-BE49-F238E27FC236}">
                <a16:creationId xmlns:a16="http://schemas.microsoft.com/office/drawing/2014/main" id="{DA28DF84-7415-DB6D-9B4D-2F4E5DBAC434}"/>
              </a:ext>
            </a:extLst>
          </p:cNvPr>
          <p:cNvSpPr/>
          <p:nvPr/>
        </p:nvSpPr>
        <p:spPr>
          <a:xfrm>
            <a:off x="457199" y="767532"/>
            <a:ext cx="7323859" cy="1536700"/>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defTabSz="554492">
              <a:spcBef>
                <a:spcPts val="600"/>
              </a:spcBef>
              <a:buSzPct val="100000"/>
            </a:pPr>
            <a:endParaRPr lang="en-GB" sz="1200" b="1" kern="0">
              <a:solidFill>
                <a:prstClr val="black"/>
              </a:solidFill>
              <a:latin typeface="Calibri"/>
            </a:endParaRPr>
          </a:p>
        </p:txBody>
      </p:sp>
      <p:grpSp>
        <p:nvGrpSpPr>
          <p:cNvPr id="13" name="Group 12">
            <a:extLst>
              <a:ext uri="{FF2B5EF4-FFF2-40B4-BE49-F238E27FC236}">
                <a16:creationId xmlns:a16="http://schemas.microsoft.com/office/drawing/2014/main" id="{D8292D40-362E-55F5-8A84-1B9683FCC623}"/>
              </a:ext>
            </a:extLst>
          </p:cNvPr>
          <p:cNvGrpSpPr/>
          <p:nvPr/>
        </p:nvGrpSpPr>
        <p:grpSpPr>
          <a:xfrm>
            <a:off x="7882466" y="2373584"/>
            <a:ext cx="3852333" cy="1310961"/>
            <a:chOff x="7882466" y="2844800"/>
            <a:chExt cx="3852333" cy="1682840"/>
          </a:xfrm>
          <a:solidFill>
            <a:schemeClr val="bg1"/>
          </a:solidFill>
          <a:effectLst>
            <a:outerShdw blurRad="50800" dist="38100" dir="2700000" algn="tl" rotWithShape="0">
              <a:prstClr val="black">
                <a:alpha val="40000"/>
              </a:prstClr>
            </a:outerShdw>
          </a:effectLst>
        </p:grpSpPr>
        <p:sp>
          <p:nvSpPr>
            <p:cNvPr id="14" name="Rectangle: Rounded Corners 13">
              <a:extLst>
                <a:ext uri="{FF2B5EF4-FFF2-40B4-BE49-F238E27FC236}">
                  <a16:creationId xmlns:a16="http://schemas.microsoft.com/office/drawing/2014/main" id="{EC347EB2-A17C-9756-6F8A-FA325CAB65BB}"/>
                </a:ext>
              </a:extLst>
            </p:cNvPr>
            <p:cNvSpPr/>
            <p:nvPr/>
          </p:nvSpPr>
          <p:spPr>
            <a:xfrm>
              <a:off x="7882466" y="2844800"/>
              <a:ext cx="3852333" cy="1682840"/>
            </a:xfrm>
            <a:prstGeom prst="rect">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Stakeholders to involve</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BU leaders</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BG leaders</a:t>
              </a:r>
            </a:p>
            <a:p>
              <a:pPr marL="179986" indent="-179986" defTabSz="554492">
                <a:spcBef>
                  <a:spcPts val="600"/>
                </a:spcBef>
                <a:buSzPct val="100000"/>
                <a:buFont typeface="Arial" panose="020B0604020202020204" pitchFamily="34" charset="0"/>
                <a:buChar char="•"/>
              </a:pPr>
              <a:r>
                <a:rPr lang="en-GB" sz="1200" kern="0">
                  <a:solidFill>
                    <a:srgbClr val="000000"/>
                  </a:solidFill>
                  <a:latin typeface="Calibri"/>
                </a:rPr>
                <a:t>Purchasing</a:t>
              </a:r>
            </a:p>
            <a:p>
              <a:pPr marL="179986" indent="-179986" defTabSz="554492">
                <a:spcBef>
                  <a:spcPts val="600"/>
                </a:spcBef>
                <a:buSzPct val="100000"/>
                <a:buFont typeface="Arial" panose="020B0604020202020204" pitchFamily="34" charset="0"/>
                <a:buChar char="•"/>
              </a:pPr>
              <a:endParaRPr lang="en-GB" sz="1200" kern="0">
                <a:solidFill>
                  <a:srgbClr val="000000"/>
                </a:solidFill>
                <a:latin typeface="Calibri"/>
              </a:endParaRPr>
            </a:p>
          </p:txBody>
        </p:sp>
        <p:pic>
          <p:nvPicPr>
            <p:cNvPr id="15" name="ico-a-check">
              <a:extLst>
                <a:ext uri="{FF2B5EF4-FFF2-40B4-BE49-F238E27FC236}">
                  <a16:creationId xmlns:a16="http://schemas.microsoft.com/office/drawing/2014/main" id="{AF564C4A-EF8B-70F1-D2CE-AB7250F7CF5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03000" y="2907675"/>
              <a:ext cx="293993" cy="293993"/>
            </a:xfrm>
            <a:prstGeom prst="rect">
              <a:avLst/>
            </a:prstGeom>
          </p:spPr>
        </p:pic>
      </p:grpSp>
      <p:sp>
        <p:nvSpPr>
          <p:cNvPr id="25" name="Rectangle 24">
            <a:extLst>
              <a:ext uri="{FF2B5EF4-FFF2-40B4-BE49-F238E27FC236}">
                <a16:creationId xmlns:a16="http://schemas.microsoft.com/office/drawing/2014/main" id="{958D2966-7E7D-9813-B536-FF656F5DC453}"/>
              </a:ext>
            </a:extLst>
          </p:cNvPr>
          <p:cNvSpPr/>
          <p:nvPr/>
        </p:nvSpPr>
        <p:spPr>
          <a:xfrm>
            <a:off x="7882466" y="3756945"/>
            <a:ext cx="3852333" cy="2643856"/>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rgbClr val="000000"/>
                </a:solidFill>
                <a:latin typeface="+mj-lt"/>
                <a:ea typeface="+mj-ea"/>
                <a:cs typeface="+mj-cs"/>
              </a:rPr>
              <a:t>Next steps</a:t>
            </a:r>
          </a:p>
        </p:txBody>
      </p:sp>
      <p:pic>
        <p:nvPicPr>
          <p:cNvPr id="30" name="ico-gantt">
            <a:extLst>
              <a:ext uri="{FF2B5EF4-FFF2-40B4-BE49-F238E27FC236}">
                <a16:creationId xmlns:a16="http://schemas.microsoft.com/office/drawing/2014/main" id="{70AF88D3-D5BC-BD5E-331A-63ECD9B0817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302325" y="3907028"/>
            <a:ext cx="293993" cy="293993"/>
          </a:xfrm>
          <a:prstGeom prst="rect">
            <a:avLst/>
          </a:prstGeom>
        </p:spPr>
      </p:pic>
      <p:sp>
        <p:nvSpPr>
          <p:cNvPr id="27" name="Rectangle 26">
            <a:extLst>
              <a:ext uri="{FF2B5EF4-FFF2-40B4-BE49-F238E27FC236}">
                <a16:creationId xmlns:a16="http://schemas.microsoft.com/office/drawing/2014/main" id="{E1366F96-29C8-F300-6344-34F16AE85E10}"/>
              </a:ext>
            </a:extLst>
          </p:cNvPr>
          <p:cNvSpPr/>
          <p:nvPr/>
        </p:nvSpPr>
        <p:spPr>
          <a:xfrm>
            <a:off x="457199" y="3082726"/>
            <a:ext cx="7323859" cy="332580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Potential plays – to be discussed now</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Leverage playbooks, including communication plan, Local-Central responsibility split </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Set up topic-specific meetings between Local &amp; Central to share insights (e.g., during pandemic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Involve customers in crisis-mitigation decisions</a:t>
            </a:r>
          </a:p>
          <a:p>
            <a:pPr marL="179994" indent="-179994" defTabSz="554492">
              <a:spcBef>
                <a:spcPts val="600"/>
              </a:spcBef>
              <a:buSzPct val="100000"/>
              <a:buFont typeface="Arial" panose="020B0604020202020204" pitchFamily="34" charset="0"/>
              <a:buChar char="•"/>
            </a:pPr>
            <a:r>
              <a:rPr lang="en-GB" sz="1100" kern="0">
                <a:solidFill>
                  <a:prstClr val="black"/>
                </a:solidFill>
                <a:latin typeface="Calibri"/>
              </a:rPr>
              <a:t>Hold trainings, with simulations</a:t>
            </a:r>
          </a:p>
        </p:txBody>
      </p:sp>
      <p:sp>
        <p:nvSpPr>
          <p:cNvPr id="17" name="Rectangle: Rounded Corners 16">
            <a:extLst>
              <a:ext uri="{FF2B5EF4-FFF2-40B4-BE49-F238E27FC236}">
                <a16:creationId xmlns:a16="http://schemas.microsoft.com/office/drawing/2014/main" id="{3119BBCB-5A35-97C6-C2D5-DDB2A67858B4}"/>
              </a:ext>
            </a:extLst>
          </p:cNvPr>
          <p:cNvSpPr>
            <a:spLocks/>
          </p:cNvSpPr>
          <p:nvPr/>
        </p:nvSpPr>
        <p:spPr>
          <a:xfrm>
            <a:off x="457200" y="381000"/>
            <a:ext cx="11277600" cy="364146"/>
          </a:xfrm>
          <a:prstGeom prst="roundRect">
            <a:avLst/>
          </a:prstGeom>
          <a:solidFill>
            <a:schemeClr val="accent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360363"/>
            <a:r>
              <a:rPr lang="en-GB" sz="1200" b="1" kern="0">
                <a:solidFill>
                  <a:schemeClr val="bg1"/>
                </a:solidFill>
              </a:rPr>
              <a:t>Pattern D5: Autonomous crisis response</a:t>
            </a:r>
          </a:p>
        </p:txBody>
      </p:sp>
      <p:sp>
        <p:nvSpPr>
          <p:cNvPr id="23" name="Text">
            <a:extLst>
              <a:ext uri="{FF2B5EF4-FFF2-40B4-BE49-F238E27FC236}">
                <a16:creationId xmlns:a16="http://schemas.microsoft.com/office/drawing/2014/main" id="{60597E66-83FC-AF81-6604-C1DB01380F18}"/>
              </a:ext>
            </a:extLst>
          </p:cNvPr>
          <p:cNvSpPr txBox="1">
            <a:spLocks/>
          </p:cNvSpPr>
          <p:nvPr/>
        </p:nvSpPr>
        <p:spPr bwMode="gray">
          <a:xfrm>
            <a:off x="3336780"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Other triggers</a:t>
            </a:r>
            <a:endParaRPr lang="en-GB" sz="1200">
              <a:latin typeface="+mj-lt"/>
              <a:ea typeface="+mj-ea"/>
              <a:cs typeface="+mj-cs"/>
            </a:endParaRPr>
          </a:p>
        </p:txBody>
      </p:sp>
      <p:sp>
        <p:nvSpPr>
          <p:cNvPr id="24" name="Text">
            <a:extLst>
              <a:ext uri="{FF2B5EF4-FFF2-40B4-BE49-F238E27FC236}">
                <a16:creationId xmlns:a16="http://schemas.microsoft.com/office/drawing/2014/main" id="{D5173955-0A5F-1F86-E19C-0100540A9836}"/>
              </a:ext>
            </a:extLst>
          </p:cNvPr>
          <p:cNvSpPr txBox="1">
            <a:spLocks/>
          </p:cNvSpPr>
          <p:nvPr/>
        </p:nvSpPr>
        <p:spPr bwMode="gray">
          <a:xfrm>
            <a:off x="5679282" y="905224"/>
            <a:ext cx="1941272" cy="215444"/>
          </a:xfrm>
          <a:prstGeom prst="rect">
            <a:avLst/>
          </a:prstGeom>
        </p:spPr>
        <p:txBody>
          <a:bodyPr wrap="square" lIns="0" tIns="0" rIns="0" bIns="0" anchor="t">
            <a:spAutoFit/>
          </a:bodyPr>
          <a:lstStyle/>
          <a:p>
            <a:pPr algn="ctr">
              <a:spcAft>
                <a:spcPts val="300"/>
              </a:spcAft>
            </a:pPr>
            <a:r>
              <a:rPr lang="en-GB" sz="1400" b="1">
                <a:latin typeface="+mj-lt"/>
                <a:ea typeface="+mj-ea"/>
                <a:cs typeface="+mj-cs"/>
              </a:rPr>
              <a:t>Successful examples </a:t>
            </a:r>
            <a:endParaRPr lang="en-GB" sz="1200">
              <a:latin typeface="+mj-lt"/>
              <a:ea typeface="+mj-ea"/>
              <a:cs typeface="+mj-cs"/>
            </a:endParaRPr>
          </a:p>
        </p:txBody>
      </p:sp>
      <p:cxnSp>
        <p:nvCxnSpPr>
          <p:cNvPr id="34" name="Straight Connector 33">
            <a:extLst>
              <a:ext uri="{FF2B5EF4-FFF2-40B4-BE49-F238E27FC236}">
                <a16:creationId xmlns:a16="http://schemas.microsoft.com/office/drawing/2014/main" id="{9E3CB111-6AD5-83E5-8626-AAEFD279ABC7}"/>
              </a:ext>
            </a:extLst>
          </p:cNvPr>
          <p:cNvCxnSpPr>
            <a:cxnSpLocks/>
          </p:cNvCxnSpPr>
          <p:nvPr/>
        </p:nvCxnSpPr>
        <p:spPr>
          <a:xfrm>
            <a:off x="5448300"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
            <a:extLst>
              <a:ext uri="{FF2B5EF4-FFF2-40B4-BE49-F238E27FC236}">
                <a16:creationId xmlns:a16="http://schemas.microsoft.com/office/drawing/2014/main" id="{4D3F7C0A-B149-1D73-324F-73B6CC4231CD}"/>
              </a:ext>
            </a:extLst>
          </p:cNvPr>
          <p:cNvSpPr txBox="1">
            <a:spLocks/>
          </p:cNvSpPr>
          <p:nvPr/>
        </p:nvSpPr>
        <p:spPr bwMode="gray">
          <a:xfrm>
            <a:off x="3402087" y="1416305"/>
            <a:ext cx="1810658" cy="184666"/>
          </a:xfrm>
          <a:prstGeom prst="rect">
            <a:avLst/>
          </a:prstGeom>
        </p:spPr>
        <p:txBody>
          <a:bodyPr wrap="square" lIns="0" tIns="0" rIns="0" bIns="0" anchor="t">
            <a:spAutoFit/>
          </a:bodyPr>
          <a:lstStyle/>
          <a:p>
            <a:pPr algn="ctr">
              <a:spcAft>
                <a:spcPts val="300"/>
              </a:spcAft>
            </a:pPr>
            <a:r>
              <a:rPr lang="en-GB" sz="1200"/>
              <a:t>-</a:t>
            </a:r>
            <a:endParaRPr lang="en-GB" sz="1100"/>
          </a:p>
        </p:txBody>
      </p:sp>
      <p:sp>
        <p:nvSpPr>
          <p:cNvPr id="37" name="Rectangle 36">
            <a:extLst>
              <a:ext uri="{FF2B5EF4-FFF2-40B4-BE49-F238E27FC236}">
                <a16:creationId xmlns:a16="http://schemas.microsoft.com/office/drawing/2014/main" id="{334ADF48-30AE-4246-8BEE-2FDDBB4368CB}"/>
              </a:ext>
            </a:extLst>
          </p:cNvPr>
          <p:cNvSpPr/>
          <p:nvPr/>
        </p:nvSpPr>
        <p:spPr>
          <a:xfrm>
            <a:off x="457199" y="2363083"/>
            <a:ext cx="7323859" cy="600731"/>
          </a:xfrm>
          <a:prstGeom prst="rect">
            <a:avLst/>
          </a:prstGeom>
          <a:solidFill>
            <a:schemeClr val="bg1"/>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latin typeface="+mj-lt"/>
                <a:ea typeface="+mj-ea"/>
                <a:cs typeface="+mj-cs"/>
              </a:rPr>
              <a:t>Target outcomes: </a:t>
            </a:r>
            <a:r>
              <a:rPr lang="en-GB" sz="1200" kern="0">
                <a:solidFill>
                  <a:schemeClr val="tx1"/>
                </a:solidFill>
              </a:rPr>
              <a:t>Balance between decentralized decision-making and collaboration with Central to answer local &amp; global crises </a:t>
            </a:r>
            <a:endParaRPr lang="en-GB" sz="1400" kern="0">
              <a:solidFill>
                <a:schemeClr val="tx1"/>
              </a:solidFill>
            </a:endParaRPr>
          </a:p>
        </p:txBody>
      </p:sp>
      <p:sp>
        <p:nvSpPr>
          <p:cNvPr id="38" name="Oval 37">
            <a:extLst>
              <a:ext uri="{FF2B5EF4-FFF2-40B4-BE49-F238E27FC236}">
                <a16:creationId xmlns:a16="http://schemas.microsoft.com/office/drawing/2014/main" id="{D2D970F1-37BA-0616-2151-DCC1AEF77E1D}"/>
              </a:ext>
            </a:extLst>
          </p:cNvPr>
          <p:cNvSpPr/>
          <p:nvPr/>
        </p:nvSpPr>
        <p:spPr>
          <a:xfrm>
            <a:off x="514359" y="404276"/>
            <a:ext cx="317594" cy="317594"/>
          </a:xfrm>
          <a:prstGeom prst="ellipse">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45" name="ico-archery-target">
            <a:extLst>
              <a:ext uri="{FF2B5EF4-FFF2-40B4-BE49-F238E27FC236}">
                <a16:creationId xmlns:a16="http://schemas.microsoft.com/office/drawing/2014/main" id="{D1448623-626A-2AAE-3D98-A749B6240C0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390772" y="2516451"/>
            <a:ext cx="293993" cy="293993"/>
          </a:xfrm>
          <a:prstGeom prst="rect">
            <a:avLst/>
          </a:prstGeom>
        </p:spPr>
      </p:pic>
      <p:pic>
        <p:nvPicPr>
          <p:cNvPr id="47" name="ico-finger-snap">
            <a:extLst>
              <a:ext uri="{FF2B5EF4-FFF2-40B4-BE49-F238E27FC236}">
                <a16:creationId xmlns:a16="http://schemas.microsoft.com/office/drawing/2014/main" id="{189AA276-AF58-1AD3-4754-6A5C89FB3CA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90771" y="3156178"/>
            <a:ext cx="293993" cy="293993"/>
          </a:xfrm>
          <a:prstGeom prst="rect">
            <a:avLst/>
          </a:prstGeom>
        </p:spPr>
      </p:pic>
      <p:sp>
        <p:nvSpPr>
          <p:cNvPr id="28" name="Text">
            <a:extLst>
              <a:ext uri="{FF2B5EF4-FFF2-40B4-BE49-F238E27FC236}">
                <a16:creationId xmlns:a16="http://schemas.microsoft.com/office/drawing/2014/main" id="{91C85F53-0BAC-0392-CDB8-86024CC7523A}"/>
              </a:ext>
            </a:extLst>
          </p:cNvPr>
          <p:cNvSpPr txBox="1">
            <a:spLocks/>
          </p:cNvSpPr>
          <p:nvPr/>
        </p:nvSpPr>
        <p:spPr bwMode="gray">
          <a:xfrm>
            <a:off x="500277" y="905224"/>
            <a:ext cx="2635888" cy="215444"/>
          </a:xfrm>
          <a:prstGeom prst="rect">
            <a:avLst/>
          </a:prstGeom>
        </p:spPr>
        <p:txBody>
          <a:bodyPr wrap="square" lIns="0" tIns="0" rIns="0" bIns="0" anchor="t">
            <a:spAutoFit/>
          </a:bodyPr>
          <a:lstStyle/>
          <a:p>
            <a:pPr algn="ctr"/>
            <a:r>
              <a:rPr lang="en-GB" sz="1400" b="1" kern="0">
                <a:solidFill>
                  <a:schemeClr val="tx1"/>
                </a:solidFill>
                <a:latin typeface="+mj-lt"/>
                <a:ea typeface="+mj-ea"/>
                <a:cs typeface="+mj-cs"/>
              </a:rPr>
              <a:t>Addressable risks &amp; opportunities</a:t>
            </a:r>
          </a:p>
        </p:txBody>
      </p:sp>
      <p:cxnSp>
        <p:nvCxnSpPr>
          <p:cNvPr id="29" name="Straight Connector 28">
            <a:extLst>
              <a:ext uri="{FF2B5EF4-FFF2-40B4-BE49-F238E27FC236}">
                <a16:creationId xmlns:a16="http://schemas.microsoft.com/office/drawing/2014/main" id="{3C54040F-052F-1BDA-B90C-98184F9750C7}"/>
              </a:ext>
            </a:extLst>
          </p:cNvPr>
          <p:cNvCxnSpPr>
            <a:cxnSpLocks/>
          </p:cNvCxnSpPr>
          <p:nvPr/>
        </p:nvCxnSpPr>
        <p:spPr>
          <a:xfrm>
            <a:off x="3236473" y="997272"/>
            <a:ext cx="0" cy="107722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Speech Bubble: Rectangle with Corners Rounded 7">
            <a:extLst>
              <a:ext uri="{FF2B5EF4-FFF2-40B4-BE49-F238E27FC236}">
                <a16:creationId xmlns:a16="http://schemas.microsoft.com/office/drawing/2014/main" id="{7473B29A-4774-EAB8-12A1-04504C9B87C2}"/>
              </a:ext>
            </a:extLst>
          </p:cNvPr>
          <p:cNvSpPr>
            <a:spLocks/>
          </p:cNvSpPr>
          <p:nvPr/>
        </p:nvSpPr>
        <p:spPr>
          <a:xfrm>
            <a:off x="593382" y="5724447"/>
            <a:ext cx="1420663"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How to empower local management to react autonomously to crises?</a:t>
            </a:r>
          </a:p>
        </p:txBody>
      </p:sp>
      <p:sp>
        <p:nvSpPr>
          <p:cNvPr id="11" name="Speech Bubble: Rectangle with Corners Rounded 10">
            <a:extLst>
              <a:ext uri="{FF2B5EF4-FFF2-40B4-BE49-F238E27FC236}">
                <a16:creationId xmlns:a16="http://schemas.microsoft.com/office/drawing/2014/main" id="{89273CE8-266C-C02B-E3D2-33FBDFD003A5}"/>
              </a:ext>
            </a:extLst>
          </p:cNvPr>
          <p:cNvSpPr>
            <a:spLocks/>
          </p:cNvSpPr>
          <p:nvPr/>
        </p:nvSpPr>
        <p:spPr>
          <a:xfrm>
            <a:off x="2057647" y="5724447"/>
            <a:ext cx="1982268" cy="675305"/>
          </a:xfrm>
          <a:prstGeom prst="wedgeRoundRectCallout">
            <a:avLst>
              <a:gd name="adj1" fmla="val -8281"/>
              <a:gd name="adj2" fmla="val -60995"/>
              <a:gd name="adj3" fmla="val 16667"/>
            </a:avLst>
          </a:prstGeom>
          <a:solidFill>
            <a:srgbClr val="E7F8FF"/>
          </a:solidFill>
          <a:ln w="9525">
            <a:solidFill>
              <a:schemeClr val="accent2">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lvl="1">
              <a:spcBef>
                <a:spcPts val="300"/>
              </a:spcBef>
              <a:buSzPct val="100000"/>
            </a:pPr>
            <a:r>
              <a:rPr lang="en-US" sz="1100">
                <a:solidFill>
                  <a:schemeClr val="tx1"/>
                </a:solidFill>
                <a:latin typeface="Calibri"/>
              </a:rPr>
              <a:t>Which mechanisms should be deployed between Central and local management to best address crises as a team?</a:t>
            </a:r>
          </a:p>
        </p:txBody>
      </p:sp>
      <p:pic>
        <p:nvPicPr>
          <p:cNvPr id="2" name="ico-globe">
            <a:extLst>
              <a:ext uri="{FF2B5EF4-FFF2-40B4-BE49-F238E27FC236}">
                <a16:creationId xmlns:a16="http://schemas.microsoft.com/office/drawing/2014/main" id="{1731027D-D3B4-4564-CAA5-A42DB4F35465}"/>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83028" y="1183855"/>
            <a:ext cx="213984" cy="213984"/>
          </a:xfrm>
          <a:prstGeom prst="rect">
            <a:avLst/>
          </a:prstGeom>
        </p:spPr>
      </p:pic>
      <p:sp>
        <p:nvSpPr>
          <p:cNvPr id="9" name="Text">
            <a:extLst>
              <a:ext uri="{FF2B5EF4-FFF2-40B4-BE49-F238E27FC236}">
                <a16:creationId xmlns:a16="http://schemas.microsoft.com/office/drawing/2014/main" id="{B2049CC2-70FB-D8BF-EA08-1FEB3AE5614F}"/>
              </a:ext>
            </a:extLst>
          </p:cNvPr>
          <p:cNvSpPr txBox="1">
            <a:spLocks/>
          </p:cNvSpPr>
          <p:nvPr/>
        </p:nvSpPr>
        <p:spPr bwMode="gray">
          <a:xfrm>
            <a:off x="1137761" y="1166188"/>
            <a:ext cx="1941272" cy="1077218"/>
          </a:xfrm>
          <a:prstGeom prst="rect">
            <a:avLst/>
          </a:prstGeom>
        </p:spPr>
        <p:txBody>
          <a:bodyPr wrap="square" lIns="0" tIns="0" rIns="0" bIns="0" anchor="t">
            <a:spAutoFit/>
          </a:bodyPr>
          <a:lstStyle/>
          <a:p>
            <a:pPr>
              <a:spcAft>
                <a:spcPts val="300"/>
              </a:spcAft>
            </a:pPr>
            <a:r>
              <a:rPr lang="en-GB" sz="1200"/>
              <a:t>Geopolitical tension in Asia</a:t>
            </a:r>
          </a:p>
          <a:p>
            <a:pPr>
              <a:spcAft>
                <a:spcPts val="300"/>
              </a:spcAft>
            </a:pPr>
            <a:r>
              <a:rPr lang="en-GB" sz="1200"/>
              <a:t>Natural hazards</a:t>
            </a:r>
          </a:p>
          <a:p>
            <a:pPr>
              <a:spcAft>
                <a:spcPts val="300"/>
              </a:spcAft>
            </a:pPr>
            <a:r>
              <a:rPr lang="en-GB" sz="1200"/>
              <a:t>Volatile inflation</a:t>
            </a:r>
          </a:p>
          <a:p>
            <a:pPr>
              <a:spcAft>
                <a:spcPts val="300"/>
              </a:spcAft>
            </a:pPr>
            <a:r>
              <a:rPr lang="en-GB" sz="1200"/>
              <a:t>Resource crisis</a:t>
            </a:r>
          </a:p>
          <a:p>
            <a:pPr>
              <a:spcAft>
                <a:spcPts val="300"/>
              </a:spcAft>
            </a:pPr>
            <a:r>
              <a:rPr lang="en-GB" sz="1200"/>
              <a:t>Cyber, AI &amp; Automation</a:t>
            </a:r>
          </a:p>
        </p:txBody>
      </p:sp>
      <p:pic>
        <p:nvPicPr>
          <p:cNvPr id="10" name="ico-coal">
            <a:extLst>
              <a:ext uri="{FF2B5EF4-FFF2-40B4-BE49-F238E27FC236}">
                <a16:creationId xmlns:a16="http://schemas.microsoft.com/office/drawing/2014/main" id="{EDA97F18-DCBB-A30C-9AD3-4C8D1693EB02}"/>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83028" y="1806825"/>
            <a:ext cx="213984" cy="213984"/>
          </a:xfrm>
          <a:prstGeom prst="rect">
            <a:avLst/>
          </a:prstGeom>
        </p:spPr>
      </p:pic>
      <p:pic>
        <p:nvPicPr>
          <p:cNvPr id="21" name="ico-cloud-light">
            <a:extLst>
              <a:ext uri="{FF2B5EF4-FFF2-40B4-BE49-F238E27FC236}">
                <a16:creationId xmlns:a16="http://schemas.microsoft.com/office/drawing/2014/main" id="{199497D1-6029-D560-E8B8-E9C64136D138}"/>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83028" y="1388325"/>
            <a:ext cx="213984" cy="213984"/>
          </a:xfrm>
          <a:prstGeom prst="rect">
            <a:avLst/>
          </a:prstGeom>
        </p:spPr>
      </p:pic>
      <p:pic>
        <p:nvPicPr>
          <p:cNvPr id="16" name="ico-line-chart">
            <a:extLst>
              <a:ext uri="{FF2B5EF4-FFF2-40B4-BE49-F238E27FC236}">
                <a16:creationId xmlns:a16="http://schemas.microsoft.com/office/drawing/2014/main" id="{C1F56E87-E952-0425-984B-4C0E1B141B99}"/>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789804" y="1592841"/>
            <a:ext cx="213984" cy="213984"/>
          </a:xfrm>
          <a:prstGeom prst="rect">
            <a:avLst/>
          </a:prstGeom>
        </p:spPr>
      </p:pic>
      <p:pic>
        <p:nvPicPr>
          <p:cNvPr id="31" name="ico-cyber">
            <a:extLst>
              <a:ext uri="{FF2B5EF4-FFF2-40B4-BE49-F238E27FC236}">
                <a16:creationId xmlns:a16="http://schemas.microsoft.com/office/drawing/2014/main" id="{192A2380-3909-6FCB-EC4B-33CC393C171E}"/>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83028" y="2059106"/>
            <a:ext cx="213984" cy="213984"/>
          </a:xfrm>
          <a:prstGeom prst="rect">
            <a:avLst/>
          </a:prstGeom>
        </p:spPr>
      </p:pic>
      <p:pic>
        <p:nvPicPr>
          <p:cNvPr id="20" name="ico-sport-mode">
            <a:extLst>
              <a:ext uri="{FF2B5EF4-FFF2-40B4-BE49-F238E27FC236}">
                <a16:creationId xmlns:a16="http://schemas.microsoft.com/office/drawing/2014/main" id="{0D8B61BC-D294-408B-F59D-062B8E6F4431}"/>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63270" y="456235"/>
            <a:ext cx="219775" cy="219775"/>
          </a:xfrm>
          <a:prstGeom prst="rect">
            <a:avLst/>
          </a:prstGeom>
        </p:spPr>
      </p:pic>
    </p:spTree>
    <p:extLst>
      <p:ext uri="{BB962C8B-B14F-4D97-AF65-F5344CB8AC3E}">
        <p14:creationId xmlns:p14="http://schemas.microsoft.com/office/powerpoint/2010/main" val="25179972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C575E1-372E-0C77-8599-A3567B1E43A2}"/>
              </a:ext>
            </a:extLst>
          </p:cNvPr>
          <p:cNvGraphicFramePr>
            <a:graphicFrameLocks noChangeAspect="1"/>
          </p:cNvGraphicFramePr>
          <p:nvPr>
            <p:custDataLst>
              <p:tags r:id="rId1"/>
            </p:custDataLst>
            <p:extLst>
              <p:ext uri="{D42A27DB-BD31-4B8C-83A1-F6EECF244321}">
                <p14:modId xmlns:p14="http://schemas.microsoft.com/office/powerpoint/2010/main" val="322095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5" name="think-cell data - do not delete" hidden="1">
                        <a:extLst>
                          <a:ext uri="{FF2B5EF4-FFF2-40B4-BE49-F238E27FC236}">
                            <a16:creationId xmlns:a16="http://schemas.microsoft.com/office/drawing/2014/main" id="{23C575E1-372E-0C77-8599-A3567B1E43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6B2B4141-C9E1-5A90-5159-AC9D028B65D0}"/>
              </a:ext>
            </a:extLst>
          </p:cNvPr>
          <p:cNvSpPr>
            <a:spLocks noGrp="1"/>
          </p:cNvSpPr>
          <p:nvPr>
            <p:ph type="body" sz="quarter" idx="11"/>
          </p:nvPr>
        </p:nvSpPr>
        <p:spPr>
          <a:xfrm>
            <a:off x="457199" y="4426803"/>
            <a:ext cx="8348472" cy="529825"/>
          </a:xfrm>
        </p:spPr>
        <p:txBody>
          <a:bodyPr/>
          <a:lstStyle/>
          <a:p>
            <a:r>
              <a:rPr lang="en-GB"/>
              <a:t>appendix</a:t>
            </a:r>
          </a:p>
        </p:txBody>
      </p:sp>
    </p:spTree>
    <p:extLst>
      <p:ext uri="{BB962C8B-B14F-4D97-AF65-F5344CB8AC3E}">
        <p14:creationId xmlns:p14="http://schemas.microsoft.com/office/powerpoint/2010/main" val="1531295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B2B313C-ACDB-554E-1AC9-329341619AB3}"/>
              </a:ext>
            </a:extLst>
          </p:cNvPr>
          <p:cNvGraphicFramePr>
            <a:graphicFrameLocks noChangeAspect="1"/>
          </p:cNvGraphicFramePr>
          <p:nvPr>
            <p:custDataLst>
              <p:tags r:id="rId1"/>
            </p:custDataLst>
            <p:extLst>
              <p:ext uri="{D42A27DB-BD31-4B8C-83A1-F6EECF244321}">
                <p14:modId xmlns:p14="http://schemas.microsoft.com/office/powerpoint/2010/main" val="2817816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7" name="think-cell data - do not delete" hidden="1">
                        <a:extLst>
                          <a:ext uri="{FF2B5EF4-FFF2-40B4-BE49-F238E27FC236}">
                            <a16:creationId xmlns:a16="http://schemas.microsoft.com/office/drawing/2014/main" id="{5B2B313C-ACDB-554E-1AC9-329341619A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4" name="Title 63">
            <a:extLst>
              <a:ext uri="{FF2B5EF4-FFF2-40B4-BE49-F238E27FC236}">
                <a16:creationId xmlns:a16="http://schemas.microsoft.com/office/drawing/2014/main" id="{F8218ED8-664B-CDE0-BDBE-164DE389F380}"/>
              </a:ext>
            </a:extLst>
          </p:cNvPr>
          <p:cNvSpPr>
            <a:spLocks noGrp="1"/>
          </p:cNvSpPr>
          <p:nvPr>
            <p:ph type="title"/>
          </p:nvPr>
        </p:nvSpPr>
        <p:spPr/>
        <p:txBody>
          <a:bodyPr vert="horz"/>
          <a:lstStyle/>
          <a:p>
            <a:r>
              <a:rPr lang="en-GB"/>
              <a:t>The Permacrisis profit patterns were designed as a response to one or several risks &amp; opportunities</a:t>
            </a:r>
          </a:p>
        </p:txBody>
      </p:sp>
      <p:graphicFrame>
        <p:nvGraphicFramePr>
          <p:cNvPr id="3" name="Table 3">
            <a:extLst>
              <a:ext uri="{FF2B5EF4-FFF2-40B4-BE49-F238E27FC236}">
                <a16:creationId xmlns:a16="http://schemas.microsoft.com/office/drawing/2014/main" id="{2057C276-DD58-AFC6-8A41-479DE80A9C4B}"/>
              </a:ext>
            </a:extLst>
          </p:cNvPr>
          <p:cNvGraphicFramePr>
            <a:graphicFrameLocks noGrp="1"/>
          </p:cNvGraphicFramePr>
          <p:nvPr>
            <p:extLst>
              <p:ext uri="{D42A27DB-BD31-4B8C-83A1-F6EECF244321}">
                <p14:modId xmlns:p14="http://schemas.microsoft.com/office/powerpoint/2010/main" val="3201479430"/>
              </p:ext>
            </p:extLst>
          </p:nvPr>
        </p:nvGraphicFramePr>
        <p:xfrm>
          <a:off x="457199" y="1769805"/>
          <a:ext cx="11277611" cy="4642353"/>
        </p:xfrm>
        <a:graphic>
          <a:graphicData uri="http://schemas.openxmlformats.org/drawingml/2006/table">
            <a:tbl>
              <a:tblPr firstRow="1" bandRow="1">
                <a:tableStyleId>{839DD9DD-9E6C-4910-8AC0-68ADFF6A6AFC}</a:tableStyleId>
              </a:tblPr>
              <a:tblGrid>
                <a:gridCol w="1176654">
                  <a:extLst>
                    <a:ext uri="{9D8B030D-6E8A-4147-A177-3AD203B41FA5}">
                      <a16:colId xmlns:a16="http://schemas.microsoft.com/office/drawing/2014/main" val="2374637184"/>
                    </a:ext>
                  </a:extLst>
                </a:gridCol>
                <a:gridCol w="1460537">
                  <a:extLst>
                    <a:ext uri="{9D8B030D-6E8A-4147-A177-3AD203B41FA5}">
                      <a16:colId xmlns:a16="http://schemas.microsoft.com/office/drawing/2014/main" val="700572881"/>
                    </a:ext>
                  </a:extLst>
                </a:gridCol>
                <a:gridCol w="508260">
                  <a:extLst>
                    <a:ext uri="{9D8B030D-6E8A-4147-A177-3AD203B41FA5}">
                      <a16:colId xmlns:a16="http://schemas.microsoft.com/office/drawing/2014/main" val="619445618"/>
                    </a:ext>
                  </a:extLst>
                </a:gridCol>
                <a:gridCol w="508260">
                  <a:extLst>
                    <a:ext uri="{9D8B030D-6E8A-4147-A177-3AD203B41FA5}">
                      <a16:colId xmlns:a16="http://schemas.microsoft.com/office/drawing/2014/main" val="1298933326"/>
                    </a:ext>
                  </a:extLst>
                </a:gridCol>
                <a:gridCol w="508260">
                  <a:extLst>
                    <a:ext uri="{9D8B030D-6E8A-4147-A177-3AD203B41FA5}">
                      <a16:colId xmlns:a16="http://schemas.microsoft.com/office/drawing/2014/main" val="3088002804"/>
                    </a:ext>
                  </a:extLst>
                </a:gridCol>
                <a:gridCol w="508260">
                  <a:extLst>
                    <a:ext uri="{9D8B030D-6E8A-4147-A177-3AD203B41FA5}">
                      <a16:colId xmlns:a16="http://schemas.microsoft.com/office/drawing/2014/main" val="3841747044"/>
                    </a:ext>
                  </a:extLst>
                </a:gridCol>
                <a:gridCol w="508260">
                  <a:extLst>
                    <a:ext uri="{9D8B030D-6E8A-4147-A177-3AD203B41FA5}">
                      <a16:colId xmlns:a16="http://schemas.microsoft.com/office/drawing/2014/main" val="4291850028"/>
                    </a:ext>
                  </a:extLst>
                </a:gridCol>
                <a:gridCol w="508260">
                  <a:extLst>
                    <a:ext uri="{9D8B030D-6E8A-4147-A177-3AD203B41FA5}">
                      <a16:colId xmlns:a16="http://schemas.microsoft.com/office/drawing/2014/main" val="617652891"/>
                    </a:ext>
                  </a:extLst>
                </a:gridCol>
                <a:gridCol w="508260">
                  <a:extLst>
                    <a:ext uri="{9D8B030D-6E8A-4147-A177-3AD203B41FA5}">
                      <a16:colId xmlns:a16="http://schemas.microsoft.com/office/drawing/2014/main" val="3422714020"/>
                    </a:ext>
                  </a:extLst>
                </a:gridCol>
                <a:gridCol w="508260">
                  <a:extLst>
                    <a:ext uri="{9D8B030D-6E8A-4147-A177-3AD203B41FA5}">
                      <a16:colId xmlns:a16="http://schemas.microsoft.com/office/drawing/2014/main" val="1980815373"/>
                    </a:ext>
                  </a:extLst>
                </a:gridCol>
                <a:gridCol w="508260">
                  <a:extLst>
                    <a:ext uri="{9D8B030D-6E8A-4147-A177-3AD203B41FA5}">
                      <a16:colId xmlns:a16="http://schemas.microsoft.com/office/drawing/2014/main" val="73298316"/>
                    </a:ext>
                  </a:extLst>
                </a:gridCol>
                <a:gridCol w="508260">
                  <a:extLst>
                    <a:ext uri="{9D8B030D-6E8A-4147-A177-3AD203B41FA5}">
                      <a16:colId xmlns:a16="http://schemas.microsoft.com/office/drawing/2014/main" val="4092436328"/>
                    </a:ext>
                  </a:extLst>
                </a:gridCol>
                <a:gridCol w="508260">
                  <a:extLst>
                    <a:ext uri="{9D8B030D-6E8A-4147-A177-3AD203B41FA5}">
                      <a16:colId xmlns:a16="http://schemas.microsoft.com/office/drawing/2014/main" val="2133997313"/>
                    </a:ext>
                  </a:extLst>
                </a:gridCol>
                <a:gridCol w="508260">
                  <a:extLst>
                    <a:ext uri="{9D8B030D-6E8A-4147-A177-3AD203B41FA5}">
                      <a16:colId xmlns:a16="http://schemas.microsoft.com/office/drawing/2014/main" val="1100266001"/>
                    </a:ext>
                  </a:extLst>
                </a:gridCol>
                <a:gridCol w="508260">
                  <a:extLst>
                    <a:ext uri="{9D8B030D-6E8A-4147-A177-3AD203B41FA5}">
                      <a16:colId xmlns:a16="http://schemas.microsoft.com/office/drawing/2014/main" val="3638398849"/>
                    </a:ext>
                  </a:extLst>
                </a:gridCol>
                <a:gridCol w="508260">
                  <a:extLst>
                    <a:ext uri="{9D8B030D-6E8A-4147-A177-3AD203B41FA5}">
                      <a16:colId xmlns:a16="http://schemas.microsoft.com/office/drawing/2014/main" val="2277703908"/>
                    </a:ext>
                  </a:extLst>
                </a:gridCol>
                <a:gridCol w="508260">
                  <a:extLst>
                    <a:ext uri="{9D8B030D-6E8A-4147-A177-3AD203B41FA5}">
                      <a16:colId xmlns:a16="http://schemas.microsoft.com/office/drawing/2014/main" val="1760885247"/>
                    </a:ext>
                  </a:extLst>
                </a:gridCol>
                <a:gridCol w="508260">
                  <a:extLst>
                    <a:ext uri="{9D8B030D-6E8A-4147-A177-3AD203B41FA5}">
                      <a16:colId xmlns:a16="http://schemas.microsoft.com/office/drawing/2014/main" val="4173715140"/>
                    </a:ext>
                  </a:extLst>
                </a:gridCol>
                <a:gridCol w="508260">
                  <a:extLst>
                    <a:ext uri="{9D8B030D-6E8A-4147-A177-3AD203B41FA5}">
                      <a16:colId xmlns:a16="http://schemas.microsoft.com/office/drawing/2014/main" val="342736338"/>
                    </a:ext>
                  </a:extLst>
                </a:gridCol>
              </a:tblGrid>
              <a:tr h="1773683">
                <a:tc>
                  <a:txBody>
                    <a:bodyPr/>
                    <a:lstStyle/>
                    <a:p>
                      <a:pPr algn="l" rtl="0" fontAlgn="ctr"/>
                      <a:endParaRPr lang="en-GB" sz="1050" b="1" i="0" u="none" strike="noStrike">
                        <a:solidFill>
                          <a:srgbClr val="000000"/>
                        </a:solidFill>
                        <a:effectLst/>
                        <a:latin typeface="Calibri" panose="020F0502020204030204" pitchFamily="34" charset="0"/>
                      </a:endParaRPr>
                    </a:p>
                  </a:txBody>
                  <a:tcPr marL="3810" marR="3810" marT="3810" marB="0" anchor="ctr">
                    <a:solidFill>
                      <a:schemeClr val="bg1"/>
                    </a:solidFill>
                  </a:tcPr>
                </a:tc>
                <a:tc>
                  <a:txBody>
                    <a:bodyPr/>
                    <a:lstStyle/>
                    <a:p>
                      <a:pPr algn="l" rtl="0" fontAlgn="ctr"/>
                      <a:endParaRPr lang="en-GB" sz="1050" b="1" i="0" u="none" strike="noStrike">
                        <a:solidFill>
                          <a:srgbClr val="000000"/>
                        </a:solidFill>
                        <a:effectLst/>
                        <a:latin typeface="Calibri" panose="020F0502020204030204" pitchFamily="34" charset="0"/>
                      </a:endParaRPr>
                    </a:p>
                  </a:txBody>
                  <a:tcPr marL="3810" marR="3810" marT="3810" marB="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1. Weak signal tracking</a:t>
                      </a:r>
                    </a:p>
                  </a:txBody>
                  <a:tcPr marL="3810" marR="3810" marT="3810" marB="72009" vert="vert27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2. Turning risks into opportunities</a:t>
                      </a:r>
                    </a:p>
                  </a:txBody>
                  <a:tcPr marL="3810" marR="3810" marT="3810" marB="72009" vert="vert27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3. </a:t>
                      </a:r>
                      <a:r>
                        <a:rPr lang="en-GB" sz="1050">
                          <a:solidFill>
                            <a:srgbClr val="000000"/>
                          </a:solidFill>
                          <a:latin typeface="+mn-lt"/>
                        </a:rPr>
                        <a:t>Asset light strategy</a:t>
                      </a:r>
                      <a:endParaRPr lang="en-GB" sz="1050" b="1" i="0" u="none" strike="noStrike">
                        <a:solidFill>
                          <a:srgbClr val="000000"/>
                        </a:solidFill>
                        <a:effectLst/>
                        <a:latin typeface="Calibri" panose="020F0502020204030204" pitchFamily="34" charset="0"/>
                      </a:endParaRPr>
                    </a:p>
                  </a:txBody>
                  <a:tcPr marL="3810" marR="3810" marT="3810" marB="72009" vert="vert27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1. Differentiate, Differentiate, Differentiate</a:t>
                      </a:r>
                    </a:p>
                  </a:txBody>
                  <a:tcPr marL="3810" marR="3810" marT="3810" marB="72009" vert="vert27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2. Strengthen the Core</a:t>
                      </a:r>
                    </a:p>
                  </a:txBody>
                  <a:tcPr marL="3810" marR="3810" marT="3810" marB="72009" vert="vert270" anchor="ctr">
                    <a:solidFill>
                      <a:schemeClr val="bg1"/>
                    </a:solidFill>
                  </a:tcPr>
                </a:tc>
                <a:tc>
                  <a:txBody>
                    <a:bodyPr/>
                    <a:lstStyle/>
                    <a:p>
                      <a:pPr marL="0" marR="0" lvl="0" indent="0" algn="l" defTabSz="914370" rtl="0" eaLnBrk="1" fontAlgn="ctr" latinLnBrk="0" hangingPunct="1">
                        <a:lnSpc>
                          <a:spcPct val="100000"/>
                        </a:lnSpc>
                        <a:spcBef>
                          <a:spcPts val="0"/>
                        </a:spcBef>
                        <a:spcAft>
                          <a:spcPts val="0"/>
                        </a:spcAft>
                        <a:buClrTx/>
                        <a:buSzTx/>
                        <a:buFontTx/>
                        <a:buNone/>
                        <a:tabLst/>
                        <a:defRPr/>
                      </a:pPr>
                      <a:r>
                        <a:rPr lang="en-GB" sz="1050" b="1" i="0" u="none" strike="noStrike">
                          <a:solidFill>
                            <a:srgbClr val="000000"/>
                          </a:solidFill>
                          <a:effectLst/>
                          <a:latin typeface="Calibri" panose="020F0502020204030204" pitchFamily="34" charset="0"/>
                        </a:rPr>
                        <a:t>3. </a:t>
                      </a:r>
                      <a:r>
                        <a:rPr lang="en-GB" sz="1050">
                          <a:solidFill>
                            <a:srgbClr val="000000"/>
                          </a:solidFill>
                          <a:latin typeface="+mn-lt"/>
                        </a:rPr>
                        <a:t>Manageable Product Segmentation</a:t>
                      </a:r>
                    </a:p>
                  </a:txBody>
                  <a:tcPr marL="3810" marR="3810" marT="3810" marB="72009" vert="vert270" anchor="ctr">
                    <a:solidFill>
                      <a:schemeClr val="bg1"/>
                    </a:solidFill>
                  </a:tcPr>
                </a:tc>
                <a:tc>
                  <a:txBody>
                    <a:bodyPr/>
                    <a:lstStyle/>
                    <a:p>
                      <a:pPr marL="0" marR="0" lvl="0" indent="0" algn="l" defTabSz="914370" rtl="0" eaLnBrk="1" fontAlgn="ctr" latinLnBrk="0" hangingPunct="1">
                        <a:lnSpc>
                          <a:spcPct val="100000"/>
                        </a:lnSpc>
                        <a:spcBef>
                          <a:spcPts val="0"/>
                        </a:spcBef>
                        <a:spcAft>
                          <a:spcPts val="0"/>
                        </a:spcAft>
                        <a:buClrTx/>
                        <a:buSzTx/>
                        <a:buFontTx/>
                        <a:buNone/>
                        <a:tabLst/>
                        <a:defRPr/>
                      </a:pPr>
                      <a:r>
                        <a:rPr lang="en-GB" sz="1050" b="1" i="0" u="none" strike="noStrike">
                          <a:solidFill>
                            <a:srgbClr val="000000"/>
                          </a:solidFill>
                          <a:effectLst/>
                          <a:latin typeface="Calibri" panose="020F0502020204030204" pitchFamily="34" charset="0"/>
                        </a:rPr>
                        <a:t>4. </a:t>
                      </a:r>
                      <a:r>
                        <a:rPr lang="en-GB" sz="1050">
                          <a:solidFill>
                            <a:srgbClr val="000000"/>
                          </a:solidFill>
                          <a:latin typeface="+mn-lt"/>
                        </a:rPr>
                        <a:t>Inflation-proof pricing</a:t>
                      </a:r>
                    </a:p>
                  </a:txBody>
                  <a:tcPr marL="3810" marR="3810" marT="3810" marB="72009" vert="vert270" anchor="ctr">
                    <a:solidFill>
                      <a:schemeClr val="bg1"/>
                    </a:solidFill>
                  </a:tcPr>
                </a:tc>
                <a:tc>
                  <a:txBody>
                    <a:bodyPr/>
                    <a:lstStyle/>
                    <a:p>
                      <a:pPr marL="0" marR="0" lvl="0" indent="0" algn="l" defTabSz="914370" rtl="0" eaLnBrk="1" fontAlgn="ctr" latinLnBrk="0" hangingPunct="1">
                        <a:lnSpc>
                          <a:spcPct val="100000"/>
                        </a:lnSpc>
                        <a:spcBef>
                          <a:spcPts val="0"/>
                        </a:spcBef>
                        <a:spcAft>
                          <a:spcPts val="0"/>
                        </a:spcAft>
                        <a:buClrTx/>
                        <a:buSzTx/>
                        <a:buFontTx/>
                        <a:buNone/>
                        <a:tabLst/>
                        <a:defRPr/>
                      </a:pPr>
                      <a:r>
                        <a:rPr lang="en-GB" sz="1050" b="1" i="0" u="none" strike="noStrike">
                          <a:solidFill>
                            <a:srgbClr val="000000"/>
                          </a:solidFill>
                          <a:effectLst/>
                          <a:latin typeface="Calibri" panose="020F0502020204030204" pitchFamily="34" charset="0"/>
                        </a:rPr>
                        <a:t>1. </a:t>
                      </a:r>
                      <a:r>
                        <a:rPr lang="en-GB" sz="1050">
                          <a:solidFill>
                            <a:srgbClr val="000000"/>
                          </a:solidFill>
                          <a:latin typeface="+mn-lt"/>
                        </a:rPr>
                        <a:t>Cash is king</a:t>
                      </a:r>
                    </a:p>
                  </a:txBody>
                  <a:tcPr marL="3810" marR="3810" marT="3810" marB="72009" vert="vert27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2. Cost </a:t>
                      </a:r>
                      <a:r>
                        <a:rPr lang="en-GB" sz="1050" b="1" i="0" u="none" strike="noStrike" err="1">
                          <a:solidFill>
                            <a:srgbClr val="000000"/>
                          </a:solidFill>
                          <a:effectLst/>
                          <a:latin typeface="Calibri" panose="020F0502020204030204" pitchFamily="34" charset="0"/>
                        </a:rPr>
                        <a:t>Variabilization</a:t>
                      </a:r>
                      <a:endParaRPr lang="en-GB" sz="1050" b="1" i="0" u="none" strike="noStrike">
                        <a:solidFill>
                          <a:srgbClr val="000000"/>
                        </a:solidFill>
                        <a:effectLst/>
                        <a:latin typeface="Calibri" panose="020F0502020204030204" pitchFamily="34" charset="0"/>
                      </a:endParaRPr>
                    </a:p>
                  </a:txBody>
                  <a:tcPr marL="3810" marR="3810" marT="3810" marB="72009" vert="vert270" anchor="ctr">
                    <a:solidFill>
                      <a:schemeClr val="bg1"/>
                    </a:solidFill>
                  </a:tcPr>
                </a:tc>
                <a:tc>
                  <a:txBody>
                    <a:bodyPr/>
                    <a:lstStyle/>
                    <a:p>
                      <a:pPr marL="0" marR="0" lvl="0" indent="0" algn="l" defTabSz="914370" rtl="0" eaLnBrk="1" fontAlgn="ctr" latinLnBrk="0" hangingPunct="1">
                        <a:lnSpc>
                          <a:spcPct val="100000"/>
                        </a:lnSpc>
                        <a:spcBef>
                          <a:spcPts val="0"/>
                        </a:spcBef>
                        <a:spcAft>
                          <a:spcPts val="0"/>
                        </a:spcAft>
                        <a:buClrTx/>
                        <a:buSzTx/>
                        <a:buFontTx/>
                        <a:buNone/>
                        <a:tabLst/>
                        <a:defRPr/>
                      </a:pPr>
                      <a:r>
                        <a:rPr lang="en-GB" sz="1050" b="1" i="0" u="none" strike="noStrike">
                          <a:solidFill>
                            <a:srgbClr val="000000"/>
                          </a:solidFill>
                          <a:effectLst/>
                          <a:latin typeface="Calibri" panose="020F0502020204030204" pitchFamily="34" charset="0"/>
                        </a:rPr>
                        <a:t>3. </a:t>
                      </a:r>
                      <a:r>
                        <a:rPr lang="en-GB" sz="1050">
                          <a:solidFill>
                            <a:srgbClr val="000000"/>
                          </a:solidFill>
                          <a:latin typeface="+mn-lt"/>
                        </a:rPr>
                        <a:t>Networked organization</a:t>
                      </a:r>
                    </a:p>
                  </a:txBody>
                  <a:tcPr marL="3810" marR="3810" marT="3810" marB="72009" vert="vert27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4. Supply Chain Resilience</a:t>
                      </a:r>
                    </a:p>
                  </a:txBody>
                  <a:tcPr marL="3810" marR="3810" marT="3810" marB="72009" vert="vert27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5. Operating as a specialist</a:t>
                      </a:r>
                    </a:p>
                  </a:txBody>
                  <a:tcPr marL="3810" marR="3810" marT="3810" marB="72009" vert="vert27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1. Platinum customers</a:t>
                      </a:r>
                    </a:p>
                  </a:txBody>
                  <a:tcPr marL="3810" marR="3810" marT="3810" marB="72009" vert="vert270" anchor="ctr">
                    <a:solidFill>
                      <a:schemeClr val="bg1"/>
                    </a:solidFill>
                  </a:tcPr>
                </a:tc>
                <a:tc>
                  <a:txBody>
                    <a:bodyPr/>
                    <a:lstStyle/>
                    <a:p>
                      <a:pPr marL="0" marR="0" lvl="0" indent="0" algn="l" defTabSz="914370" rtl="0" eaLnBrk="1" fontAlgn="ctr" latinLnBrk="0" hangingPunct="1">
                        <a:lnSpc>
                          <a:spcPct val="100000"/>
                        </a:lnSpc>
                        <a:spcBef>
                          <a:spcPts val="0"/>
                        </a:spcBef>
                        <a:spcAft>
                          <a:spcPts val="0"/>
                        </a:spcAft>
                        <a:buClrTx/>
                        <a:buSzTx/>
                        <a:buFontTx/>
                        <a:buNone/>
                        <a:tabLst/>
                        <a:defRPr/>
                      </a:pPr>
                      <a:r>
                        <a:rPr lang="en-GB" sz="1050" b="1" i="0" u="none" strike="noStrike">
                          <a:solidFill>
                            <a:srgbClr val="000000"/>
                          </a:solidFill>
                          <a:effectLst/>
                          <a:latin typeface="Calibri" panose="020F0502020204030204" pitchFamily="34" charset="0"/>
                        </a:rPr>
                        <a:t>2. </a:t>
                      </a:r>
                      <a:r>
                        <a:rPr lang="en-GB" sz="1050">
                          <a:solidFill>
                            <a:srgbClr val="000000"/>
                          </a:solidFill>
                          <a:latin typeface="+mn-lt"/>
                        </a:rPr>
                        <a:t>Scaling through playbooks</a:t>
                      </a:r>
                    </a:p>
                  </a:txBody>
                  <a:tcPr marL="3810" marR="3810" marT="3810" marB="72009" vert="vert270" anchor="ctr">
                    <a:solidFill>
                      <a:schemeClr val="bg1"/>
                    </a:solidFill>
                  </a:tcPr>
                </a:tc>
                <a:tc>
                  <a:txBody>
                    <a:bodyPr/>
                    <a:lstStyle/>
                    <a:p>
                      <a:pPr algn="l" rtl="0" fontAlgn="ctr"/>
                      <a:r>
                        <a:rPr lang="en-GB" sz="1050" b="1" i="0" u="none" strike="noStrike">
                          <a:solidFill>
                            <a:srgbClr val="000000"/>
                          </a:solidFill>
                          <a:effectLst/>
                          <a:latin typeface="Calibri" panose="020F0502020204030204" pitchFamily="34" charset="0"/>
                        </a:rPr>
                        <a:t>3. Adaptive Decision Making</a:t>
                      </a:r>
                    </a:p>
                  </a:txBody>
                  <a:tcPr marL="3810" marR="3810" marT="3810" marB="72009" vert="vert270" anchor="ctr">
                    <a:solidFill>
                      <a:schemeClr val="bg1"/>
                    </a:solidFill>
                  </a:tcPr>
                </a:tc>
                <a:tc>
                  <a:txBody>
                    <a:bodyPr/>
                    <a:lstStyle/>
                    <a:p>
                      <a:pPr marL="0" marR="0" lvl="0" indent="0" algn="l" defTabSz="914370" rtl="0" eaLnBrk="1" fontAlgn="ctr" latinLnBrk="0" hangingPunct="1">
                        <a:lnSpc>
                          <a:spcPct val="100000"/>
                        </a:lnSpc>
                        <a:spcBef>
                          <a:spcPts val="0"/>
                        </a:spcBef>
                        <a:spcAft>
                          <a:spcPts val="0"/>
                        </a:spcAft>
                        <a:buClrTx/>
                        <a:buSzTx/>
                        <a:buFontTx/>
                        <a:buNone/>
                        <a:tabLst/>
                        <a:defRPr/>
                      </a:pPr>
                      <a:r>
                        <a:rPr lang="en-GB" sz="1050" b="1" i="0" u="none" strike="noStrike">
                          <a:solidFill>
                            <a:srgbClr val="000000"/>
                          </a:solidFill>
                          <a:effectLst/>
                          <a:latin typeface="Calibri" panose="020F0502020204030204" pitchFamily="34" charset="0"/>
                        </a:rPr>
                        <a:t>4. </a:t>
                      </a:r>
                      <a:r>
                        <a:rPr lang="en-GB" sz="1050">
                          <a:solidFill>
                            <a:srgbClr val="000000"/>
                          </a:solidFill>
                          <a:latin typeface="+mn-lt"/>
                        </a:rPr>
                        <a:t>Talent-driven culture</a:t>
                      </a:r>
                      <a:endParaRPr kumimoji="0" lang="en-GB" sz="1050" i="0" u="none" strike="noStrike" kern="1200" cap="none" spc="0" normalizeH="0" baseline="0" noProof="0">
                        <a:ln>
                          <a:noFill/>
                        </a:ln>
                        <a:solidFill>
                          <a:srgbClr val="000000"/>
                        </a:solidFill>
                        <a:effectLst/>
                        <a:uLnTx/>
                        <a:uFillTx/>
                        <a:latin typeface="+mn-lt"/>
                        <a:ea typeface="+mn-ea"/>
                        <a:cs typeface="+mn-cs"/>
                      </a:endParaRPr>
                    </a:p>
                  </a:txBody>
                  <a:tcPr marL="3810" marR="3810" marT="3810" marB="72009" vert="vert270" anchor="ctr">
                    <a:solidFill>
                      <a:schemeClr val="bg1"/>
                    </a:solidFill>
                  </a:tcPr>
                </a:tc>
                <a:tc>
                  <a:txBody>
                    <a:bodyPr/>
                    <a:lstStyle/>
                    <a:p>
                      <a:pPr marL="0" marR="0" lvl="0" indent="0" algn="l" defTabSz="914370" rtl="0" eaLnBrk="1" fontAlgn="ctr" latinLnBrk="0" hangingPunct="1">
                        <a:lnSpc>
                          <a:spcPct val="100000"/>
                        </a:lnSpc>
                        <a:spcBef>
                          <a:spcPts val="0"/>
                        </a:spcBef>
                        <a:spcAft>
                          <a:spcPts val="0"/>
                        </a:spcAft>
                        <a:buClrTx/>
                        <a:buSzTx/>
                        <a:buFontTx/>
                        <a:buNone/>
                        <a:tabLst/>
                        <a:defRPr/>
                      </a:pPr>
                      <a:r>
                        <a:rPr kumimoji="0" lang="en-GB" sz="1050" i="0" u="none" strike="noStrike" kern="1200" cap="none" spc="0" normalizeH="0" baseline="0" noProof="0">
                          <a:ln>
                            <a:noFill/>
                          </a:ln>
                          <a:solidFill>
                            <a:srgbClr val="000000"/>
                          </a:solidFill>
                          <a:effectLst/>
                          <a:uLnTx/>
                          <a:uFillTx/>
                          <a:latin typeface="+mn-lt"/>
                          <a:ea typeface="+mn-ea"/>
                          <a:cs typeface="+mn-cs"/>
                        </a:rPr>
                        <a:t>5. Autonomous crisis response</a:t>
                      </a:r>
                    </a:p>
                  </a:txBody>
                  <a:tcPr marL="3810" marR="3810" marT="3810" marB="72009" vert="vert270" anchor="ctr">
                    <a:solidFill>
                      <a:schemeClr val="bg1"/>
                    </a:solidFill>
                  </a:tcPr>
                </a:tc>
                <a:extLst>
                  <a:ext uri="{0D108BD9-81ED-4DB2-BD59-A6C34878D82A}">
                    <a16:rowId xmlns:a16="http://schemas.microsoft.com/office/drawing/2014/main" val="297292475"/>
                  </a:ext>
                </a:extLst>
              </a:tr>
              <a:tr h="261520">
                <a:tc rowSpan="4">
                  <a:txBody>
                    <a:bodyPr/>
                    <a:lstStyle/>
                    <a:p>
                      <a:pPr algn="l" rtl="0" fontAlgn="ctr"/>
                      <a:r>
                        <a:rPr lang="en-GB" sz="1200" b="1" i="0" u="none" strike="noStrike">
                          <a:solidFill>
                            <a:srgbClr val="000000"/>
                          </a:solidFill>
                          <a:effectLst/>
                          <a:latin typeface="+mj-lt"/>
                          <a:ea typeface="+mj-ea"/>
                          <a:cs typeface="+mj-cs"/>
                        </a:rPr>
                        <a:t>Evolving </a:t>
                      </a:r>
                      <a:br>
                        <a:rPr lang="en-GB" sz="1200" b="1" i="0" u="none" strike="noStrike">
                          <a:solidFill>
                            <a:srgbClr val="000000"/>
                          </a:solidFill>
                          <a:effectLst/>
                          <a:latin typeface="+mj-lt"/>
                          <a:ea typeface="+mj-ea"/>
                          <a:cs typeface="+mj-cs"/>
                        </a:rPr>
                      </a:br>
                      <a:r>
                        <a:rPr lang="en-GB" sz="1200" b="1" i="0" u="none" strike="noStrike">
                          <a:solidFill>
                            <a:srgbClr val="000000"/>
                          </a:solidFill>
                          <a:effectLst/>
                          <a:latin typeface="+mj-lt"/>
                          <a:ea typeface="+mj-ea"/>
                          <a:cs typeface="+mj-cs"/>
                        </a:rPr>
                        <a:t>Cable </a:t>
                      </a:r>
                      <a:br>
                        <a:rPr lang="en-GB" sz="1200" b="1" i="0" u="none" strike="noStrike">
                          <a:solidFill>
                            <a:srgbClr val="000000"/>
                          </a:solidFill>
                          <a:effectLst/>
                          <a:latin typeface="+mj-lt"/>
                          <a:ea typeface="+mj-ea"/>
                          <a:cs typeface="+mj-cs"/>
                        </a:rPr>
                      </a:br>
                      <a:r>
                        <a:rPr lang="en-GB" sz="1200" b="1" i="0" u="none" strike="noStrike">
                          <a:solidFill>
                            <a:srgbClr val="000000"/>
                          </a:solidFill>
                          <a:effectLst/>
                          <a:latin typeface="+mj-lt"/>
                          <a:ea typeface="+mj-ea"/>
                          <a:cs typeface="+mj-cs"/>
                        </a:rPr>
                        <a:t>Industry</a:t>
                      </a:r>
                    </a:p>
                  </a:txBody>
                  <a:tcPr marL="75819" marR="3810" marT="3810" marB="0" anchor="ctr">
                    <a:solidFill>
                      <a:srgbClr val="E2F6FF"/>
                    </a:solidFill>
                  </a:tcPr>
                </a:tc>
                <a:tc>
                  <a:txBody>
                    <a:bodyPr/>
                    <a:lstStyle/>
                    <a:p>
                      <a:pPr algn="l" rtl="0" fontAlgn="ctr"/>
                      <a:r>
                        <a:rPr lang="en-GB" sz="1050" b="1" i="0" u="none" strike="noStrike">
                          <a:solidFill>
                            <a:srgbClr val="000000"/>
                          </a:solidFill>
                          <a:effectLst/>
                          <a:latin typeface="Calibri" panose="020F0502020204030204" pitchFamily="34" charset="0"/>
                        </a:rPr>
                        <a:t>Grid Dynamics</a:t>
                      </a:r>
                    </a:p>
                  </a:txBody>
                  <a:tcPr marL="3810" marR="3810" marT="3810" marB="0" anchor="ctr">
                    <a:solidFill>
                      <a:srgbClr val="E2F6FF"/>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extLst>
                  <a:ext uri="{0D108BD9-81ED-4DB2-BD59-A6C34878D82A}">
                    <a16:rowId xmlns:a16="http://schemas.microsoft.com/office/drawing/2014/main" val="1468659515"/>
                  </a:ext>
                </a:extLst>
              </a:tr>
              <a:tr h="261520">
                <a:tc vMerge="1">
                  <a:txBody>
                    <a:bodyPr/>
                    <a:lstStyle/>
                    <a:p>
                      <a:pPr algn="l" rtl="0" fontAlgn="ctr"/>
                      <a:endParaRPr lang="fr-FR" sz="1100" b="1" i="0" u="none" strike="noStrike">
                        <a:solidFill>
                          <a:srgbClr val="000000"/>
                        </a:solidFill>
                        <a:effectLst/>
                        <a:latin typeface="Calibri" panose="020F0502020204030204" pitchFamily="34" charset="0"/>
                      </a:endParaRPr>
                    </a:p>
                  </a:txBody>
                  <a:tcPr marL="3810" marR="3810" marT="3810" marB="0" anchor="ctr">
                    <a:solidFill>
                      <a:srgbClr val="E2F6FF"/>
                    </a:solidFill>
                  </a:tcPr>
                </a:tc>
                <a:tc>
                  <a:txBody>
                    <a:bodyPr/>
                    <a:lstStyle/>
                    <a:p>
                      <a:pPr algn="l" rtl="0" fontAlgn="ctr"/>
                      <a:r>
                        <a:rPr lang="en-GB" sz="1050" b="1" i="0" u="none" strike="noStrike">
                          <a:solidFill>
                            <a:srgbClr val="000000"/>
                          </a:solidFill>
                          <a:effectLst/>
                          <a:latin typeface="Calibri" panose="020F0502020204030204" pitchFamily="34" charset="0"/>
                        </a:rPr>
                        <a:t>Resource crisis</a:t>
                      </a:r>
                    </a:p>
                  </a:txBody>
                  <a:tcPr marL="3810" marR="3810" marT="3810" marB="0" anchor="ctr">
                    <a:solidFill>
                      <a:srgbClr val="E2F6FF"/>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2F6FF"/>
                    </a:solidFill>
                  </a:tcPr>
                </a:tc>
                <a:extLst>
                  <a:ext uri="{0D108BD9-81ED-4DB2-BD59-A6C34878D82A}">
                    <a16:rowId xmlns:a16="http://schemas.microsoft.com/office/drawing/2014/main" val="1264591997"/>
                  </a:ext>
                </a:extLst>
              </a:tr>
              <a:tr h="261520">
                <a:tc vMerge="1">
                  <a:txBody>
                    <a:bodyPr/>
                    <a:lstStyle/>
                    <a:p>
                      <a:pPr algn="l" rtl="0" fontAlgn="ctr"/>
                      <a:endParaRPr lang="fr-FR" sz="1100" b="1" i="0" u="none" strike="noStrike">
                        <a:solidFill>
                          <a:srgbClr val="000000"/>
                        </a:solidFill>
                        <a:effectLst/>
                        <a:latin typeface="Calibri" panose="020F0502020204030204" pitchFamily="34" charset="0"/>
                      </a:endParaRPr>
                    </a:p>
                  </a:txBody>
                  <a:tcPr marL="3810" marR="3810" marT="3810" marB="0" anchor="ctr">
                    <a:solidFill>
                      <a:srgbClr val="E2F6FF"/>
                    </a:solidFill>
                  </a:tcPr>
                </a:tc>
                <a:tc>
                  <a:txBody>
                    <a:bodyPr/>
                    <a:lstStyle/>
                    <a:p>
                      <a:pPr algn="l" rtl="0" fontAlgn="ctr"/>
                      <a:r>
                        <a:rPr lang="en-GB" sz="1050" b="1" i="0" u="none" strike="noStrike">
                          <a:solidFill>
                            <a:srgbClr val="000000"/>
                          </a:solidFill>
                          <a:effectLst/>
                          <a:latin typeface="Calibri" panose="020F0502020204030204" pitchFamily="34" charset="0"/>
                        </a:rPr>
                        <a:t>Commoditization</a:t>
                      </a:r>
                    </a:p>
                  </a:txBody>
                  <a:tcPr marL="3810" marR="3810" marT="381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2F6FF"/>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2F6FF"/>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2F6FF"/>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2F6FF"/>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extLst>
                  <a:ext uri="{0D108BD9-81ED-4DB2-BD59-A6C34878D82A}">
                    <a16:rowId xmlns:a16="http://schemas.microsoft.com/office/drawing/2014/main" val="3794057591"/>
                  </a:ext>
                </a:extLst>
              </a:tr>
              <a:tr h="261520">
                <a:tc vMerge="1">
                  <a:txBody>
                    <a:bodyPr/>
                    <a:lstStyle/>
                    <a:p>
                      <a:pPr algn="l" rtl="0" fontAlgn="ctr"/>
                      <a:endParaRPr lang="fr-FR" sz="1100" b="1" i="0" u="none" strike="noStrike">
                        <a:solidFill>
                          <a:srgbClr val="000000"/>
                        </a:solidFill>
                        <a:effectLst/>
                        <a:latin typeface="Calibri" panose="020F0502020204030204" pitchFamily="34" charset="0"/>
                      </a:endParaRPr>
                    </a:p>
                  </a:txBody>
                  <a:tcPr marL="3810" marR="3810" marT="3810" marB="0" anchor="ctr">
                    <a:solidFill>
                      <a:srgbClr val="E2F6FF"/>
                    </a:solidFill>
                  </a:tcPr>
                </a:tc>
                <a:tc>
                  <a:txBody>
                    <a:bodyPr/>
                    <a:lstStyle/>
                    <a:p>
                      <a:pPr algn="l" rtl="0" fontAlgn="ctr"/>
                      <a:r>
                        <a:rPr lang="en-GB" sz="1050" b="1" i="0" u="none" strike="noStrike">
                          <a:solidFill>
                            <a:srgbClr val="000000"/>
                          </a:solidFill>
                          <a:effectLst/>
                          <a:latin typeface="Calibri" panose="020F0502020204030204" pitchFamily="34" charset="0"/>
                        </a:rPr>
                        <a:t>Strategic consolidation</a:t>
                      </a:r>
                    </a:p>
                  </a:txBody>
                  <a:tcPr marL="3810" marR="3810" marT="3810" marB="0" anchor="ctr">
                    <a:solidFill>
                      <a:srgbClr val="E2F6FF"/>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2F6FF"/>
                    </a:solidFill>
                  </a:tcPr>
                </a:tc>
                <a:extLst>
                  <a:ext uri="{0D108BD9-81ED-4DB2-BD59-A6C34878D82A}">
                    <a16:rowId xmlns:a16="http://schemas.microsoft.com/office/drawing/2014/main" val="1432780971"/>
                  </a:ext>
                </a:extLst>
              </a:tr>
              <a:tr h="318172">
                <a:tc rowSpan="3">
                  <a:txBody>
                    <a:bodyPr/>
                    <a:lstStyle/>
                    <a:p>
                      <a:pPr algn="l" rtl="0" fontAlgn="ctr"/>
                      <a:r>
                        <a:rPr lang="en-GB" sz="1200" b="1" i="0" u="none" strike="noStrike">
                          <a:solidFill>
                            <a:srgbClr val="000000"/>
                          </a:solidFill>
                          <a:effectLst/>
                          <a:latin typeface="+mj-lt"/>
                          <a:ea typeface="+mj-ea"/>
                          <a:cs typeface="+mj-cs"/>
                        </a:rPr>
                        <a:t>New World </a:t>
                      </a:r>
                      <a:br>
                        <a:rPr lang="en-GB" sz="1200" b="1" i="0" u="none" strike="noStrike">
                          <a:solidFill>
                            <a:srgbClr val="000000"/>
                          </a:solidFill>
                          <a:effectLst/>
                          <a:latin typeface="+mj-lt"/>
                          <a:ea typeface="+mj-ea"/>
                          <a:cs typeface="+mj-cs"/>
                        </a:rPr>
                      </a:br>
                      <a:r>
                        <a:rPr lang="en-GB" sz="1200" b="1" i="0" u="none" strike="noStrike">
                          <a:solidFill>
                            <a:srgbClr val="000000"/>
                          </a:solidFill>
                          <a:effectLst/>
                          <a:latin typeface="+mj-lt"/>
                          <a:ea typeface="+mj-ea"/>
                          <a:cs typeface="+mj-cs"/>
                        </a:rPr>
                        <a:t>Order</a:t>
                      </a:r>
                    </a:p>
                  </a:txBody>
                  <a:tcPr marL="75819" marR="3810" marT="3810" marB="0" anchor="ctr">
                    <a:solidFill>
                      <a:srgbClr val="F2F2F2"/>
                    </a:solidFill>
                  </a:tcPr>
                </a:tc>
                <a:tc>
                  <a:txBody>
                    <a:bodyPr/>
                    <a:lstStyle/>
                    <a:p>
                      <a:pPr algn="l" rtl="0" fontAlgn="ctr"/>
                      <a:r>
                        <a:rPr lang="en-GB" sz="1050" b="1" i="0" u="none" strike="noStrike">
                          <a:solidFill>
                            <a:srgbClr val="000000"/>
                          </a:solidFill>
                          <a:effectLst/>
                          <a:latin typeface="Calibri" panose="020F0502020204030204" pitchFamily="34" charset="0"/>
                        </a:rPr>
                        <a:t>Geopolitical tension in Asia</a:t>
                      </a:r>
                    </a:p>
                  </a:txBody>
                  <a:tcPr marL="3810" marR="3810" marT="381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F2F2F2"/>
                    </a:solidFill>
                  </a:tcPr>
                </a:tc>
                <a:extLst>
                  <a:ext uri="{0D108BD9-81ED-4DB2-BD59-A6C34878D82A}">
                    <a16:rowId xmlns:a16="http://schemas.microsoft.com/office/drawing/2014/main" val="3693890047"/>
                  </a:ext>
                </a:extLst>
              </a:tr>
              <a:tr h="234978">
                <a:tc vMerge="1">
                  <a:txBody>
                    <a:bodyPr/>
                    <a:lstStyle/>
                    <a:p>
                      <a:pPr algn="l" rtl="0" fontAlgn="ctr"/>
                      <a:endParaRPr lang="fr-FR" sz="1100" b="1" i="0" u="none" strike="noStrike">
                        <a:solidFill>
                          <a:srgbClr val="000000"/>
                        </a:solidFill>
                        <a:effectLst/>
                        <a:latin typeface="Calibri" panose="020F0502020204030204" pitchFamily="34" charset="0"/>
                      </a:endParaRPr>
                    </a:p>
                  </a:txBody>
                  <a:tcPr marL="3810" marR="3810" marT="3810" marB="0" anchor="ctr">
                    <a:solidFill>
                      <a:srgbClr val="F2F2F2"/>
                    </a:solidFill>
                  </a:tcPr>
                </a:tc>
                <a:tc>
                  <a:txBody>
                    <a:bodyPr/>
                    <a:lstStyle/>
                    <a:p>
                      <a:pPr algn="l" rtl="0" fontAlgn="ctr"/>
                      <a:r>
                        <a:rPr lang="en-GB" sz="1050" b="1" i="0" u="none" strike="noStrike">
                          <a:solidFill>
                            <a:srgbClr val="000000"/>
                          </a:solidFill>
                          <a:effectLst/>
                          <a:latin typeface="Calibri" panose="020F0502020204030204" pitchFamily="34" charset="0"/>
                        </a:rPr>
                        <a:t>Natural hazards</a:t>
                      </a:r>
                    </a:p>
                  </a:txBody>
                  <a:tcPr marL="3810" marR="3810" marT="3810" marB="0" anchor="ctr">
                    <a:solidFill>
                      <a:srgbClr val="F2F2F2"/>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F2F2F2"/>
                    </a:solidFill>
                  </a:tcPr>
                </a:tc>
                <a:extLst>
                  <a:ext uri="{0D108BD9-81ED-4DB2-BD59-A6C34878D82A}">
                    <a16:rowId xmlns:a16="http://schemas.microsoft.com/office/drawing/2014/main" val="1299711834"/>
                  </a:ext>
                </a:extLst>
              </a:tr>
              <a:tr h="234978">
                <a:tc vMerge="1">
                  <a:txBody>
                    <a:bodyPr/>
                    <a:lstStyle/>
                    <a:p>
                      <a:pPr algn="l" rtl="0" fontAlgn="ctr"/>
                      <a:endParaRPr lang="fr-FR" sz="1100" b="1" i="0" u="none" strike="noStrike">
                        <a:solidFill>
                          <a:srgbClr val="000000"/>
                        </a:solidFill>
                        <a:effectLst/>
                        <a:latin typeface="Calibri" panose="020F0502020204030204" pitchFamily="34" charset="0"/>
                      </a:endParaRPr>
                    </a:p>
                  </a:txBody>
                  <a:tcPr marL="3810" marR="3810" marT="3810" marB="0" anchor="ctr">
                    <a:solidFill>
                      <a:srgbClr val="F2F2F2"/>
                    </a:solidFill>
                  </a:tcPr>
                </a:tc>
                <a:tc>
                  <a:txBody>
                    <a:bodyPr/>
                    <a:lstStyle/>
                    <a:p>
                      <a:pPr algn="l" rtl="0" fontAlgn="ctr"/>
                      <a:r>
                        <a:rPr lang="en-GB" sz="1050" b="1" i="0" u="none" strike="noStrike">
                          <a:solidFill>
                            <a:srgbClr val="000000"/>
                          </a:solidFill>
                          <a:effectLst/>
                          <a:latin typeface="Calibri" panose="020F0502020204030204" pitchFamily="34" charset="0"/>
                        </a:rPr>
                        <a:t>Compliance</a:t>
                      </a:r>
                    </a:p>
                  </a:txBody>
                  <a:tcPr marL="3810" marR="3810" marT="381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F2F2F2"/>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F2F2F2"/>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F2F2F2"/>
                    </a:solidFill>
                  </a:tcPr>
                </a:tc>
                <a:extLst>
                  <a:ext uri="{0D108BD9-81ED-4DB2-BD59-A6C34878D82A}">
                    <a16:rowId xmlns:a16="http://schemas.microsoft.com/office/drawing/2014/main" val="1015515625"/>
                  </a:ext>
                </a:extLst>
              </a:tr>
              <a:tr h="234978">
                <a:tc rowSpan="4">
                  <a:txBody>
                    <a:bodyPr/>
                    <a:lstStyle/>
                    <a:p>
                      <a:pPr algn="l" rtl="0" fontAlgn="ctr"/>
                      <a:r>
                        <a:rPr lang="en-GB" sz="1200" b="1" i="0" u="none" strike="noStrike">
                          <a:solidFill>
                            <a:srgbClr val="000000"/>
                          </a:solidFill>
                          <a:effectLst/>
                          <a:latin typeface="+mj-lt"/>
                          <a:ea typeface="+mj-ea"/>
                          <a:cs typeface="+mj-cs"/>
                        </a:rPr>
                        <a:t>Amplified Volatility</a:t>
                      </a:r>
                    </a:p>
                  </a:txBody>
                  <a:tcPr marL="75819" marR="3810" marT="3810" marB="0" anchor="ctr">
                    <a:solidFill>
                      <a:srgbClr val="E4F4E9"/>
                    </a:solidFill>
                  </a:tcPr>
                </a:tc>
                <a:tc>
                  <a:txBody>
                    <a:bodyPr/>
                    <a:lstStyle/>
                    <a:p>
                      <a:pPr algn="l" rtl="0" fontAlgn="ctr"/>
                      <a:r>
                        <a:rPr lang="en-GB" sz="1050" b="1" i="0" u="none" strike="noStrike">
                          <a:solidFill>
                            <a:srgbClr val="000000"/>
                          </a:solidFill>
                          <a:effectLst/>
                          <a:latin typeface="Calibri" panose="020F0502020204030204" pitchFamily="34" charset="0"/>
                        </a:rPr>
                        <a:t>Volatile inflation</a:t>
                      </a:r>
                    </a:p>
                  </a:txBody>
                  <a:tcPr marL="3810" marR="3810" marT="381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4F4E9"/>
                    </a:solidFill>
                  </a:tcPr>
                </a:tc>
                <a:extLst>
                  <a:ext uri="{0D108BD9-81ED-4DB2-BD59-A6C34878D82A}">
                    <a16:rowId xmlns:a16="http://schemas.microsoft.com/office/drawing/2014/main" val="2070551127"/>
                  </a:ext>
                </a:extLst>
              </a:tr>
              <a:tr h="318172">
                <a:tc vMerge="1">
                  <a:txBody>
                    <a:bodyPr/>
                    <a:lstStyle/>
                    <a:p>
                      <a:pPr>
                        <a:spcAft>
                          <a:spcPts val="300"/>
                        </a:spcAft>
                      </a:pPr>
                      <a:endParaRPr lang="en-US" sz="1100" b="1" kern="0">
                        <a:solidFill>
                          <a:schemeClr val="tx1"/>
                        </a:solidFill>
                        <a:latin typeface="+mn-lt"/>
                        <a:ea typeface="+mn-ea"/>
                        <a:cs typeface="+mn-cs"/>
                      </a:endParaRPr>
                    </a:p>
                  </a:txBody>
                  <a:tcPr marL="3810" marR="3810" marT="3810" marB="0" anchor="ctr">
                    <a:solidFill>
                      <a:srgbClr val="E4F4E9"/>
                    </a:solidFill>
                  </a:tcPr>
                </a:tc>
                <a:tc>
                  <a:txBody>
                    <a:bodyPr/>
                    <a:lstStyle/>
                    <a:p>
                      <a:pPr rtl="0">
                        <a:spcAft>
                          <a:spcPts val="300"/>
                        </a:spcAft>
                      </a:pPr>
                      <a:r>
                        <a:rPr lang="en-GB" sz="1050" b="1" kern="0">
                          <a:solidFill>
                            <a:schemeClr val="tx1"/>
                          </a:solidFill>
                          <a:latin typeface="+mn-lt"/>
                          <a:ea typeface="+mn-ea"/>
                          <a:cs typeface="+mn-cs"/>
                        </a:rPr>
                        <a:t>Economic or financial crisis</a:t>
                      </a:r>
                    </a:p>
                  </a:txBody>
                  <a:tcPr marL="3810" marR="3810" marT="381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extLst>
                  <a:ext uri="{0D108BD9-81ED-4DB2-BD59-A6C34878D82A}">
                    <a16:rowId xmlns:a16="http://schemas.microsoft.com/office/drawing/2014/main" val="3404143034"/>
                  </a:ext>
                </a:extLst>
              </a:tr>
              <a:tr h="234978">
                <a:tc vMerge="1">
                  <a:txBody>
                    <a:bodyPr/>
                    <a:lstStyle/>
                    <a:p>
                      <a:pPr algn="l" rtl="0" fontAlgn="ctr"/>
                      <a:endParaRPr lang="fr-FR" sz="1100" b="1" i="0" u="none" strike="noStrike">
                        <a:solidFill>
                          <a:srgbClr val="000000"/>
                        </a:solidFill>
                        <a:effectLst/>
                        <a:latin typeface="Calibri" panose="020F0502020204030204" pitchFamily="34" charset="0"/>
                      </a:endParaRPr>
                    </a:p>
                  </a:txBody>
                  <a:tcPr marL="3810" marR="3810" marT="3810" marB="0" anchor="ctr">
                    <a:solidFill>
                      <a:srgbClr val="E4F4E9"/>
                    </a:solidFill>
                  </a:tcPr>
                </a:tc>
                <a:tc>
                  <a:txBody>
                    <a:bodyPr/>
                    <a:lstStyle/>
                    <a:p>
                      <a:pPr algn="l" rtl="0" fontAlgn="ctr"/>
                      <a:r>
                        <a:rPr lang="en-GB" sz="1050" b="1" i="0" u="none" strike="noStrike">
                          <a:solidFill>
                            <a:srgbClr val="000000"/>
                          </a:solidFill>
                          <a:effectLst/>
                          <a:latin typeface="Calibri" panose="020F0502020204030204" pitchFamily="34" charset="0"/>
                        </a:rPr>
                        <a:t>War for Talent</a:t>
                      </a:r>
                    </a:p>
                  </a:txBody>
                  <a:tcPr marL="3810" marR="3810" marT="381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 </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4F4E9"/>
                    </a:solidFill>
                  </a:tcPr>
                </a:tc>
                <a:extLst>
                  <a:ext uri="{0D108BD9-81ED-4DB2-BD59-A6C34878D82A}">
                    <a16:rowId xmlns:a16="http://schemas.microsoft.com/office/drawing/2014/main" val="2649892581"/>
                  </a:ext>
                </a:extLst>
              </a:tr>
              <a:tr h="234978">
                <a:tc vMerge="1">
                  <a:txBody>
                    <a:bodyPr/>
                    <a:lstStyle/>
                    <a:p>
                      <a:pPr algn="l" rtl="0" fontAlgn="ctr"/>
                      <a:endParaRPr lang="en-GB" sz="1200" b="1" i="0" u="none" strike="noStrike">
                        <a:solidFill>
                          <a:srgbClr val="000000"/>
                        </a:solidFill>
                        <a:effectLst/>
                        <a:latin typeface="+mj-lt"/>
                        <a:ea typeface="+mj-ea"/>
                        <a:cs typeface="+mj-cs"/>
                      </a:endParaRPr>
                    </a:p>
                  </a:txBody>
                  <a:tcPr marL="75819" marR="3810" marT="3810" marB="0" anchor="ctr">
                    <a:solidFill>
                      <a:srgbClr val="E4F4E9"/>
                    </a:solidFill>
                  </a:tcPr>
                </a:tc>
                <a:tc>
                  <a:txBody>
                    <a:bodyPr/>
                    <a:lstStyle/>
                    <a:p>
                      <a:pPr algn="l" rtl="0" fontAlgn="ctr"/>
                      <a:r>
                        <a:rPr lang="en-GB" sz="1050" b="1" i="0" u="none" strike="noStrike">
                          <a:solidFill>
                            <a:srgbClr val="000000"/>
                          </a:solidFill>
                          <a:effectLst/>
                          <a:latin typeface="Calibri" panose="020F0502020204030204" pitchFamily="34" charset="0"/>
                        </a:rPr>
                        <a:t>Cyber, AI, Automation</a:t>
                      </a:r>
                    </a:p>
                  </a:txBody>
                  <a:tcPr marL="3810" marR="3810" marT="381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t"/>
                      <a:r>
                        <a:rPr lang="en-GB" sz="1050" b="1" i="0" u="none" strike="noStrike">
                          <a:solidFill>
                            <a:srgbClr val="000000"/>
                          </a:solidFill>
                          <a:effectLst/>
                          <a:latin typeface="Arial" panose="020B0604020202020204" pitchFamily="34" charset="0"/>
                        </a:rPr>
                        <a:t>x</a:t>
                      </a:r>
                    </a:p>
                  </a:txBody>
                  <a:tcPr marL="0" marR="0" marT="0" marB="0" anchor="ctr">
                    <a:solidFill>
                      <a:srgbClr val="E4F4E9"/>
                    </a:solidFill>
                  </a:tcPr>
                </a:tc>
                <a:tc>
                  <a:txBody>
                    <a:bodyPr/>
                    <a:lstStyle/>
                    <a:p>
                      <a:pPr algn="ctr" rtl="0" fontAlgn="ctr"/>
                      <a:endParaRPr lang="en-GB" sz="1050" b="1" i="0" u="none" strike="noStrike">
                        <a:solidFill>
                          <a:srgbClr val="000000"/>
                        </a:solidFill>
                        <a:effectLst/>
                        <a:latin typeface="Calibri" panose="020F0502020204030204" pitchFamily="34" charset="0"/>
                      </a:endParaRPr>
                    </a:p>
                  </a:txBody>
                  <a:tcPr marL="0" marR="0" marT="0" marB="0" anchor="ctr">
                    <a:solidFill>
                      <a:srgbClr val="E4F4E9"/>
                    </a:solidFill>
                  </a:tcPr>
                </a:tc>
                <a:tc>
                  <a:txBody>
                    <a:bodyPr/>
                    <a:lstStyle/>
                    <a:p>
                      <a:pPr algn="ctr" rtl="0" fontAlgn="t"/>
                      <a:endParaRPr lang="en-GB" sz="1050" b="1" i="0" u="none" strike="noStrike">
                        <a:solidFill>
                          <a:srgbClr val="000000"/>
                        </a:solidFill>
                        <a:effectLst/>
                        <a:latin typeface="Arial" panose="020B0604020202020204" pitchFamily="34" charset="0"/>
                      </a:endParaRP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tc>
                  <a:txBody>
                    <a:bodyPr/>
                    <a:lstStyle/>
                    <a:p>
                      <a:pPr algn="ctr" rtl="0" fontAlgn="ctr"/>
                      <a:r>
                        <a:rPr lang="en-GB" sz="1050" b="1" i="0" u="none" strike="noStrike">
                          <a:solidFill>
                            <a:srgbClr val="000000"/>
                          </a:solidFill>
                          <a:effectLst/>
                          <a:latin typeface="Calibri" panose="020F0502020204030204" pitchFamily="34" charset="0"/>
                        </a:rPr>
                        <a:t>x</a:t>
                      </a:r>
                    </a:p>
                  </a:txBody>
                  <a:tcPr marL="0" marR="0" marT="0" marB="0" anchor="ctr">
                    <a:solidFill>
                      <a:srgbClr val="E4F4E9"/>
                    </a:solidFill>
                  </a:tcPr>
                </a:tc>
                <a:extLst>
                  <a:ext uri="{0D108BD9-81ED-4DB2-BD59-A6C34878D82A}">
                    <a16:rowId xmlns:a16="http://schemas.microsoft.com/office/drawing/2014/main" val="2639564306"/>
                  </a:ext>
                </a:extLst>
              </a:tr>
            </a:tbl>
          </a:graphicData>
        </a:graphic>
      </p:graphicFrame>
      <p:cxnSp>
        <p:nvCxnSpPr>
          <p:cNvPr id="76" name="Straight Connector 75">
            <a:extLst>
              <a:ext uri="{FF2B5EF4-FFF2-40B4-BE49-F238E27FC236}">
                <a16:creationId xmlns:a16="http://schemas.microsoft.com/office/drawing/2014/main" id="{E2019EEA-33CC-60D6-182D-502C810B6ACC}"/>
              </a:ext>
            </a:extLst>
          </p:cNvPr>
          <p:cNvCxnSpPr>
            <a:cxnSpLocks/>
          </p:cNvCxnSpPr>
          <p:nvPr/>
        </p:nvCxnSpPr>
        <p:spPr>
          <a:xfrm>
            <a:off x="515632" y="3456525"/>
            <a:ext cx="2496926" cy="0"/>
          </a:xfrm>
          <a:prstGeom prst="line">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F9A433A-EBEC-20CE-98E4-565CF938EA40}"/>
              </a:ext>
            </a:extLst>
          </p:cNvPr>
          <p:cNvSpPr/>
          <p:nvPr/>
        </p:nvSpPr>
        <p:spPr>
          <a:xfrm>
            <a:off x="10218317" y="738055"/>
            <a:ext cx="1516483" cy="404946"/>
          </a:xfrm>
          <a:prstGeom prst="rect">
            <a:avLst/>
          </a:prstGeom>
          <a:solidFill>
            <a:schemeClr val="bg1"/>
          </a:solidFill>
          <a:ln w="1905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200" kern="0">
                <a:solidFill>
                  <a:srgbClr val="FF0000"/>
                </a:solidFill>
              </a:rPr>
              <a:t>Not to be displayed during the workshop</a:t>
            </a:r>
          </a:p>
        </p:txBody>
      </p:sp>
      <p:sp>
        <p:nvSpPr>
          <p:cNvPr id="31" name="TextBox 30">
            <a:extLst>
              <a:ext uri="{FF2B5EF4-FFF2-40B4-BE49-F238E27FC236}">
                <a16:creationId xmlns:a16="http://schemas.microsoft.com/office/drawing/2014/main" id="{8ACE70ED-1D36-5A6F-D324-F4CEC8FB9035}"/>
              </a:ext>
            </a:extLst>
          </p:cNvPr>
          <p:cNvSpPr txBox="1"/>
          <p:nvPr/>
        </p:nvSpPr>
        <p:spPr>
          <a:xfrm>
            <a:off x="3175593" y="1320341"/>
            <a:ext cx="1407640" cy="381342"/>
          </a:xfrm>
          <a:prstGeom prst="rect">
            <a:avLst/>
          </a:prstGeom>
          <a:solidFill>
            <a:schemeClr val="accent1">
              <a:lumMod val="75000"/>
            </a:schemeClr>
          </a:solidFill>
        </p:spPr>
        <p:txBody>
          <a:bodyPr wrap="square" lIns="0" tIns="0" rIns="0" bIns="0" rtlCol="0" anchor="ctr">
            <a:noAutofit/>
          </a:bodyPr>
          <a:lstStyle/>
          <a:p>
            <a:pPr algn="ctr"/>
            <a:r>
              <a:rPr lang="en-GB" sz="1200" b="1" kern="0">
                <a:solidFill>
                  <a:schemeClr val="bg1"/>
                </a:solidFill>
              </a:rPr>
              <a:t>Strategic </a:t>
            </a:r>
            <a:br>
              <a:rPr lang="en-GB" sz="1200" b="1" kern="0">
                <a:solidFill>
                  <a:schemeClr val="bg1"/>
                </a:solidFill>
              </a:rPr>
            </a:br>
            <a:r>
              <a:rPr lang="en-GB" sz="1200" b="1" kern="0">
                <a:solidFill>
                  <a:schemeClr val="bg1"/>
                </a:solidFill>
              </a:rPr>
              <a:t>Anticipation</a:t>
            </a:r>
          </a:p>
        </p:txBody>
      </p:sp>
      <p:sp>
        <p:nvSpPr>
          <p:cNvPr id="32" name="TextBox 31">
            <a:extLst>
              <a:ext uri="{FF2B5EF4-FFF2-40B4-BE49-F238E27FC236}">
                <a16:creationId xmlns:a16="http://schemas.microsoft.com/office/drawing/2014/main" id="{C3EB1F2F-B5B2-FD46-09AA-1FD374F6C081}"/>
              </a:ext>
            </a:extLst>
          </p:cNvPr>
          <p:cNvSpPr txBox="1"/>
          <p:nvPr/>
        </p:nvSpPr>
        <p:spPr>
          <a:xfrm>
            <a:off x="4683859" y="1320341"/>
            <a:ext cx="1916062" cy="381342"/>
          </a:xfrm>
          <a:prstGeom prst="rect">
            <a:avLst/>
          </a:prstGeom>
          <a:solidFill>
            <a:schemeClr val="accent1"/>
          </a:solidFill>
        </p:spPr>
        <p:txBody>
          <a:bodyPr wrap="square" lIns="0" tIns="0" rIns="0" bIns="0" rtlCol="0" anchor="ctr">
            <a:noAutofit/>
          </a:bodyPr>
          <a:lstStyle/>
          <a:p>
            <a:pPr algn="ctr"/>
            <a:r>
              <a:rPr lang="en-GB" sz="1200" b="1" kern="0">
                <a:solidFill>
                  <a:schemeClr val="bg1"/>
                </a:solidFill>
              </a:rPr>
              <a:t>Value Proposition</a:t>
            </a:r>
          </a:p>
        </p:txBody>
      </p:sp>
      <p:sp>
        <p:nvSpPr>
          <p:cNvPr id="33" name="TextBox 32">
            <a:extLst>
              <a:ext uri="{FF2B5EF4-FFF2-40B4-BE49-F238E27FC236}">
                <a16:creationId xmlns:a16="http://schemas.microsoft.com/office/drawing/2014/main" id="{76368AEC-2808-EB0C-0C81-1EC8729A44EF}"/>
              </a:ext>
            </a:extLst>
          </p:cNvPr>
          <p:cNvSpPr txBox="1"/>
          <p:nvPr/>
        </p:nvSpPr>
        <p:spPr>
          <a:xfrm>
            <a:off x="6719689" y="1320341"/>
            <a:ext cx="2403044" cy="381342"/>
          </a:xfrm>
          <a:prstGeom prst="rect">
            <a:avLst/>
          </a:prstGeom>
          <a:solidFill>
            <a:schemeClr val="accent2"/>
          </a:solidFill>
        </p:spPr>
        <p:txBody>
          <a:bodyPr wrap="square" lIns="0" tIns="0" rIns="0" bIns="0" rtlCol="0" anchor="ctr">
            <a:noAutofit/>
          </a:bodyPr>
          <a:lstStyle/>
          <a:p>
            <a:pPr algn="ctr"/>
            <a:r>
              <a:rPr lang="en-GB" sz="1200" b="1" kern="0">
                <a:solidFill>
                  <a:schemeClr val="bg1"/>
                </a:solidFill>
              </a:rPr>
              <a:t>Operating Model</a:t>
            </a:r>
          </a:p>
        </p:txBody>
      </p:sp>
      <p:sp>
        <p:nvSpPr>
          <p:cNvPr id="34" name="TextBox 33">
            <a:extLst>
              <a:ext uri="{FF2B5EF4-FFF2-40B4-BE49-F238E27FC236}">
                <a16:creationId xmlns:a16="http://schemas.microsoft.com/office/drawing/2014/main" id="{7B048005-082A-6A17-CEDB-CB3FE726F082}"/>
              </a:ext>
            </a:extLst>
          </p:cNvPr>
          <p:cNvSpPr txBox="1"/>
          <p:nvPr/>
        </p:nvSpPr>
        <p:spPr>
          <a:xfrm>
            <a:off x="9252330" y="1320341"/>
            <a:ext cx="2488870" cy="381342"/>
          </a:xfrm>
          <a:prstGeom prst="rect">
            <a:avLst/>
          </a:prstGeom>
          <a:solidFill>
            <a:schemeClr val="accent2">
              <a:lumMod val="60000"/>
              <a:lumOff val="40000"/>
            </a:schemeClr>
          </a:solidFill>
        </p:spPr>
        <p:txBody>
          <a:bodyPr wrap="square" lIns="0" tIns="0" rIns="0" bIns="0" rtlCol="0" anchor="ctr">
            <a:noAutofit/>
          </a:bodyPr>
          <a:lstStyle/>
          <a:p>
            <a:pPr algn="ctr"/>
            <a:r>
              <a:rPr lang="en-GB" sz="1200" b="1" kern="0"/>
              <a:t>Mindset</a:t>
            </a:r>
          </a:p>
        </p:txBody>
      </p:sp>
      <p:cxnSp>
        <p:nvCxnSpPr>
          <p:cNvPr id="50" name="Straight Connector 49">
            <a:extLst>
              <a:ext uri="{FF2B5EF4-FFF2-40B4-BE49-F238E27FC236}">
                <a16:creationId xmlns:a16="http://schemas.microsoft.com/office/drawing/2014/main" id="{02A35FA4-2EC2-3826-CAE1-CCFEB4B04847}"/>
              </a:ext>
            </a:extLst>
          </p:cNvPr>
          <p:cNvCxnSpPr>
            <a:cxnSpLocks/>
          </p:cNvCxnSpPr>
          <p:nvPr/>
        </p:nvCxnSpPr>
        <p:spPr>
          <a:xfrm>
            <a:off x="4633545" y="1397000"/>
            <a:ext cx="0" cy="5003800"/>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99933D4-2E46-2138-5482-03594B806D14}"/>
              </a:ext>
            </a:extLst>
          </p:cNvPr>
          <p:cNvCxnSpPr>
            <a:cxnSpLocks/>
          </p:cNvCxnSpPr>
          <p:nvPr/>
        </p:nvCxnSpPr>
        <p:spPr>
          <a:xfrm>
            <a:off x="6664164" y="1397000"/>
            <a:ext cx="0" cy="5015158"/>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190DE23-3E9B-1328-5009-A09CA3EFC904}"/>
              </a:ext>
            </a:extLst>
          </p:cNvPr>
          <p:cNvCxnSpPr>
            <a:cxnSpLocks/>
          </p:cNvCxnSpPr>
          <p:nvPr/>
        </p:nvCxnSpPr>
        <p:spPr>
          <a:xfrm>
            <a:off x="9187531" y="1397000"/>
            <a:ext cx="0" cy="5015158"/>
          </a:xfrm>
          <a:prstGeom prst="line">
            <a:avLst/>
          </a:prstGeom>
          <a:ln w="952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3" name="ico-coal">
            <a:extLst>
              <a:ext uri="{FF2B5EF4-FFF2-40B4-BE49-F238E27FC236}">
                <a16:creationId xmlns:a16="http://schemas.microsoft.com/office/drawing/2014/main" id="{DC2C750B-82A1-F1E1-BEB3-166AC029E5B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86959" y="3896531"/>
            <a:ext cx="148977" cy="148977"/>
          </a:xfrm>
          <a:prstGeom prst="rect">
            <a:avLst/>
          </a:prstGeom>
        </p:spPr>
      </p:pic>
      <p:pic>
        <p:nvPicPr>
          <p:cNvPr id="54" name="ico-stack">
            <a:extLst>
              <a:ext uri="{FF2B5EF4-FFF2-40B4-BE49-F238E27FC236}">
                <a16:creationId xmlns:a16="http://schemas.microsoft.com/office/drawing/2014/main" id="{97DA15B2-DBC9-FE0D-FF91-875887A1694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86959" y="4149352"/>
            <a:ext cx="148977" cy="148977"/>
          </a:xfrm>
          <a:prstGeom prst="rect">
            <a:avLst/>
          </a:prstGeom>
        </p:spPr>
      </p:pic>
      <p:pic>
        <p:nvPicPr>
          <p:cNvPr id="55" name="ico-group">
            <a:extLst>
              <a:ext uri="{FF2B5EF4-FFF2-40B4-BE49-F238E27FC236}">
                <a16:creationId xmlns:a16="http://schemas.microsoft.com/office/drawing/2014/main" id="{90507C1B-4772-1AF5-8BE5-221EAA8B100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386959" y="4402173"/>
            <a:ext cx="148977" cy="148977"/>
          </a:xfrm>
          <a:prstGeom prst="rect">
            <a:avLst/>
          </a:prstGeom>
        </p:spPr>
      </p:pic>
      <p:pic>
        <p:nvPicPr>
          <p:cNvPr id="56" name="ico-energy-tower">
            <a:extLst>
              <a:ext uri="{FF2B5EF4-FFF2-40B4-BE49-F238E27FC236}">
                <a16:creationId xmlns:a16="http://schemas.microsoft.com/office/drawing/2014/main" id="{3B4C0E26-3AAF-5E74-89E0-E349937BC4A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386959" y="3643710"/>
            <a:ext cx="148977" cy="148977"/>
          </a:xfrm>
          <a:prstGeom prst="rect">
            <a:avLst/>
          </a:prstGeom>
        </p:spPr>
      </p:pic>
      <p:pic>
        <p:nvPicPr>
          <p:cNvPr id="57" name="ico-cloud-light">
            <a:extLst>
              <a:ext uri="{FF2B5EF4-FFF2-40B4-BE49-F238E27FC236}">
                <a16:creationId xmlns:a16="http://schemas.microsoft.com/office/drawing/2014/main" id="{42139A6F-5621-5DA1-639B-D8E982855449}"/>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86959" y="4951351"/>
            <a:ext cx="148977" cy="148977"/>
          </a:xfrm>
          <a:prstGeom prst="rect">
            <a:avLst/>
          </a:prstGeom>
        </p:spPr>
      </p:pic>
      <p:pic>
        <p:nvPicPr>
          <p:cNvPr id="58" name="ico-globe">
            <a:extLst>
              <a:ext uri="{FF2B5EF4-FFF2-40B4-BE49-F238E27FC236}">
                <a16:creationId xmlns:a16="http://schemas.microsoft.com/office/drawing/2014/main" id="{A7EAE0C3-1D0E-FE82-C19E-DB5C6C28C092}"/>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386959" y="4708396"/>
            <a:ext cx="148977" cy="148977"/>
          </a:xfrm>
          <a:prstGeom prst="rect">
            <a:avLst/>
          </a:prstGeom>
        </p:spPr>
      </p:pic>
      <p:pic>
        <p:nvPicPr>
          <p:cNvPr id="59" name="ico-grammar-check">
            <a:extLst>
              <a:ext uri="{FF2B5EF4-FFF2-40B4-BE49-F238E27FC236}">
                <a16:creationId xmlns:a16="http://schemas.microsoft.com/office/drawing/2014/main" id="{ABAC45C5-3797-0A80-15F3-E2D5C2CCECE2}"/>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400184" y="5194306"/>
            <a:ext cx="122527" cy="122527"/>
          </a:xfrm>
          <a:prstGeom prst="rect">
            <a:avLst/>
          </a:prstGeom>
        </p:spPr>
      </p:pic>
      <p:pic>
        <p:nvPicPr>
          <p:cNvPr id="60" name="ico-trend-down">
            <a:extLst>
              <a:ext uri="{FF2B5EF4-FFF2-40B4-BE49-F238E27FC236}">
                <a16:creationId xmlns:a16="http://schemas.microsoft.com/office/drawing/2014/main" id="{53F92F67-7068-935B-B1EC-5C76F454F8A2}"/>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386959" y="5715694"/>
            <a:ext cx="148977" cy="148977"/>
          </a:xfrm>
          <a:prstGeom prst="rect">
            <a:avLst/>
          </a:prstGeom>
        </p:spPr>
      </p:pic>
      <p:pic>
        <p:nvPicPr>
          <p:cNvPr id="61" name="ico-line-chart">
            <a:extLst>
              <a:ext uri="{FF2B5EF4-FFF2-40B4-BE49-F238E27FC236}">
                <a16:creationId xmlns:a16="http://schemas.microsoft.com/office/drawing/2014/main" id="{98EB2322-A383-13A5-A316-7A02F5B019EB}"/>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386959" y="5438339"/>
            <a:ext cx="148977" cy="148977"/>
          </a:xfrm>
          <a:prstGeom prst="rect">
            <a:avLst/>
          </a:prstGeom>
        </p:spPr>
      </p:pic>
      <p:pic>
        <p:nvPicPr>
          <p:cNvPr id="62" name="ico-hat-3">
            <a:extLst>
              <a:ext uri="{FF2B5EF4-FFF2-40B4-BE49-F238E27FC236}">
                <a16:creationId xmlns:a16="http://schemas.microsoft.com/office/drawing/2014/main" id="{119C9C9A-C764-B981-26C6-252AFF3DC1C0}"/>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386959" y="6007228"/>
            <a:ext cx="148977" cy="148977"/>
          </a:xfrm>
          <a:prstGeom prst="rect">
            <a:avLst/>
          </a:prstGeom>
        </p:spPr>
      </p:pic>
      <p:sp>
        <p:nvSpPr>
          <p:cNvPr id="66" name="TextBox 65">
            <a:extLst>
              <a:ext uri="{FF2B5EF4-FFF2-40B4-BE49-F238E27FC236}">
                <a16:creationId xmlns:a16="http://schemas.microsoft.com/office/drawing/2014/main" id="{47F678C0-6A19-DD5C-698C-CE972951482E}"/>
              </a:ext>
            </a:extLst>
          </p:cNvPr>
          <p:cNvSpPr txBox="1">
            <a:spLocks/>
          </p:cNvSpPr>
          <p:nvPr/>
        </p:nvSpPr>
        <p:spPr>
          <a:xfrm>
            <a:off x="9242501" y="1341441"/>
            <a:ext cx="299631" cy="369332"/>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2400" b="1">
                <a:latin typeface="MMC Display Condensed"/>
                <a:cs typeface="Arial"/>
              </a:rPr>
              <a:t>D</a:t>
            </a:r>
            <a:endParaRPr kumimoji="0" lang="en-GB" sz="2400" b="1" i="0" u="none" strike="noStrike" kern="0" cap="none" spc="0" normalizeH="0" baseline="0" noProof="0">
              <a:ln>
                <a:noFill/>
              </a:ln>
              <a:effectLst/>
              <a:uLnTx/>
              <a:uFillTx/>
              <a:latin typeface="MMC Display Condensed"/>
              <a:ea typeface="+mn-ea"/>
              <a:cs typeface="Arial"/>
            </a:endParaRPr>
          </a:p>
        </p:txBody>
      </p:sp>
      <p:sp>
        <p:nvSpPr>
          <p:cNvPr id="67" name="TextBox 66">
            <a:extLst>
              <a:ext uri="{FF2B5EF4-FFF2-40B4-BE49-F238E27FC236}">
                <a16:creationId xmlns:a16="http://schemas.microsoft.com/office/drawing/2014/main" id="{FCCCBBB4-EEE9-9ADC-C22F-6121FD63110D}"/>
              </a:ext>
            </a:extLst>
          </p:cNvPr>
          <p:cNvSpPr txBox="1">
            <a:spLocks/>
          </p:cNvSpPr>
          <p:nvPr/>
        </p:nvSpPr>
        <p:spPr>
          <a:xfrm>
            <a:off x="6739013" y="1341441"/>
            <a:ext cx="299631" cy="369332"/>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2400" b="1">
                <a:solidFill>
                  <a:srgbClr val="FFFFFF"/>
                </a:solidFill>
                <a:latin typeface="MMC Display Condensed"/>
                <a:cs typeface="Arial"/>
              </a:rPr>
              <a:t>C</a:t>
            </a:r>
            <a:endParaRPr kumimoji="0" lang="en-GB" sz="24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68" name="TextBox 67">
            <a:extLst>
              <a:ext uri="{FF2B5EF4-FFF2-40B4-BE49-F238E27FC236}">
                <a16:creationId xmlns:a16="http://schemas.microsoft.com/office/drawing/2014/main" id="{744D9F29-B0A2-866E-2782-3E5CA451AB5E}"/>
              </a:ext>
            </a:extLst>
          </p:cNvPr>
          <p:cNvSpPr txBox="1">
            <a:spLocks/>
          </p:cNvSpPr>
          <p:nvPr/>
        </p:nvSpPr>
        <p:spPr>
          <a:xfrm>
            <a:off x="3172439" y="1341441"/>
            <a:ext cx="299631" cy="369332"/>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2400" b="1">
                <a:solidFill>
                  <a:srgbClr val="FFFFFF"/>
                </a:solidFill>
                <a:latin typeface="MMC Display Condensed"/>
                <a:cs typeface="Arial"/>
              </a:rPr>
              <a:t>A</a:t>
            </a:r>
            <a:endParaRPr kumimoji="0" lang="en-GB" sz="24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69" name="TextBox 68">
            <a:extLst>
              <a:ext uri="{FF2B5EF4-FFF2-40B4-BE49-F238E27FC236}">
                <a16:creationId xmlns:a16="http://schemas.microsoft.com/office/drawing/2014/main" id="{4A9525D6-2EF7-CAA3-48F9-B4DF48E571DB}"/>
              </a:ext>
            </a:extLst>
          </p:cNvPr>
          <p:cNvSpPr txBox="1">
            <a:spLocks/>
          </p:cNvSpPr>
          <p:nvPr/>
        </p:nvSpPr>
        <p:spPr>
          <a:xfrm>
            <a:off x="4690735" y="1341441"/>
            <a:ext cx="299631" cy="369332"/>
          </a:xfrm>
          <a:prstGeom prst="rect">
            <a:avLst/>
          </a:prstGeom>
          <a:noFill/>
          <a:ln>
            <a:noFill/>
          </a:ln>
        </p:spPr>
        <p:txBody>
          <a:bodyPr vert="horz" wrap="square" lIns="0" tIns="0" rIns="0" bIns="0" rtlCol="0" anchor="ctr" anchorCtr="0">
            <a:spAutoFit/>
          </a:bodyPr>
          <a:lstStyle>
            <a:lvl1pPr indent="0" defTabSz="914370">
              <a:spcBef>
                <a:spcPts val="600"/>
              </a:spcBef>
              <a:buFont typeface="Arial" panose="020B0604020202020204" pitchFamily="34" charset="0"/>
              <a:buChar char="​"/>
              <a:defRPr kern="0"/>
            </a:lvl1pPr>
            <a:lvl2pPr marL="179994" indent="-179994" defTabSz="914370">
              <a:spcBef>
                <a:spcPts val="600"/>
              </a:spcBef>
              <a:buFont typeface="Arial" panose="020B0604020202020204" pitchFamily="34" charset="0"/>
              <a:buChar char="•"/>
              <a:defRPr sz="2000" kern="0"/>
            </a:lvl2pPr>
            <a:lvl3pPr marL="359988" indent="-179994" defTabSz="914370">
              <a:spcBef>
                <a:spcPts val="300"/>
              </a:spcBef>
              <a:buFont typeface="Arial" panose="020B0604020202020204" pitchFamily="34" charset="0"/>
              <a:buChar char="–"/>
              <a:defRPr sz="2000" kern="0"/>
            </a:lvl3pPr>
            <a:lvl4pPr marL="539982" indent="-179994" defTabSz="914370">
              <a:spcBef>
                <a:spcPts val="300"/>
              </a:spcBef>
              <a:buFont typeface="Arial" panose="020B0604020202020204" pitchFamily="34" charset="0"/>
              <a:buChar char="-"/>
              <a:defRPr sz="2000" kern="0"/>
            </a:lvl4pPr>
            <a:lvl5pPr marL="719977" indent="-179994" defTabSz="914370">
              <a:spcBef>
                <a:spcPts val="300"/>
              </a:spcBef>
              <a:buFont typeface="Arial" panose="020B0604020202020204" pitchFamily="34" charset="0"/>
              <a:buChar char="-"/>
              <a:defRPr sz="2000" kern="0"/>
            </a:lvl5pPr>
            <a:lvl6pPr marL="899971" indent="-179994" defTabSz="914370">
              <a:spcBef>
                <a:spcPts val="300"/>
              </a:spcBef>
              <a:buFont typeface="Arial" panose="020B0604020202020204" pitchFamily="34" charset="0"/>
              <a:buChar char="-"/>
              <a:defRPr sz="2000" kern="0"/>
            </a:lvl6pPr>
            <a:lvl7pPr marL="1079965" indent="-179994" defTabSz="914370">
              <a:spcBef>
                <a:spcPts val="300"/>
              </a:spcBef>
              <a:buFont typeface="Arial" panose="020B0604020202020204" pitchFamily="34" charset="0"/>
              <a:buChar char="-"/>
              <a:defRPr sz="2000" kern="0"/>
            </a:lvl7pPr>
            <a:lvl8pPr marL="1259959" indent="-179994" defTabSz="914370">
              <a:spcBef>
                <a:spcPts val="300"/>
              </a:spcBef>
              <a:buFont typeface="Arial" panose="020B0604020202020204" pitchFamily="34" charset="0"/>
              <a:buChar char="-"/>
              <a:defRPr sz="2000" kern="0"/>
            </a:lvl8pPr>
            <a:lvl9pPr marL="1439953" indent="-179994" defTabSz="914370">
              <a:spcBef>
                <a:spcPts val="300"/>
              </a:spcBef>
              <a:buFont typeface="Arial" panose="020B0604020202020204" pitchFamily="34" charset="0"/>
              <a:buChar char="-"/>
              <a:defRPr sz="2000" kern="0"/>
            </a:lvl9pPr>
          </a:lstStyle>
          <a:p>
            <a:pPr marL="0" marR="0" lvl="0" indent="0" algn="ctr" defTabSz="914311" eaLnBrk="1" fontAlgn="auto" latinLnBrk="0" hangingPunct="1">
              <a:lnSpc>
                <a:spcPct val="100000"/>
              </a:lnSpc>
              <a:spcBef>
                <a:spcPts val="0"/>
              </a:spcBef>
              <a:spcAft>
                <a:spcPct val="0"/>
              </a:spcAft>
              <a:buClrTx/>
              <a:buSzTx/>
              <a:buFont typeface="Arial" panose="020B0604020202020204" pitchFamily="34" charset="0"/>
              <a:buChar char="​"/>
              <a:tabLst/>
              <a:defRPr/>
            </a:pPr>
            <a:r>
              <a:rPr lang="en-GB" sz="2400" b="1">
                <a:solidFill>
                  <a:srgbClr val="FFFFFF"/>
                </a:solidFill>
                <a:latin typeface="MMC Display Condensed"/>
                <a:cs typeface="Arial"/>
              </a:rPr>
              <a:t>B</a:t>
            </a:r>
            <a:endParaRPr kumimoji="0" lang="en-GB" sz="2400" b="1" i="0" u="none" strike="noStrike" kern="0" cap="none" spc="0" normalizeH="0" baseline="0" noProof="0">
              <a:ln>
                <a:noFill/>
              </a:ln>
              <a:solidFill>
                <a:srgbClr val="FFFFFF"/>
              </a:solidFill>
              <a:effectLst/>
              <a:uLnTx/>
              <a:uFillTx/>
              <a:latin typeface="MMC Display Condensed"/>
              <a:ea typeface="+mn-ea"/>
              <a:cs typeface="Arial"/>
            </a:endParaRPr>
          </a:p>
        </p:txBody>
      </p:sp>
      <p:sp>
        <p:nvSpPr>
          <p:cNvPr id="73" name="TextBox 72">
            <a:extLst>
              <a:ext uri="{FF2B5EF4-FFF2-40B4-BE49-F238E27FC236}">
                <a16:creationId xmlns:a16="http://schemas.microsoft.com/office/drawing/2014/main" id="{09E3A6BE-D1C3-00B8-ABFB-5F18487E66BE}"/>
              </a:ext>
            </a:extLst>
          </p:cNvPr>
          <p:cNvSpPr txBox="1"/>
          <p:nvPr/>
        </p:nvSpPr>
        <p:spPr>
          <a:xfrm>
            <a:off x="1073119" y="3375734"/>
            <a:ext cx="1381952" cy="161583"/>
          </a:xfrm>
          <a:prstGeom prst="rect">
            <a:avLst/>
          </a:prstGeom>
          <a:solidFill>
            <a:schemeClr val="bg1"/>
          </a:solidFill>
        </p:spPr>
        <p:txBody>
          <a:bodyPr wrap="square" lIns="0" tIns="0" rIns="0" bIns="0" rtlCol="0">
            <a:spAutoFit/>
          </a:bodyPr>
          <a:lstStyle/>
          <a:p>
            <a:pPr algn="ctr"/>
            <a:r>
              <a:rPr lang="en-GB" sz="1050" kern="0"/>
              <a:t>Risks &amp; Opportunities</a:t>
            </a:r>
          </a:p>
        </p:txBody>
      </p:sp>
      <p:cxnSp>
        <p:nvCxnSpPr>
          <p:cNvPr id="75" name="Straight Connector 74">
            <a:extLst>
              <a:ext uri="{FF2B5EF4-FFF2-40B4-BE49-F238E27FC236}">
                <a16:creationId xmlns:a16="http://schemas.microsoft.com/office/drawing/2014/main" id="{9CEF068E-C8A2-E499-DD0B-B45577D869AC}"/>
              </a:ext>
            </a:extLst>
          </p:cNvPr>
          <p:cNvCxnSpPr>
            <a:cxnSpLocks/>
          </p:cNvCxnSpPr>
          <p:nvPr/>
        </p:nvCxnSpPr>
        <p:spPr>
          <a:xfrm>
            <a:off x="3172439" y="1226589"/>
            <a:ext cx="8562361" cy="0"/>
          </a:xfrm>
          <a:prstGeom prst="line">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AE7AE5FF-D83F-4021-82A4-ADB969CE44DA}"/>
              </a:ext>
            </a:extLst>
          </p:cNvPr>
          <p:cNvSpPr txBox="1"/>
          <p:nvPr/>
        </p:nvSpPr>
        <p:spPr>
          <a:xfrm>
            <a:off x="6593551" y="1112139"/>
            <a:ext cx="1720136" cy="161583"/>
          </a:xfrm>
          <a:prstGeom prst="rect">
            <a:avLst/>
          </a:prstGeom>
          <a:solidFill>
            <a:schemeClr val="bg1"/>
          </a:solidFill>
        </p:spPr>
        <p:txBody>
          <a:bodyPr wrap="square" lIns="0" tIns="0" rIns="0" bIns="0" rtlCol="0">
            <a:spAutoFit/>
          </a:bodyPr>
          <a:lstStyle/>
          <a:p>
            <a:pPr algn="ctr"/>
            <a:r>
              <a:rPr lang="en-GB" sz="1050" kern="0"/>
              <a:t>Permacrisis Profit Patterns</a:t>
            </a:r>
          </a:p>
        </p:txBody>
      </p:sp>
      <p:pic>
        <p:nvPicPr>
          <p:cNvPr id="12" name="ico-cyber">
            <a:extLst>
              <a:ext uri="{FF2B5EF4-FFF2-40B4-BE49-F238E27FC236}">
                <a16:creationId xmlns:a16="http://schemas.microsoft.com/office/drawing/2014/main" id="{1F5DB489-EACC-7A57-916E-3EE7734F1A57}"/>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386958" y="6250738"/>
            <a:ext cx="148977" cy="148977"/>
          </a:xfrm>
          <a:prstGeom prst="rect">
            <a:avLst/>
          </a:prstGeom>
        </p:spPr>
      </p:pic>
    </p:spTree>
    <p:extLst>
      <p:ext uri="{BB962C8B-B14F-4D97-AF65-F5344CB8AC3E}">
        <p14:creationId xmlns:p14="http://schemas.microsoft.com/office/powerpoint/2010/main" val="170208213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3019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192FED-F17C-4716-A6B9-2E20C979060A}"/>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8192FED-F17C-4716-A6B9-2E20C979060A}"/>
                          </a:ext>
                        </a:extLst>
                      </p:cNvPr>
                      <p:cNvPicPr/>
                      <p:nvPr/>
                    </p:nvPicPr>
                    <p:blipFill>
                      <a:blip r:embed="rId5"/>
                      <a:stretch>
                        <a:fillRect/>
                      </a:stretch>
                    </p:blipFill>
                    <p:spPr>
                      <a:xfrm>
                        <a:off x="1296988" y="1588"/>
                        <a:ext cx="1588" cy="1588"/>
                      </a:xfrm>
                      <a:prstGeom prst="rect">
                        <a:avLst/>
                      </a:prstGeom>
                    </p:spPr>
                  </p:pic>
                </p:oleObj>
              </mc:Fallback>
            </mc:AlternateContent>
          </a:graphicData>
        </a:graphic>
      </p:graphicFrame>
      <p:pic>
        <p:nvPicPr>
          <p:cNvPr id="4" name="Picture 3" descr="A picture containing building, sky, cityscape, skyline&#10;&#10;Description automatically generated">
            <a:extLst>
              <a:ext uri="{FF2B5EF4-FFF2-40B4-BE49-F238E27FC236}">
                <a16:creationId xmlns:a16="http://schemas.microsoft.com/office/drawing/2014/main" id="{37786836-D16B-C60F-C289-2E46735B07A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9158"/>
            <a:ext cx="12192000" cy="6867158"/>
          </a:xfrm>
          <a:prstGeom prst="rect">
            <a:avLst/>
          </a:prstGeom>
        </p:spPr>
      </p:pic>
      <p:sp>
        <p:nvSpPr>
          <p:cNvPr id="10" name="Text Placeholder 3">
            <a:extLst>
              <a:ext uri="{FF2B5EF4-FFF2-40B4-BE49-F238E27FC236}">
                <a16:creationId xmlns:a16="http://schemas.microsoft.com/office/drawing/2014/main" id="{A08297C3-0CF4-4D8A-AC7D-D20188130015}"/>
              </a:ext>
            </a:extLst>
          </p:cNvPr>
          <p:cNvSpPr>
            <a:spLocks noGrp="1"/>
          </p:cNvSpPr>
          <p:nvPr>
            <p:ph type="body" sz="quarter" idx="11"/>
          </p:nvPr>
        </p:nvSpPr>
        <p:spPr>
          <a:xfrm>
            <a:off x="457197" y="2178091"/>
            <a:ext cx="8867825" cy="1263679"/>
          </a:xfrm>
        </p:spPr>
        <p:txBody>
          <a:bodyPr/>
          <a:lstStyle/>
          <a:p>
            <a:r>
              <a:rPr lang="en-GB" sz="4800">
                <a:solidFill>
                  <a:schemeClr val="bg1"/>
                </a:solidFill>
                <a:cs typeface="Calibri" panose="020F0502020204030204" pitchFamily="34" charset="0"/>
              </a:rPr>
              <a:t>Understanding the perma-crisis environment</a:t>
            </a:r>
          </a:p>
        </p:txBody>
      </p:sp>
      <p:sp>
        <p:nvSpPr>
          <p:cNvPr id="11" name="Text Placeholder 4">
            <a:extLst>
              <a:ext uri="{FF2B5EF4-FFF2-40B4-BE49-F238E27FC236}">
                <a16:creationId xmlns:a16="http://schemas.microsoft.com/office/drawing/2014/main" id="{4006A21B-74D3-4C65-8C81-805ABE3FD7F5}"/>
              </a:ext>
            </a:extLst>
          </p:cNvPr>
          <p:cNvSpPr>
            <a:spLocks noGrp="1"/>
          </p:cNvSpPr>
          <p:nvPr>
            <p:ph type="body" sz="quarter" idx="12"/>
          </p:nvPr>
        </p:nvSpPr>
        <p:spPr>
          <a:xfrm>
            <a:off x="457200" y="26126"/>
            <a:ext cx="8348472" cy="2308324"/>
          </a:xfrm>
        </p:spPr>
        <p:txBody>
          <a:bodyPr/>
          <a:lstStyle/>
          <a:p>
            <a:r>
              <a:rPr lang="en-GB">
                <a:solidFill>
                  <a:schemeClr val="bg1"/>
                </a:solidFill>
                <a:cs typeface="Calibri" panose="020F0502020204030204" pitchFamily="34" charset="0"/>
              </a:rPr>
              <a:t>1</a:t>
            </a:r>
          </a:p>
        </p:txBody>
      </p:sp>
    </p:spTree>
    <p:extLst>
      <p:ext uri="{BB962C8B-B14F-4D97-AF65-F5344CB8AC3E}">
        <p14:creationId xmlns:p14="http://schemas.microsoft.com/office/powerpoint/2010/main" val="22863932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74276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46CCEF0-A968-A376-AAF0-EB415FAF5074}"/>
              </a:ext>
            </a:extLst>
          </p:cNvPr>
          <p:cNvGraphicFramePr>
            <a:graphicFrameLocks noChangeAspect="1"/>
          </p:cNvGraphicFramePr>
          <p:nvPr>
            <p:custDataLst>
              <p:tags r:id="rId1"/>
            </p:custDataLst>
            <p:extLst>
              <p:ext uri="{D42A27DB-BD31-4B8C-83A1-F6EECF244321}">
                <p14:modId xmlns:p14="http://schemas.microsoft.com/office/powerpoint/2010/main" val="3172234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2" name="think-cell data - do not delete" hidden="1">
                        <a:extLst>
                          <a:ext uri="{FF2B5EF4-FFF2-40B4-BE49-F238E27FC236}">
                            <a16:creationId xmlns:a16="http://schemas.microsoft.com/office/drawing/2014/main" id="{846CCEF0-A968-A376-AAF0-EB415FAF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itle 59">
            <a:extLst>
              <a:ext uri="{FF2B5EF4-FFF2-40B4-BE49-F238E27FC236}">
                <a16:creationId xmlns:a16="http://schemas.microsoft.com/office/drawing/2014/main" id="{F42292D1-D543-2533-9455-D539268E4FF1}"/>
              </a:ext>
            </a:extLst>
          </p:cNvPr>
          <p:cNvSpPr>
            <a:spLocks noGrp="1"/>
          </p:cNvSpPr>
          <p:nvPr>
            <p:ph type="title"/>
          </p:nvPr>
        </p:nvSpPr>
        <p:spPr/>
        <p:txBody>
          <a:bodyPr vert="horz"/>
          <a:lstStyle/>
          <a:p>
            <a:r>
              <a:rPr lang="en-GB"/>
              <a:t>Nexans’ D&amp;U business is particularly exposed to 11 major risks &amp; opportunities, most of which are symptoms of a world in permacrisis</a:t>
            </a:r>
          </a:p>
        </p:txBody>
      </p:sp>
      <p:sp>
        <p:nvSpPr>
          <p:cNvPr id="21" name="Rectangle 20">
            <a:extLst>
              <a:ext uri="{FF2B5EF4-FFF2-40B4-BE49-F238E27FC236}">
                <a16:creationId xmlns:a16="http://schemas.microsoft.com/office/drawing/2014/main" id="{1BF5B6EF-DA49-CE55-7A3D-DC786640CC7F}"/>
              </a:ext>
            </a:extLst>
          </p:cNvPr>
          <p:cNvSpPr/>
          <p:nvPr/>
        </p:nvSpPr>
        <p:spPr>
          <a:xfrm>
            <a:off x="457200" y="1397000"/>
            <a:ext cx="5572197" cy="3574650"/>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rPr>
              <a:t>New World Order</a:t>
            </a:r>
          </a:p>
        </p:txBody>
      </p:sp>
      <p:sp>
        <p:nvSpPr>
          <p:cNvPr id="22" name="Text">
            <a:extLst>
              <a:ext uri="{FF2B5EF4-FFF2-40B4-BE49-F238E27FC236}">
                <a16:creationId xmlns:a16="http://schemas.microsoft.com/office/drawing/2014/main" id="{1D8A51A2-7EF8-86FC-88B2-C594685DFB57}"/>
              </a:ext>
            </a:extLst>
          </p:cNvPr>
          <p:cNvSpPr txBox="1">
            <a:spLocks/>
          </p:cNvSpPr>
          <p:nvPr/>
        </p:nvSpPr>
        <p:spPr bwMode="gray">
          <a:xfrm>
            <a:off x="1256929" y="1998364"/>
            <a:ext cx="1210779" cy="430887"/>
          </a:xfrm>
          <a:prstGeom prst="rect">
            <a:avLst/>
          </a:prstGeom>
        </p:spPr>
        <p:txBody>
          <a:bodyPr wrap="square" lIns="0" tIns="0" rIns="0" bIns="0" anchor="t">
            <a:spAutoFit/>
          </a:bodyPr>
          <a:lstStyle/>
          <a:p>
            <a:r>
              <a:rPr lang="en-GB" sz="1400" b="1" kern="0">
                <a:latin typeface="MMC Display Condensed"/>
                <a:cs typeface="Calibri" panose="020F0502020204030204" pitchFamily="34" charset="0"/>
              </a:rPr>
              <a:t>Geopolitical tension in Asia</a:t>
            </a:r>
            <a:endParaRPr kumimoji="0" lang="en-GB" sz="1400" b="1" i="0" u="none" strike="noStrike" kern="0" cap="none" spc="0" normalizeH="0" baseline="0" noProof="0">
              <a:ln>
                <a:noFill/>
              </a:ln>
              <a:effectLst/>
              <a:uLnTx/>
              <a:uFillTx/>
              <a:latin typeface="MMC Display Condensed"/>
              <a:cs typeface="Calibri" panose="020F0502020204030204" pitchFamily="34" charset="0"/>
            </a:endParaRPr>
          </a:p>
        </p:txBody>
      </p:sp>
      <p:sp>
        <p:nvSpPr>
          <p:cNvPr id="23" name="Text">
            <a:extLst>
              <a:ext uri="{FF2B5EF4-FFF2-40B4-BE49-F238E27FC236}">
                <a16:creationId xmlns:a16="http://schemas.microsoft.com/office/drawing/2014/main" id="{0FE4C577-6D8D-1441-2D9E-906A40009A41}"/>
              </a:ext>
            </a:extLst>
          </p:cNvPr>
          <p:cNvSpPr txBox="1">
            <a:spLocks/>
          </p:cNvSpPr>
          <p:nvPr/>
        </p:nvSpPr>
        <p:spPr bwMode="gray">
          <a:xfrm>
            <a:off x="1256929" y="2947317"/>
            <a:ext cx="1210779" cy="430887"/>
          </a:xfrm>
          <a:prstGeom prst="rect">
            <a:avLst/>
          </a:prstGeom>
        </p:spPr>
        <p:txBody>
          <a:bodyPr wrap="square" lIns="0" tIns="0" rIns="0" bIns="0" anchor="t">
            <a:spAutoFit/>
          </a:bodyPr>
          <a:lstStyle/>
          <a:p>
            <a:pPr>
              <a:spcAft>
                <a:spcPts val="300"/>
              </a:spcAft>
            </a:pPr>
            <a:r>
              <a:rPr lang="en-GB" sz="1400" b="1">
                <a:latin typeface="+mj-lt"/>
                <a:ea typeface="+mj-ea"/>
                <a:cs typeface="+mj-cs"/>
              </a:rPr>
              <a:t>Natural hazards</a:t>
            </a:r>
          </a:p>
        </p:txBody>
      </p:sp>
      <p:sp>
        <p:nvSpPr>
          <p:cNvPr id="24" name="Text">
            <a:extLst>
              <a:ext uri="{FF2B5EF4-FFF2-40B4-BE49-F238E27FC236}">
                <a16:creationId xmlns:a16="http://schemas.microsoft.com/office/drawing/2014/main" id="{09959738-B125-6059-C249-2EE19BB4DB94}"/>
              </a:ext>
            </a:extLst>
          </p:cNvPr>
          <p:cNvSpPr txBox="1">
            <a:spLocks/>
          </p:cNvSpPr>
          <p:nvPr/>
        </p:nvSpPr>
        <p:spPr bwMode="gray">
          <a:xfrm>
            <a:off x="1256929" y="4119408"/>
            <a:ext cx="1210779" cy="215444"/>
          </a:xfrm>
          <a:prstGeom prst="rect">
            <a:avLst/>
          </a:prstGeom>
        </p:spPr>
        <p:txBody>
          <a:bodyPr wrap="square" lIns="0" tIns="0" rIns="0" bIns="0" anchor="t">
            <a:spAutoFit/>
          </a:bodyPr>
          <a:lstStyle/>
          <a:p>
            <a:pPr>
              <a:spcAft>
                <a:spcPts val="300"/>
              </a:spcAft>
            </a:pPr>
            <a:r>
              <a:rPr lang="en-GB" sz="1400" b="1">
                <a:latin typeface="+mj-lt"/>
                <a:ea typeface="+mj-ea"/>
                <a:cs typeface="+mj-cs"/>
              </a:rPr>
              <a:t>Compliance</a:t>
            </a:r>
          </a:p>
        </p:txBody>
      </p:sp>
      <p:pic>
        <p:nvPicPr>
          <p:cNvPr id="25" name="ico-cloud-light">
            <a:extLst>
              <a:ext uri="{FF2B5EF4-FFF2-40B4-BE49-F238E27FC236}">
                <a16:creationId xmlns:a16="http://schemas.microsoft.com/office/drawing/2014/main" id="{AE73CC86-BEA1-108F-63F8-9A8A3414529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8867" y="3038484"/>
            <a:ext cx="348437" cy="348437"/>
          </a:xfrm>
          <a:prstGeom prst="rect">
            <a:avLst/>
          </a:prstGeom>
        </p:spPr>
      </p:pic>
      <p:pic>
        <p:nvPicPr>
          <p:cNvPr id="26" name="ico-globe">
            <a:extLst>
              <a:ext uri="{FF2B5EF4-FFF2-40B4-BE49-F238E27FC236}">
                <a16:creationId xmlns:a16="http://schemas.microsoft.com/office/drawing/2014/main" id="{16583AB0-E8E4-B094-6D98-88CD1ACE4CB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98867" y="2035361"/>
            <a:ext cx="348437" cy="348437"/>
          </a:xfrm>
          <a:prstGeom prst="rect">
            <a:avLst/>
          </a:prstGeom>
        </p:spPr>
      </p:pic>
      <p:pic>
        <p:nvPicPr>
          <p:cNvPr id="27" name="ico-grammar-check">
            <a:extLst>
              <a:ext uri="{FF2B5EF4-FFF2-40B4-BE49-F238E27FC236}">
                <a16:creationId xmlns:a16="http://schemas.microsoft.com/office/drawing/2014/main" id="{D9665F28-E7E1-805B-0F4F-005B4379BBF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98867" y="4041608"/>
            <a:ext cx="286575" cy="286575"/>
          </a:xfrm>
          <a:prstGeom prst="rect">
            <a:avLst/>
          </a:prstGeom>
        </p:spPr>
      </p:pic>
      <p:sp>
        <p:nvSpPr>
          <p:cNvPr id="28" name="Rectangle 27">
            <a:extLst>
              <a:ext uri="{FF2B5EF4-FFF2-40B4-BE49-F238E27FC236}">
                <a16:creationId xmlns:a16="http://schemas.microsoft.com/office/drawing/2014/main" id="{698E1EE0-5EEC-C74B-1AAD-A1ECAFF65EB9}"/>
              </a:ext>
            </a:extLst>
          </p:cNvPr>
          <p:cNvSpPr/>
          <p:nvPr/>
        </p:nvSpPr>
        <p:spPr>
          <a:xfrm>
            <a:off x="6154010" y="1397000"/>
            <a:ext cx="5572197" cy="3574650"/>
          </a:xfrm>
          <a:prstGeom prst="rect">
            <a:avLst/>
          </a:prstGeom>
          <a:solidFill>
            <a:srgbClr val="CAE9D3">
              <a:alpha val="50196"/>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rPr>
              <a:t>Amplified Volatility</a:t>
            </a:r>
          </a:p>
        </p:txBody>
      </p:sp>
      <p:pic>
        <p:nvPicPr>
          <p:cNvPr id="29" name="ico-trend-down">
            <a:extLst>
              <a:ext uri="{FF2B5EF4-FFF2-40B4-BE49-F238E27FC236}">
                <a16:creationId xmlns:a16="http://schemas.microsoft.com/office/drawing/2014/main" id="{006192A3-EF1E-894D-BE04-C69D503F258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411846" y="2839190"/>
            <a:ext cx="348437" cy="348437"/>
          </a:xfrm>
          <a:prstGeom prst="rect">
            <a:avLst/>
          </a:prstGeom>
        </p:spPr>
      </p:pic>
      <p:pic>
        <p:nvPicPr>
          <p:cNvPr id="30" name="ico-line-chart">
            <a:extLst>
              <a:ext uri="{FF2B5EF4-FFF2-40B4-BE49-F238E27FC236}">
                <a16:creationId xmlns:a16="http://schemas.microsoft.com/office/drawing/2014/main" id="{03C8FB16-435E-64AF-24B7-DB329EDD863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411846" y="1919429"/>
            <a:ext cx="348437" cy="348437"/>
          </a:xfrm>
          <a:prstGeom prst="rect">
            <a:avLst/>
          </a:prstGeom>
        </p:spPr>
      </p:pic>
      <p:pic>
        <p:nvPicPr>
          <p:cNvPr id="31" name="ico-hat-3">
            <a:extLst>
              <a:ext uri="{FF2B5EF4-FFF2-40B4-BE49-F238E27FC236}">
                <a16:creationId xmlns:a16="http://schemas.microsoft.com/office/drawing/2014/main" id="{BCFEC657-0090-3C82-76CD-07B7C01CD5CB}"/>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411846" y="3601986"/>
            <a:ext cx="348437" cy="348437"/>
          </a:xfrm>
          <a:prstGeom prst="rect">
            <a:avLst/>
          </a:prstGeom>
        </p:spPr>
      </p:pic>
      <p:sp>
        <p:nvSpPr>
          <p:cNvPr id="32" name="Text">
            <a:extLst>
              <a:ext uri="{FF2B5EF4-FFF2-40B4-BE49-F238E27FC236}">
                <a16:creationId xmlns:a16="http://schemas.microsoft.com/office/drawing/2014/main" id="{2CEAAFFC-5611-CB9E-2EAA-E1C690A0FED1}"/>
              </a:ext>
            </a:extLst>
          </p:cNvPr>
          <p:cNvSpPr txBox="1">
            <a:spLocks/>
          </p:cNvSpPr>
          <p:nvPr/>
        </p:nvSpPr>
        <p:spPr bwMode="gray">
          <a:xfrm>
            <a:off x="6953472" y="1878205"/>
            <a:ext cx="1210779" cy="430887"/>
          </a:xfrm>
          <a:prstGeom prst="rect">
            <a:avLst/>
          </a:prstGeom>
        </p:spPr>
        <p:txBody>
          <a:bodyPr wrap="square" lIns="0" tIns="0" rIns="0" bIns="0" anchor="t">
            <a:spAutoFit/>
          </a:bodyPr>
          <a:lstStyle/>
          <a:p>
            <a:pPr>
              <a:spcAft>
                <a:spcPts val="300"/>
              </a:spcAft>
            </a:pPr>
            <a:r>
              <a:rPr lang="en-GB" sz="1400" b="1">
                <a:latin typeface="+mj-lt"/>
                <a:ea typeface="+mj-ea"/>
                <a:cs typeface="+mj-cs"/>
              </a:rPr>
              <a:t>Volatile inflation</a:t>
            </a:r>
          </a:p>
        </p:txBody>
      </p:sp>
      <p:sp>
        <p:nvSpPr>
          <p:cNvPr id="33" name="Text">
            <a:extLst>
              <a:ext uri="{FF2B5EF4-FFF2-40B4-BE49-F238E27FC236}">
                <a16:creationId xmlns:a16="http://schemas.microsoft.com/office/drawing/2014/main" id="{C0A7CC86-883E-9DAE-9DB6-47EE0520D8B2}"/>
              </a:ext>
            </a:extLst>
          </p:cNvPr>
          <p:cNvSpPr txBox="1">
            <a:spLocks/>
          </p:cNvSpPr>
          <p:nvPr/>
        </p:nvSpPr>
        <p:spPr bwMode="gray">
          <a:xfrm>
            <a:off x="6953472" y="2782372"/>
            <a:ext cx="1210779" cy="430887"/>
          </a:xfrm>
          <a:prstGeom prst="rect">
            <a:avLst/>
          </a:prstGeom>
        </p:spPr>
        <p:txBody>
          <a:bodyPr wrap="square" lIns="0" tIns="0" rIns="0" bIns="0" anchor="t">
            <a:spAutoFit/>
          </a:bodyPr>
          <a:lstStyle/>
          <a:p>
            <a:pPr>
              <a:spcAft>
                <a:spcPts val="300"/>
              </a:spcAft>
            </a:pPr>
            <a:r>
              <a:rPr lang="en-GB" sz="1400" b="1">
                <a:latin typeface="+mj-lt"/>
                <a:ea typeface="+mj-ea"/>
                <a:cs typeface="+mj-cs"/>
              </a:rPr>
              <a:t>Economic or financial crisis</a:t>
            </a:r>
          </a:p>
        </p:txBody>
      </p:sp>
      <p:sp>
        <p:nvSpPr>
          <p:cNvPr id="34" name="Text">
            <a:extLst>
              <a:ext uri="{FF2B5EF4-FFF2-40B4-BE49-F238E27FC236}">
                <a16:creationId xmlns:a16="http://schemas.microsoft.com/office/drawing/2014/main" id="{3FA78379-F9DB-A19A-681B-F07AF8B5FDE5}"/>
              </a:ext>
            </a:extLst>
          </p:cNvPr>
          <p:cNvSpPr txBox="1">
            <a:spLocks/>
          </p:cNvSpPr>
          <p:nvPr/>
        </p:nvSpPr>
        <p:spPr bwMode="gray">
          <a:xfrm>
            <a:off x="6953472" y="3686539"/>
            <a:ext cx="1210779" cy="215444"/>
          </a:xfrm>
          <a:prstGeom prst="rect">
            <a:avLst/>
          </a:prstGeom>
        </p:spPr>
        <p:txBody>
          <a:bodyPr wrap="square" lIns="0" tIns="0" rIns="0" bIns="0" anchor="t">
            <a:spAutoFit/>
          </a:bodyPr>
          <a:lstStyle/>
          <a:p>
            <a:pPr>
              <a:spcAft>
                <a:spcPts val="300"/>
              </a:spcAft>
            </a:pPr>
            <a:r>
              <a:rPr lang="en-GB" sz="1400" b="1">
                <a:latin typeface="+mj-lt"/>
                <a:ea typeface="+mj-ea"/>
                <a:cs typeface="+mj-cs"/>
              </a:rPr>
              <a:t>War for talent</a:t>
            </a:r>
          </a:p>
        </p:txBody>
      </p:sp>
      <p:sp>
        <p:nvSpPr>
          <p:cNvPr id="2" name="Rectangle 1">
            <a:extLst>
              <a:ext uri="{FF2B5EF4-FFF2-40B4-BE49-F238E27FC236}">
                <a16:creationId xmlns:a16="http://schemas.microsoft.com/office/drawing/2014/main" id="{CAAF2709-4B7F-866A-0AEF-978E51FB5922}"/>
              </a:ext>
            </a:extLst>
          </p:cNvPr>
          <p:cNvSpPr/>
          <p:nvPr/>
        </p:nvSpPr>
        <p:spPr>
          <a:xfrm>
            <a:off x="457200" y="5010272"/>
            <a:ext cx="11267392" cy="1399093"/>
          </a:xfrm>
          <a:prstGeom prst="rect">
            <a:avLst/>
          </a:prstGeom>
          <a:solidFill>
            <a:srgbClr val="C6EEFF">
              <a:alpha val="50196"/>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r>
              <a:rPr lang="en-GB" sz="1400" b="1" kern="0">
                <a:solidFill>
                  <a:schemeClr val="tx1"/>
                </a:solidFill>
              </a:rPr>
              <a:t>Evolving Cable Industry</a:t>
            </a:r>
          </a:p>
        </p:txBody>
      </p:sp>
      <p:sp>
        <p:nvSpPr>
          <p:cNvPr id="10" name="Text">
            <a:extLst>
              <a:ext uri="{FF2B5EF4-FFF2-40B4-BE49-F238E27FC236}">
                <a16:creationId xmlns:a16="http://schemas.microsoft.com/office/drawing/2014/main" id="{D221CF52-1D4E-1E85-49E7-EE6AA9B8C8F6}"/>
              </a:ext>
            </a:extLst>
          </p:cNvPr>
          <p:cNvSpPr txBox="1">
            <a:spLocks/>
          </p:cNvSpPr>
          <p:nvPr/>
        </p:nvSpPr>
        <p:spPr bwMode="gray">
          <a:xfrm>
            <a:off x="4070404" y="5428028"/>
            <a:ext cx="1941272" cy="215444"/>
          </a:xfrm>
          <a:prstGeom prst="rect">
            <a:avLst/>
          </a:prstGeom>
        </p:spPr>
        <p:txBody>
          <a:bodyPr vert="horz" wrap="square" lIns="0" tIns="0" rIns="0" bIns="0" anchor="t">
            <a:spAutoFit/>
          </a:bodyPr>
          <a:lstStyle/>
          <a:p>
            <a:r>
              <a:rPr lang="en-GB" sz="1400" b="1" kern="0">
                <a:latin typeface="MMC Display Condensed"/>
                <a:cs typeface="Calibri" panose="020F0502020204030204" pitchFamily="34" charset="0"/>
              </a:rPr>
              <a:t>resource crisis</a:t>
            </a:r>
          </a:p>
        </p:txBody>
      </p:sp>
      <p:sp>
        <p:nvSpPr>
          <p:cNvPr id="11" name="Text">
            <a:extLst>
              <a:ext uri="{FF2B5EF4-FFF2-40B4-BE49-F238E27FC236}">
                <a16:creationId xmlns:a16="http://schemas.microsoft.com/office/drawing/2014/main" id="{0D98ED6C-7DD9-7457-8BA5-04485E00DCE4}"/>
              </a:ext>
            </a:extLst>
          </p:cNvPr>
          <p:cNvSpPr txBox="1">
            <a:spLocks/>
          </p:cNvSpPr>
          <p:nvPr/>
        </p:nvSpPr>
        <p:spPr bwMode="gray">
          <a:xfrm>
            <a:off x="6869694" y="5428028"/>
            <a:ext cx="1941272" cy="438582"/>
          </a:xfrm>
          <a:prstGeom prst="rect">
            <a:avLst/>
          </a:prstGeom>
        </p:spPr>
        <p:txBody>
          <a:bodyPr wrap="square" lIns="0" tIns="0" rIns="0" bIns="0" anchor="t">
            <a:spAutoFit/>
          </a:bodyPr>
          <a:lstStyle/>
          <a:p>
            <a:pPr>
              <a:spcAft>
                <a:spcPts val="300"/>
              </a:spcAft>
            </a:pPr>
            <a:r>
              <a:rPr lang="en-GB" sz="1400" b="1">
                <a:latin typeface="+mj-lt"/>
                <a:ea typeface="+mj-ea"/>
                <a:cs typeface="+mj-cs"/>
              </a:rPr>
              <a:t>Commoditization</a:t>
            </a:r>
          </a:p>
          <a:p>
            <a:pPr>
              <a:spcAft>
                <a:spcPts val="300"/>
              </a:spcAft>
            </a:pPr>
            <a:endParaRPr lang="en-GB" sz="1200"/>
          </a:p>
        </p:txBody>
      </p:sp>
      <p:pic>
        <p:nvPicPr>
          <p:cNvPr id="13" name="ico-coal">
            <a:extLst>
              <a:ext uri="{FF2B5EF4-FFF2-40B4-BE49-F238E27FC236}">
                <a16:creationId xmlns:a16="http://schemas.microsoft.com/office/drawing/2014/main" id="{BE924CAF-1682-49C1-46D5-82FA962568AD}"/>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572247" y="5374617"/>
            <a:ext cx="348437" cy="348437"/>
          </a:xfrm>
          <a:prstGeom prst="rect">
            <a:avLst/>
          </a:prstGeom>
        </p:spPr>
      </p:pic>
      <p:pic>
        <p:nvPicPr>
          <p:cNvPr id="16" name="ico-stack">
            <a:extLst>
              <a:ext uri="{FF2B5EF4-FFF2-40B4-BE49-F238E27FC236}">
                <a16:creationId xmlns:a16="http://schemas.microsoft.com/office/drawing/2014/main" id="{4EA208AA-15EF-5949-E023-FFD6309B2AE9}"/>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355427" y="5374617"/>
            <a:ext cx="348437" cy="348437"/>
          </a:xfrm>
          <a:prstGeom prst="rect">
            <a:avLst/>
          </a:prstGeom>
        </p:spPr>
      </p:pic>
      <p:sp>
        <p:nvSpPr>
          <p:cNvPr id="18" name="Text">
            <a:extLst>
              <a:ext uri="{FF2B5EF4-FFF2-40B4-BE49-F238E27FC236}">
                <a16:creationId xmlns:a16="http://schemas.microsoft.com/office/drawing/2014/main" id="{7708F8E2-E377-63EE-8738-BF9A5E6AF9E6}"/>
              </a:ext>
            </a:extLst>
          </p:cNvPr>
          <p:cNvSpPr txBox="1">
            <a:spLocks/>
          </p:cNvSpPr>
          <p:nvPr/>
        </p:nvSpPr>
        <p:spPr bwMode="gray">
          <a:xfrm>
            <a:off x="9668985" y="5428028"/>
            <a:ext cx="1941272" cy="215444"/>
          </a:xfrm>
          <a:prstGeom prst="rect">
            <a:avLst/>
          </a:prstGeom>
        </p:spPr>
        <p:txBody>
          <a:bodyPr vert="horz" wrap="square" lIns="0" tIns="0" rIns="0" bIns="0" anchor="t">
            <a:spAutoFit/>
          </a:bodyPr>
          <a:lstStyle/>
          <a:p>
            <a:r>
              <a:rPr lang="en-GB" sz="1400" b="1" kern="0">
                <a:latin typeface="MMC Display Condensed"/>
                <a:cs typeface="Calibri" panose="020F0502020204030204" pitchFamily="34" charset="0"/>
              </a:rPr>
              <a:t>Strategic consolidation</a:t>
            </a:r>
          </a:p>
        </p:txBody>
      </p:sp>
      <p:pic>
        <p:nvPicPr>
          <p:cNvPr id="19" name="ico-group">
            <a:extLst>
              <a:ext uri="{FF2B5EF4-FFF2-40B4-BE49-F238E27FC236}">
                <a16:creationId xmlns:a16="http://schemas.microsoft.com/office/drawing/2014/main" id="{1906F625-614E-1376-13EF-F2FFC02A5D5D}"/>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9195313" y="5374617"/>
            <a:ext cx="348437" cy="348437"/>
          </a:xfrm>
          <a:prstGeom prst="rect">
            <a:avLst/>
          </a:prstGeom>
        </p:spPr>
      </p:pic>
      <p:sp>
        <p:nvSpPr>
          <p:cNvPr id="20" name="Text">
            <a:extLst>
              <a:ext uri="{FF2B5EF4-FFF2-40B4-BE49-F238E27FC236}">
                <a16:creationId xmlns:a16="http://schemas.microsoft.com/office/drawing/2014/main" id="{F262AE07-4610-EF64-D9E1-CCFAD5A90E24}"/>
              </a:ext>
            </a:extLst>
          </p:cNvPr>
          <p:cNvSpPr txBox="1">
            <a:spLocks/>
          </p:cNvSpPr>
          <p:nvPr/>
        </p:nvSpPr>
        <p:spPr bwMode="gray">
          <a:xfrm>
            <a:off x="1271114" y="5428028"/>
            <a:ext cx="1941272" cy="215444"/>
          </a:xfrm>
          <a:prstGeom prst="rect">
            <a:avLst/>
          </a:prstGeom>
        </p:spPr>
        <p:txBody>
          <a:bodyPr vert="horz" wrap="square" lIns="0" tIns="0" rIns="0" bIns="0" anchor="t">
            <a:spAutoFit/>
          </a:bodyPr>
          <a:lstStyle/>
          <a:p>
            <a:r>
              <a:rPr lang="en-GB" sz="1400" b="1" kern="0">
                <a:latin typeface="MMC Display Condensed"/>
                <a:cs typeface="Calibri" panose="020F0502020204030204" pitchFamily="34" charset="0"/>
              </a:rPr>
              <a:t>Grid dynamics</a:t>
            </a:r>
          </a:p>
        </p:txBody>
      </p:sp>
      <p:pic>
        <p:nvPicPr>
          <p:cNvPr id="36" name="ico-energy-tower">
            <a:extLst>
              <a:ext uri="{FF2B5EF4-FFF2-40B4-BE49-F238E27FC236}">
                <a16:creationId xmlns:a16="http://schemas.microsoft.com/office/drawing/2014/main" id="{DEF18857-7F2C-41D6-373C-56AB3FF350CD}"/>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89067" y="5374617"/>
            <a:ext cx="348437" cy="348437"/>
          </a:xfrm>
          <a:prstGeom prst="rect">
            <a:avLst/>
          </a:prstGeom>
        </p:spPr>
      </p:pic>
      <p:pic>
        <p:nvPicPr>
          <p:cNvPr id="41" name="ico-cyber">
            <a:extLst>
              <a:ext uri="{FF2B5EF4-FFF2-40B4-BE49-F238E27FC236}">
                <a16:creationId xmlns:a16="http://schemas.microsoft.com/office/drawing/2014/main" id="{F1E2CD07-4B36-411D-79DE-4722A33E884F}"/>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6411846" y="4420337"/>
            <a:ext cx="348437" cy="348437"/>
          </a:xfrm>
          <a:prstGeom prst="rect">
            <a:avLst/>
          </a:prstGeom>
        </p:spPr>
      </p:pic>
      <p:sp>
        <p:nvSpPr>
          <p:cNvPr id="40" name="Text">
            <a:extLst>
              <a:ext uri="{FF2B5EF4-FFF2-40B4-BE49-F238E27FC236}">
                <a16:creationId xmlns:a16="http://schemas.microsoft.com/office/drawing/2014/main" id="{9F016DA6-C43A-685A-DF7F-7CEEEA23D984}"/>
              </a:ext>
            </a:extLst>
          </p:cNvPr>
          <p:cNvSpPr txBox="1">
            <a:spLocks/>
          </p:cNvSpPr>
          <p:nvPr/>
        </p:nvSpPr>
        <p:spPr bwMode="gray">
          <a:xfrm>
            <a:off x="6953472" y="4375263"/>
            <a:ext cx="1210779" cy="430887"/>
          </a:xfrm>
          <a:prstGeom prst="rect">
            <a:avLst/>
          </a:prstGeom>
        </p:spPr>
        <p:txBody>
          <a:bodyPr wrap="square" lIns="0" tIns="0" rIns="0" bIns="0" anchor="t">
            <a:spAutoFit/>
          </a:bodyPr>
          <a:lstStyle/>
          <a:p>
            <a:pPr>
              <a:spcAft>
                <a:spcPts val="300"/>
              </a:spcAft>
            </a:pPr>
            <a:r>
              <a:rPr lang="en-GB" sz="1400" b="1">
                <a:latin typeface="+mj-lt"/>
                <a:ea typeface="+mj-ea"/>
                <a:cs typeface="+mj-cs"/>
              </a:rPr>
              <a:t>Cyber, AI &amp; automation</a:t>
            </a:r>
          </a:p>
        </p:txBody>
      </p:sp>
      <p:sp>
        <p:nvSpPr>
          <p:cNvPr id="5" name="Speech Bubble: Rectangle with Corners Rounded 4">
            <a:extLst>
              <a:ext uri="{FF2B5EF4-FFF2-40B4-BE49-F238E27FC236}">
                <a16:creationId xmlns:a16="http://schemas.microsoft.com/office/drawing/2014/main" id="{52585586-9D07-0520-5139-D8B56F138E43}"/>
              </a:ext>
            </a:extLst>
          </p:cNvPr>
          <p:cNvSpPr>
            <a:spLocks/>
          </p:cNvSpPr>
          <p:nvPr/>
        </p:nvSpPr>
        <p:spPr>
          <a:xfrm>
            <a:off x="2578285" y="1891280"/>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Impacts of a trade ban with China?</a:t>
            </a:r>
          </a:p>
        </p:txBody>
      </p:sp>
      <p:sp>
        <p:nvSpPr>
          <p:cNvPr id="6" name="Speech Bubble: Rectangle with Corners Rounded 5">
            <a:extLst>
              <a:ext uri="{FF2B5EF4-FFF2-40B4-BE49-F238E27FC236}">
                <a16:creationId xmlns:a16="http://schemas.microsoft.com/office/drawing/2014/main" id="{5561EE84-A4FD-1FA2-7A23-72805767CDD9}"/>
              </a:ext>
            </a:extLst>
          </p:cNvPr>
          <p:cNvSpPr>
            <a:spLocks/>
          </p:cNvSpPr>
          <p:nvPr/>
        </p:nvSpPr>
        <p:spPr>
          <a:xfrm>
            <a:off x="4819337" y="1891280"/>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Portfolio exposure to high-risk markets?</a:t>
            </a:r>
          </a:p>
        </p:txBody>
      </p:sp>
      <p:sp>
        <p:nvSpPr>
          <p:cNvPr id="7" name="Speech Bubble: Rectangle with Corners Rounded 6">
            <a:extLst>
              <a:ext uri="{FF2B5EF4-FFF2-40B4-BE49-F238E27FC236}">
                <a16:creationId xmlns:a16="http://schemas.microsoft.com/office/drawing/2014/main" id="{7DAEF69B-3B74-48BA-FBA9-5F6A768C3759}"/>
              </a:ext>
            </a:extLst>
          </p:cNvPr>
          <p:cNvSpPr>
            <a:spLocks/>
          </p:cNvSpPr>
          <p:nvPr/>
        </p:nvSpPr>
        <p:spPr>
          <a:xfrm>
            <a:off x="3698811" y="1891280"/>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Supply &amp; shipping impact of potential China &amp; Taiwan conflict?</a:t>
            </a:r>
          </a:p>
        </p:txBody>
      </p:sp>
      <p:sp>
        <p:nvSpPr>
          <p:cNvPr id="8" name="Speech Bubble: Rectangle with Corners Rounded 7">
            <a:extLst>
              <a:ext uri="{FF2B5EF4-FFF2-40B4-BE49-F238E27FC236}">
                <a16:creationId xmlns:a16="http://schemas.microsoft.com/office/drawing/2014/main" id="{5DEFC79A-27A7-974E-EFAD-712B62CD6759}"/>
              </a:ext>
            </a:extLst>
          </p:cNvPr>
          <p:cNvSpPr>
            <a:spLocks/>
          </p:cNvSpPr>
          <p:nvPr/>
        </p:nvSpPr>
        <p:spPr>
          <a:xfrm>
            <a:off x="2542172" y="2807834"/>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Impact on sales (e.g., wildfires in Australia)</a:t>
            </a:r>
          </a:p>
        </p:txBody>
      </p:sp>
      <p:sp>
        <p:nvSpPr>
          <p:cNvPr id="9" name="Speech Bubble: Rectangle with Corners Rounded 8">
            <a:extLst>
              <a:ext uri="{FF2B5EF4-FFF2-40B4-BE49-F238E27FC236}">
                <a16:creationId xmlns:a16="http://schemas.microsoft.com/office/drawing/2014/main" id="{89A78E9F-09BB-6C3A-2C68-AFA3C90D9D14}"/>
              </a:ext>
            </a:extLst>
          </p:cNvPr>
          <p:cNvSpPr>
            <a:spLocks/>
          </p:cNvSpPr>
          <p:nvPr/>
        </p:nvSpPr>
        <p:spPr>
          <a:xfrm>
            <a:off x="4829069" y="2807834"/>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Nexans &amp; suppliers’ sites exposure?</a:t>
            </a:r>
          </a:p>
        </p:txBody>
      </p:sp>
      <p:sp>
        <p:nvSpPr>
          <p:cNvPr id="14" name="Speech Bubble: Rectangle with Corners Rounded 13">
            <a:extLst>
              <a:ext uri="{FF2B5EF4-FFF2-40B4-BE49-F238E27FC236}">
                <a16:creationId xmlns:a16="http://schemas.microsoft.com/office/drawing/2014/main" id="{28880C5F-CDE7-B832-E62A-D4F0100F9CB0}"/>
              </a:ext>
            </a:extLst>
          </p:cNvPr>
          <p:cNvSpPr>
            <a:spLocks/>
          </p:cNvSpPr>
          <p:nvPr/>
        </p:nvSpPr>
        <p:spPr>
          <a:xfrm>
            <a:off x="3685620" y="2807834"/>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Commercial opportunities (robust products)?</a:t>
            </a:r>
          </a:p>
        </p:txBody>
      </p:sp>
      <p:sp>
        <p:nvSpPr>
          <p:cNvPr id="15" name="Speech Bubble: Rectangle with Corners Rounded 14">
            <a:extLst>
              <a:ext uri="{FF2B5EF4-FFF2-40B4-BE49-F238E27FC236}">
                <a16:creationId xmlns:a16="http://schemas.microsoft.com/office/drawing/2014/main" id="{1F7C3477-5613-48AC-DB0A-D2273FAD70D0}"/>
              </a:ext>
            </a:extLst>
          </p:cNvPr>
          <p:cNvSpPr>
            <a:spLocks/>
          </p:cNvSpPr>
          <p:nvPr/>
        </p:nvSpPr>
        <p:spPr>
          <a:xfrm>
            <a:off x="2564637" y="3862812"/>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Impacting which verticals &amp; geographies?</a:t>
            </a:r>
          </a:p>
        </p:txBody>
      </p:sp>
      <p:sp>
        <p:nvSpPr>
          <p:cNvPr id="17" name="Speech Bubble: Rectangle with Corners Rounded 16">
            <a:extLst>
              <a:ext uri="{FF2B5EF4-FFF2-40B4-BE49-F238E27FC236}">
                <a16:creationId xmlns:a16="http://schemas.microsoft.com/office/drawing/2014/main" id="{25001C07-C990-67E5-A925-CD6EE96A7429}"/>
              </a:ext>
            </a:extLst>
          </p:cNvPr>
          <p:cNvSpPr>
            <a:spLocks/>
          </p:cNvSpPr>
          <p:nvPr/>
        </p:nvSpPr>
        <p:spPr>
          <a:xfrm>
            <a:off x="3698810" y="3880765"/>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How to anticipate and monitor?</a:t>
            </a:r>
          </a:p>
        </p:txBody>
      </p:sp>
      <p:sp>
        <p:nvSpPr>
          <p:cNvPr id="35" name="Speech Bubble: Rectangle with Corners Rounded 34">
            <a:extLst>
              <a:ext uri="{FF2B5EF4-FFF2-40B4-BE49-F238E27FC236}">
                <a16:creationId xmlns:a16="http://schemas.microsoft.com/office/drawing/2014/main" id="{0CCF9172-677B-AC45-2A0A-978A3556C992}"/>
              </a:ext>
            </a:extLst>
          </p:cNvPr>
          <p:cNvSpPr>
            <a:spLocks/>
          </p:cNvSpPr>
          <p:nvPr/>
        </p:nvSpPr>
        <p:spPr>
          <a:xfrm>
            <a:off x="10514229" y="1758315"/>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Suppliers &amp; customers’ reactions?</a:t>
            </a:r>
          </a:p>
        </p:txBody>
      </p:sp>
      <p:sp>
        <p:nvSpPr>
          <p:cNvPr id="37" name="Speech Bubble: Rectangle with Corners Rounded 36">
            <a:extLst>
              <a:ext uri="{FF2B5EF4-FFF2-40B4-BE49-F238E27FC236}">
                <a16:creationId xmlns:a16="http://schemas.microsoft.com/office/drawing/2014/main" id="{E5B62ABB-AB37-8E60-2B85-1DFCCA8A444F}"/>
              </a:ext>
            </a:extLst>
          </p:cNvPr>
          <p:cNvSpPr>
            <a:spLocks/>
          </p:cNvSpPr>
          <p:nvPr/>
        </p:nvSpPr>
        <p:spPr>
          <a:xfrm>
            <a:off x="8277331" y="1758315"/>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What if it remains high?</a:t>
            </a:r>
          </a:p>
        </p:txBody>
      </p:sp>
      <p:sp>
        <p:nvSpPr>
          <p:cNvPr id="38" name="Speech Bubble: Rectangle with Corners Rounded 37">
            <a:extLst>
              <a:ext uri="{FF2B5EF4-FFF2-40B4-BE49-F238E27FC236}">
                <a16:creationId xmlns:a16="http://schemas.microsoft.com/office/drawing/2014/main" id="{36E2E52D-215E-9442-AF7A-B38B8BD03F53}"/>
              </a:ext>
            </a:extLst>
          </p:cNvPr>
          <p:cNvSpPr>
            <a:spLocks/>
          </p:cNvSpPr>
          <p:nvPr/>
        </p:nvSpPr>
        <p:spPr>
          <a:xfrm>
            <a:off x="9404706" y="1758315"/>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Any systematic plan to react quickly to increase or decrease?</a:t>
            </a:r>
          </a:p>
        </p:txBody>
      </p:sp>
      <p:sp>
        <p:nvSpPr>
          <p:cNvPr id="39" name="Speech Bubble: Rectangle with Corners Rounded 38">
            <a:extLst>
              <a:ext uri="{FF2B5EF4-FFF2-40B4-BE49-F238E27FC236}">
                <a16:creationId xmlns:a16="http://schemas.microsoft.com/office/drawing/2014/main" id="{214F5528-1803-E733-4530-342243271821}"/>
              </a:ext>
            </a:extLst>
          </p:cNvPr>
          <p:cNvSpPr>
            <a:spLocks/>
          </p:cNvSpPr>
          <p:nvPr/>
        </p:nvSpPr>
        <p:spPr>
          <a:xfrm>
            <a:off x="10500734" y="2620390"/>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Vulnerability of different verticals to a recession?</a:t>
            </a:r>
          </a:p>
        </p:txBody>
      </p:sp>
      <p:sp>
        <p:nvSpPr>
          <p:cNvPr id="42" name="Speech Bubble: Rectangle with Corners Rounded 41">
            <a:extLst>
              <a:ext uri="{FF2B5EF4-FFF2-40B4-BE49-F238E27FC236}">
                <a16:creationId xmlns:a16="http://schemas.microsoft.com/office/drawing/2014/main" id="{74EB9DDB-576B-BC8A-5997-1EE76F7AE11C}"/>
              </a:ext>
            </a:extLst>
          </p:cNvPr>
          <p:cNvSpPr>
            <a:spLocks/>
          </p:cNvSpPr>
          <p:nvPr/>
        </p:nvSpPr>
        <p:spPr>
          <a:xfrm>
            <a:off x="8288864" y="2620390"/>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Any protected market segments?</a:t>
            </a:r>
          </a:p>
        </p:txBody>
      </p:sp>
      <p:sp>
        <p:nvSpPr>
          <p:cNvPr id="43" name="Speech Bubble: Rectangle with Corners Rounded 42">
            <a:extLst>
              <a:ext uri="{FF2B5EF4-FFF2-40B4-BE49-F238E27FC236}">
                <a16:creationId xmlns:a16="http://schemas.microsoft.com/office/drawing/2014/main" id="{505AD338-3ECB-9289-5803-B4F79893D104}"/>
              </a:ext>
            </a:extLst>
          </p:cNvPr>
          <p:cNvSpPr>
            <a:spLocks/>
          </p:cNvSpPr>
          <p:nvPr/>
        </p:nvSpPr>
        <p:spPr>
          <a:xfrm>
            <a:off x="9394799" y="2620390"/>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Ties across geographies?</a:t>
            </a:r>
          </a:p>
        </p:txBody>
      </p:sp>
      <p:sp>
        <p:nvSpPr>
          <p:cNvPr id="44" name="Speech Bubble: Rectangle with Corners Rounded 43">
            <a:extLst>
              <a:ext uri="{FF2B5EF4-FFF2-40B4-BE49-F238E27FC236}">
                <a16:creationId xmlns:a16="http://schemas.microsoft.com/office/drawing/2014/main" id="{ED2994EA-CF26-D1DB-F559-3FA9FA17F227}"/>
              </a:ext>
            </a:extLst>
          </p:cNvPr>
          <p:cNvSpPr>
            <a:spLocks/>
          </p:cNvSpPr>
          <p:nvPr/>
        </p:nvSpPr>
        <p:spPr>
          <a:xfrm>
            <a:off x="10500735" y="3447799"/>
            <a:ext cx="1109522"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Already an issue, impacting production capacity?</a:t>
            </a:r>
          </a:p>
        </p:txBody>
      </p:sp>
      <p:sp>
        <p:nvSpPr>
          <p:cNvPr id="45" name="Speech Bubble: Rectangle with Corners Rounded 44">
            <a:extLst>
              <a:ext uri="{FF2B5EF4-FFF2-40B4-BE49-F238E27FC236}">
                <a16:creationId xmlns:a16="http://schemas.microsoft.com/office/drawing/2014/main" id="{B2D7D818-A56E-E3CD-0DB8-79AAB69E23FA}"/>
              </a:ext>
            </a:extLst>
          </p:cNvPr>
          <p:cNvSpPr>
            <a:spLocks/>
          </p:cNvSpPr>
          <p:nvPr/>
        </p:nvSpPr>
        <p:spPr>
          <a:xfrm>
            <a:off x="9389033" y="3447799"/>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Variability across departments?</a:t>
            </a:r>
          </a:p>
        </p:txBody>
      </p:sp>
      <p:sp>
        <p:nvSpPr>
          <p:cNvPr id="46" name="Speech Bubble: Rectangle with Corners Rounded 45">
            <a:extLst>
              <a:ext uri="{FF2B5EF4-FFF2-40B4-BE49-F238E27FC236}">
                <a16:creationId xmlns:a16="http://schemas.microsoft.com/office/drawing/2014/main" id="{4F785591-C78A-8199-FC91-1B73D95CC798}"/>
              </a:ext>
            </a:extLst>
          </p:cNvPr>
          <p:cNvSpPr>
            <a:spLocks/>
          </p:cNvSpPr>
          <p:nvPr/>
        </p:nvSpPr>
        <p:spPr>
          <a:xfrm>
            <a:off x="8277332" y="3447799"/>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Anticipative actions from competitors?</a:t>
            </a:r>
          </a:p>
        </p:txBody>
      </p:sp>
      <p:sp>
        <p:nvSpPr>
          <p:cNvPr id="47" name="Speech Bubble: Rectangle with Corners Rounded 46">
            <a:extLst>
              <a:ext uri="{FF2B5EF4-FFF2-40B4-BE49-F238E27FC236}">
                <a16:creationId xmlns:a16="http://schemas.microsoft.com/office/drawing/2014/main" id="{E3596A2E-783A-26C6-2AB1-C77A3DF1DD00}"/>
              </a:ext>
            </a:extLst>
          </p:cNvPr>
          <p:cNvSpPr>
            <a:spLocks/>
          </p:cNvSpPr>
          <p:nvPr/>
        </p:nvSpPr>
        <p:spPr>
          <a:xfrm>
            <a:off x="1348923" y="5739749"/>
            <a:ext cx="793020"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Which verticals?</a:t>
            </a:r>
          </a:p>
        </p:txBody>
      </p:sp>
      <p:sp>
        <p:nvSpPr>
          <p:cNvPr id="48" name="Speech Bubble: Rectangle with Corners Rounded 47">
            <a:extLst>
              <a:ext uri="{FF2B5EF4-FFF2-40B4-BE49-F238E27FC236}">
                <a16:creationId xmlns:a16="http://schemas.microsoft.com/office/drawing/2014/main" id="{65F956E7-7A30-0DEF-8078-6D7BAB0DEC8C}"/>
              </a:ext>
            </a:extLst>
          </p:cNvPr>
          <p:cNvSpPr>
            <a:spLocks/>
          </p:cNvSpPr>
          <p:nvPr/>
        </p:nvSpPr>
        <p:spPr>
          <a:xfrm>
            <a:off x="2145662" y="5739749"/>
            <a:ext cx="793020"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Which geographies?</a:t>
            </a:r>
          </a:p>
        </p:txBody>
      </p:sp>
      <p:sp>
        <p:nvSpPr>
          <p:cNvPr id="49" name="Speech Bubble: Rectangle with Corners Rounded 48">
            <a:extLst>
              <a:ext uri="{FF2B5EF4-FFF2-40B4-BE49-F238E27FC236}">
                <a16:creationId xmlns:a16="http://schemas.microsoft.com/office/drawing/2014/main" id="{1450C5DE-3937-B4D4-B278-02E5F2A7D55C}"/>
              </a:ext>
            </a:extLst>
          </p:cNvPr>
          <p:cNvSpPr>
            <a:spLocks/>
          </p:cNvSpPr>
          <p:nvPr/>
        </p:nvSpPr>
        <p:spPr>
          <a:xfrm>
            <a:off x="555903" y="5739749"/>
            <a:ext cx="793020"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National investment plans?</a:t>
            </a:r>
          </a:p>
        </p:txBody>
      </p:sp>
      <p:sp>
        <p:nvSpPr>
          <p:cNvPr id="50" name="Speech Bubble: Rectangle with Corners Rounded 49">
            <a:extLst>
              <a:ext uri="{FF2B5EF4-FFF2-40B4-BE49-F238E27FC236}">
                <a16:creationId xmlns:a16="http://schemas.microsoft.com/office/drawing/2014/main" id="{EB423002-133B-5224-79B5-89ABA08A940A}"/>
              </a:ext>
            </a:extLst>
          </p:cNvPr>
          <p:cNvSpPr>
            <a:spLocks/>
          </p:cNvSpPr>
          <p:nvPr/>
        </p:nvSpPr>
        <p:spPr>
          <a:xfrm>
            <a:off x="5077396" y="5747134"/>
            <a:ext cx="793020"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Tension on recycling capacity?</a:t>
            </a:r>
          </a:p>
        </p:txBody>
      </p:sp>
      <p:sp>
        <p:nvSpPr>
          <p:cNvPr id="51" name="Speech Bubble: Rectangle with Corners Rounded 50">
            <a:extLst>
              <a:ext uri="{FF2B5EF4-FFF2-40B4-BE49-F238E27FC236}">
                <a16:creationId xmlns:a16="http://schemas.microsoft.com/office/drawing/2014/main" id="{D638D8FF-A46F-635D-4B55-EEED79F56523}"/>
              </a:ext>
            </a:extLst>
          </p:cNvPr>
          <p:cNvSpPr>
            <a:spLocks/>
          </p:cNvSpPr>
          <p:nvPr/>
        </p:nvSpPr>
        <p:spPr>
          <a:xfrm>
            <a:off x="4070404" y="5739749"/>
            <a:ext cx="989376"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Competition securing agreements with supplier?</a:t>
            </a:r>
          </a:p>
        </p:txBody>
      </p:sp>
      <p:sp>
        <p:nvSpPr>
          <p:cNvPr id="52" name="Speech Bubble: Rectangle with Corners Rounded 51">
            <a:extLst>
              <a:ext uri="{FF2B5EF4-FFF2-40B4-BE49-F238E27FC236}">
                <a16:creationId xmlns:a16="http://schemas.microsoft.com/office/drawing/2014/main" id="{8B3D34BB-C281-C312-6922-0ED5CD32D1F5}"/>
              </a:ext>
            </a:extLst>
          </p:cNvPr>
          <p:cNvSpPr>
            <a:spLocks/>
          </p:cNvSpPr>
          <p:nvPr/>
        </p:nvSpPr>
        <p:spPr>
          <a:xfrm>
            <a:off x="3259768" y="5739749"/>
            <a:ext cx="793020"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Green premiums to customers?</a:t>
            </a:r>
          </a:p>
        </p:txBody>
      </p:sp>
      <p:sp>
        <p:nvSpPr>
          <p:cNvPr id="53" name="Speech Bubble: Rectangle with Corners Rounded 52">
            <a:extLst>
              <a:ext uri="{FF2B5EF4-FFF2-40B4-BE49-F238E27FC236}">
                <a16:creationId xmlns:a16="http://schemas.microsoft.com/office/drawing/2014/main" id="{814188C9-D8D8-4F2F-11FF-70B9FC59A1B1}"/>
              </a:ext>
            </a:extLst>
          </p:cNvPr>
          <p:cNvSpPr>
            <a:spLocks/>
          </p:cNvSpPr>
          <p:nvPr/>
        </p:nvSpPr>
        <p:spPr>
          <a:xfrm>
            <a:off x="7983801" y="5742169"/>
            <a:ext cx="793020"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Threat from distributors imposing specs?</a:t>
            </a:r>
          </a:p>
        </p:txBody>
      </p:sp>
      <p:sp>
        <p:nvSpPr>
          <p:cNvPr id="54" name="Speech Bubble: Rectangle with Corners Rounded 53">
            <a:extLst>
              <a:ext uri="{FF2B5EF4-FFF2-40B4-BE49-F238E27FC236}">
                <a16:creationId xmlns:a16="http://schemas.microsoft.com/office/drawing/2014/main" id="{E739AA68-B6A6-3F5D-3596-BE3F9ED57800}"/>
              </a:ext>
            </a:extLst>
          </p:cNvPr>
          <p:cNvSpPr>
            <a:spLocks/>
          </p:cNvSpPr>
          <p:nvPr/>
        </p:nvSpPr>
        <p:spPr>
          <a:xfrm>
            <a:off x="7139812" y="5739749"/>
            <a:ext cx="843988"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Price dumping from competition?</a:t>
            </a:r>
          </a:p>
        </p:txBody>
      </p:sp>
      <p:sp>
        <p:nvSpPr>
          <p:cNvPr id="55" name="Speech Bubble: Rectangle with Corners Rounded 54">
            <a:extLst>
              <a:ext uri="{FF2B5EF4-FFF2-40B4-BE49-F238E27FC236}">
                <a16:creationId xmlns:a16="http://schemas.microsoft.com/office/drawing/2014/main" id="{7DDCE8E8-F042-D549-3DF5-9FB4B9023252}"/>
              </a:ext>
            </a:extLst>
          </p:cNvPr>
          <p:cNvSpPr>
            <a:spLocks/>
          </p:cNvSpPr>
          <p:nvPr/>
        </p:nvSpPr>
        <p:spPr>
          <a:xfrm>
            <a:off x="6217705" y="5739749"/>
            <a:ext cx="914517"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Available capabilities for differentiation?</a:t>
            </a:r>
          </a:p>
        </p:txBody>
      </p:sp>
      <p:sp>
        <p:nvSpPr>
          <p:cNvPr id="56" name="Speech Bubble: Rectangle with Corners Rounded 55">
            <a:extLst>
              <a:ext uri="{FF2B5EF4-FFF2-40B4-BE49-F238E27FC236}">
                <a16:creationId xmlns:a16="http://schemas.microsoft.com/office/drawing/2014/main" id="{80139C9A-6D6A-9BF7-3FD1-CDD218F97249}"/>
              </a:ext>
            </a:extLst>
          </p:cNvPr>
          <p:cNvSpPr>
            <a:spLocks/>
          </p:cNvSpPr>
          <p:nvPr/>
        </p:nvSpPr>
        <p:spPr>
          <a:xfrm>
            <a:off x="10203255" y="5743528"/>
            <a:ext cx="1027927"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Threat from competition on valuable targets?</a:t>
            </a:r>
          </a:p>
        </p:txBody>
      </p:sp>
      <p:sp>
        <p:nvSpPr>
          <p:cNvPr id="57" name="Speech Bubble: Rectangle with Corners Rounded 56">
            <a:extLst>
              <a:ext uri="{FF2B5EF4-FFF2-40B4-BE49-F238E27FC236}">
                <a16:creationId xmlns:a16="http://schemas.microsoft.com/office/drawing/2014/main" id="{3EF32C95-9B77-6272-3F0F-762FE16ED404}"/>
              </a:ext>
            </a:extLst>
          </p:cNvPr>
          <p:cNvSpPr>
            <a:spLocks/>
          </p:cNvSpPr>
          <p:nvPr/>
        </p:nvSpPr>
        <p:spPr>
          <a:xfrm>
            <a:off x="9175328" y="5740428"/>
            <a:ext cx="1027927"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Strategic technologies to be integrated to Nexans offer?</a:t>
            </a:r>
          </a:p>
        </p:txBody>
      </p:sp>
      <p:sp>
        <p:nvSpPr>
          <p:cNvPr id="3" name="Speech Bubble: Rectangle with Corners Rounded 2">
            <a:extLst>
              <a:ext uri="{FF2B5EF4-FFF2-40B4-BE49-F238E27FC236}">
                <a16:creationId xmlns:a16="http://schemas.microsoft.com/office/drawing/2014/main" id="{AEBAD0B8-C184-F894-4413-8A98E0BBD9A6}"/>
              </a:ext>
            </a:extLst>
          </p:cNvPr>
          <p:cNvSpPr>
            <a:spLocks/>
          </p:cNvSpPr>
          <p:nvPr/>
        </p:nvSpPr>
        <p:spPr>
          <a:xfrm>
            <a:off x="8277332" y="4225273"/>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Cyber-attack threats?</a:t>
            </a:r>
          </a:p>
        </p:txBody>
      </p:sp>
      <p:sp>
        <p:nvSpPr>
          <p:cNvPr id="4" name="Speech Bubble: Rectangle with Corners Rounded 3">
            <a:extLst>
              <a:ext uri="{FF2B5EF4-FFF2-40B4-BE49-F238E27FC236}">
                <a16:creationId xmlns:a16="http://schemas.microsoft.com/office/drawing/2014/main" id="{89DC4F5A-F99F-1D2E-0CE6-FB435296FF4D}"/>
              </a:ext>
            </a:extLst>
          </p:cNvPr>
          <p:cNvSpPr>
            <a:spLocks/>
          </p:cNvSpPr>
          <p:nvPr/>
        </p:nvSpPr>
        <p:spPr>
          <a:xfrm>
            <a:off x="9404706" y="4225273"/>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AI innovation potential?</a:t>
            </a:r>
          </a:p>
        </p:txBody>
      </p:sp>
      <p:sp>
        <p:nvSpPr>
          <p:cNvPr id="58" name="Speech Bubble: Rectangle with Corners Rounded 57">
            <a:extLst>
              <a:ext uri="{FF2B5EF4-FFF2-40B4-BE49-F238E27FC236}">
                <a16:creationId xmlns:a16="http://schemas.microsoft.com/office/drawing/2014/main" id="{32198D45-3A72-40BF-B4C8-0468A0398D92}"/>
              </a:ext>
            </a:extLst>
          </p:cNvPr>
          <p:cNvSpPr>
            <a:spLocks/>
          </p:cNvSpPr>
          <p:nvPr/>
        </p:nvSpPr>
        <p:spPr>
          <a:xfrm>
            <a:off x="10514228" y="4225273"/>
            <a:ext cx="1109523" cy="592208"/>
          </a:xfrm>
          <a:prstGeom prst="wedgeRoundRectCallout">
            <a:avLst>
              <a:gd name="adj1" fmla="val -58412"/>
              <a:gd name="adj2" fmla="val 24193"/>
              <a:gd name="adj3" fmla="val 16667"/>
            </a:avLst>
          </a:prstGeom>
          <a:solidFill>
            <a:srgbClr val="FFF2B5"/>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spcBef>
                <a:spcPts val="600"/>
              </a:spcBef>
              <a:buSzPct val="100000"/>
            </a:pPr>
            <a:r>
              <a:rPr lang="en-GB" sz="900" kern="0">
                <a:solidFill>
                  <a:schemeClr val="tx1"/>
                </a:solidFill>
                <a:sym typeface="+mn-lt"/>
              </a:rPr>
              <a:t>Operations robotization?</a:t>
            </a:r>
          </a:p>
        </p:txBody>
      </p:sp>
    </p:spTree>
    <p:extLst>
      <p:ext uri="{BB962C8B-B14F-4D97-AF65-F5344CB8AC3E}">
        <p14:creationId xmlns:p14="http://schemas.microsoft.com/office/powerpoint/2010/main" val="2681425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50"/>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5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5"/>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6"/>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5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4" grpId="0" animBg="1"/>
      <p:bldP spid="15" grpId="0" animBg="1"/>
      <p:bldP spid="17" grpId="0" animBg="1"/>
      <p:bldP spid="35" grpId="0" animBg="1"/>
      <p:bldP spid="37" grpId="0" animBg="1"/>
      <p:bldP spid="38" grpId="0" animBg="1"/>
      <p:bldP spid="39"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3" grpId="0" animBg="1"/>
      <p:bldP spid="4" grpId="0" animBg="1"/>
      <p:bldP spid="5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0AE708-BC12-448E-95F7-7D9B4B7918D5}"/>
              </a:ext>
            </a:extLst>
          </p:cNvPr>
          <p:cNvGraphicFramePr>
            <a:graphicFrameLocks noChangeAspect="1"/>
          </p:cNvGraphicFramePr>
          <p:nvPr>
            <p:custDataLst>
              <p:tags r:id="rId2"/>
            </p:custDataLst>
            <p:extLst>
              <p:ext uri="{D42A27DB-BD31-4B8C-83A1-F6EECF244321}">
                <p14:modId xmlns:p14="http://schemas.microsoft.com/office/powerpoint/2010/main" val="1788095355"/>
              </p:ext>
            </p:ext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A30AE708-BC12-448E-95F7-7D9B4B7918D5}"/>
                          </a:ext>
                        </a:extLst>
                      </p:cNvPr>
                      <p:cNvPicPr/>
                      <p:nvPr/>
                    </p:nvPicPr>
                    <p:blipFill>
                      <a:blip r:embed="rId7"/>
                      <a:stretch>
                        <a:fillRect/>
                      </a:stretch>
                    </p:blipFill>
                    <p:spPr>
                      <a:xfrm>
                        <a:off x="1296988" y="1588"/>
                        <a:ext cx="1588" cy="1588"/>
                      </a:xfrm>
                      <a:prstGeom prst="rect">
                        <a:avLst/>
                      </a:prstGeom>
                    </p:spPr>
                  </p:pic>
                </p:oleObj>
              </mc:Fallback>
            </mc:AlternateContent>
          </a:graphicData>
        </a:graphic>
      </p:graphicFrame>
      <p:cxnSp>
        <p:nvCxnSpPr>
          <p:cNvPr id="33" name="Straight Connector 32">
            <a:extLst>
              <a:ext uri="{FF2B5EF4-FFF2-40B4-BE49-F238E27FC236}">
                <a16:creationId xmlns:a16="http://schemas.microsoft.com/office/drawing/2014/main" id="{E643CB58-2BA5-4169-BCF7-AC3358BA709B}"/>
              </a:ext>
            </a:extLst>
          </p:cNvPr>
          <p:cNvCxnSpPr>
            <a:cxnSpLocks/>
          </p:cNvCxnSpPr>
          <p:nvPr/>
        </p:nvCxnSpPr>
        <p:spPr>
          <a:xfrm flipH="1">
            <a:off x="483272" y="2920867"/>
            <a:ext cx="11226527" cy="0"/>
          </a:xfrm>
          <a:prstGeom prst="line">
            <a:avLst/>
          </a:prstGeom>
          <a:ln w="28575">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Rectangle 6" hidden="1">
            <a:extLst>
              <a:ext uri="{FF2B5EF4-FFF2-40B4-BE49-F238E27FC236}">
                <a16:creationId xmlns:a16="http://schemas.microsoft.com/office/drawing/2014/main" id="{1C0C0116-2DCA-4D38-B33C-B03CCC2C96F6}"/>
              </a:ext>
            </a:extLst>
          </p:cNvPr>
          <p:cNvSpPr/>
          <p:nvPr>
            <p:custDataLst>
              <p:tags r:id="rId3"/>
            </p:custDataLst>
          </p:nvPr>
        </p:nvSpPr>
        <p:spPr>
          <a:xfrm>
            <a:off x="129540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2" name="Title 1">
            <a:extLst>
              <a:ext uri="{FF2B5EF4-FFF2-40B4-BE49-F238E27FC236}">
                <a16:creationId xmlns:a16="http://schemas.microsoft.com/office/drawing/2014/main" id="{D8668B65-FC3A-4C4C-98AB-A02ADC2C3940}"/>
              </a:ext>
            </a:extLst>
          </p:cNvPr>
          <p:cNvSpPr>
            <a:spLocks noGrp="1"/>
          </p:cNvSpPr>
          <p:nvPr>
            <p:ph type="title"/>
          </p:nvPr>
        </p:nvSpPr>
        <p:spPr/>
        <p:txBody>
          <a:bodyPr vert="horz"/>
          <a:lstStyle/>
          <a:p>
            <a:r>
              <a:rPr lang="en-GB"/>
              <a:t>What risks do leaders anticipate in the next years?</a:t>
            </a:r>
          </a:p>
        </p:txBody>
      </p:sp>
      <p:grpSp>
        <p:nvGrpSpPr>
          <p:cNvPr id="9" name="Group 8">
            <a:extLst>
              <a:ext uri="{FF2B5EF4-FFF2-40B4-BE49-F238E27FC236}">
                <a16:creationId xmlns:a16="http://schemas.microsoft.com/office/drawing/2014/main" id="{68354F77-CE9E-47FE-A8DD-7BA1A630C430}"/>
              </a:ext>
            </a:extLst>
          </p:cNvPr>
          <p:cNvGrpSpPr/>
          <p:nvPr/>
        </p:nvGrpSpPr>
        <p:grpSpPr>
          <a:xfrm>
            <a:off x="1046238" y="2618883"/>
            <a:ext cx="2223115" cy="2727215"/>
            <a:chOff x="1046238" y="2618883"/>
            <a:chExt cx="2223115" cy="2727215"/>
          </a:xfrm>
        </p:grpSpPr>
        <p:sp>
          <p:nvSpPr>
            <p:cNvPr id="152" name="TextBox 151">
              <a:extLst>
                <a:ext uri="{FF2B5EF4-FFF2-40B4-BE49-F238E27FC236}">
                  <a16:creationId xmlns:a16="http://schemas.microsoft.com/office/drawing/2014/main" id="{954D921A-358E-44A7-AAB0-3A36D945994D}"/>
                </a:ext>
              </a:extLst>
            </p:cNvPr>
            <p:cNvSpPr txBox="1">
              <a:spLocks/>
            </p:cNvSpPr>
            <p:nvPr/>
          </p:nvSpPr>
          <p:spPr>
            <a:xfrm>
              <a:off x="1046238" y="2618883"/>
              <a:ext cx="805355" cy="615553"/>
            </a:xfrm>
            <a:prstGeom prst="rect">
              <a:avLst/>
            </a:prstGeom>
            <a:solidFill>
              <a:schemeClr val="bg2"/>
            </a:solidFill>
          </p:spPr>
          <p:txBody>
            <a:bodyPr wrap="square" lIns="0" tIns="0" rIns="0" bIns="0">
              <a:spAutoFit/>
            </a:bodyPr>
            <a:lstStyle/>
            <a:p>
              <a:r>
                <a:rPr lang="en-GB" sz="4000" b="1">
                  <a:solidFill>
                    <a:schemeClr val="accent3"/>
                  </a:solidFill>
                  <a:latin typeface="MMC Display Condensed" panose="020B0606020203020204" pitchFamily="34" charset="0"/>
                  <a:cs typeface="MMC Display Condensed" panose="020B0606020203020204" pitchFamily="34" charset="0"/>
                </a:rPr>
                <a:t>42</a:t>
              </a:r>
              <a:r>
                <a:rPr lang="en-GB" sz="3200" b="1">
                  <a:solidFill>
                    <a:schemeClr val="accent3"/>
                  </a:solidFill>
                  <a:latin typeface="MMC Display Condensed" panose="020B0606020203020204" pitchFamily="34" charset="0"/>
                  <a:cs typeface="MMC Display Condensed" panose="020B0606020203020204" pitchFamily="34" charset="0"/>
                </a:rPr>
                <a:t>%</a:t>
              </a:r>
            </a:p>
          </p:txBody>
        </p:sp>
        <p:sp>
          <p:nvSpPr>
            <p:cNvPr id="153" name="TextBox 152">
              <a:extLst>
                <a:ext uri="{FF2B5EF4-FFF2-40B4-BE49-F238E27FC236}">
                  <a16:creationId xmlns:a16="http://schemas.microsoft.com/office/drawing/2014/main" id="{7AA1A100-376F-4A1B-8A5C-FE5E32E35EA3}"/>
                </a:ext>
              </a:extLst>
            </p:cNvPr>
            <p:cNvSpPr txBox="1">
              <a:spLocks/>
            </p:cNvSpPr>
            <p:nvPr/>
          </p:nvSpPr>
          <p:spPr>
            <a:xfrm>
              <a:off x="1046238" y="3533043"/>
              <a:ext cx="2223115" cy="866900"/>
            </a:xfrm>
            <a:prstGeom prst="rect">
              <a:avLst/>
            </a:prstGeom>
            <a:noFill/>
          </p:spPr>
          <p:txBody>
            <a:bodyPr wrap="square" lIns="0" tIns="0" rIns="0" bIns="0" rtlCol="0" anchor="t">
              <a:noAutofit/>
            </a:bodyPr>
            <a:lstStyle/>
            <a:p>
              <a:r>
                <a:rPr lang="en-GB" sz="1600" b="1"/>
                <a:t>Consistent volatility</a:t>
              </a:r>
              <a:br>
                <a:rPr lang="en-GB" sz="1600"/>
              </a:br>
              <a:r>
                <a:rPr lang="en-GB" sz="1600"/>
                <a:t>with multiple surprises</a:t>
              </a:r>
            </a:p>
          </p:txBody>
        </p:sp>
        <p:cxnSp>
          <p:nvCxnSpPr>
            <p:cNvPr id="164" name="Straight Connector 163">
              <a:extLst>
                <a:ext uri="{FF2B5EF4-FFF2-40B4-BE49-F238E27FC236}">
                  <a16:creationId xmlns:a16="http://schemas.microsoft.com/office/drawing/2014/main" id="{D80957BE-A8FD-4F92-93E3-B4905FCB2F91}"/>
                </a:ext>
              </a:extLst>
            </p:cNvPr>
            <p:cNvCxnSpPr>
              <a:cxnSpLocks/>
            </p:cNvCxnSpPr>
            <p:nvPr/>
          </p:nvCxnSpPr>
          <p:spPr>
            <a:xfrm>
              <a:off x="1046238" y="3324309"/>
              <a:ext cx="805355" cy="0"/>
            </a:xfrm>
            <a:prstGeom prst="line">
              <a:avLst/>
            </a:prstGeom>
            <a:ln w="2857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3" name="ico-line-chart">
              <a:extLst>
                <a:ext uri="{FF2B5EF4-FFF2-40B4-BE49-F238E27FC236}">
                  <a16:creationId xmlns:a16="http://schemas.microsoft.com/office/drawing/2014/main" id="{7F390AA5-3AD8-46ED-A6D9-769DDB4E7D0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70886" y="4574517"/>
              <a:ext cx="771581" cy="771581"/>
            </a:xfrm>
            <a:prstGeom prst="rect">
              <a:avLst/>
            </a:prstGeom>
          </p:spPr>
        </p:pic>
      </p:grpSp>
      <p:grpSp>
        <p:nvGrpSpPr>
          <p:cNvPr id="6" name="Group 5">
            <a:extLst>
              <a:ext uri="{FF2B5EF4-FFF2-40B4-BE49-F238E27FC236}">
                <a16:creationId xmlns:a16="http://schemas.microsoft.com/office/drawing/2014/main" id="{BEB8A2E4-85DE-4F1D-BBA4-D74E56F18D44}"/>
              </a:ext>
            </a:extLst>
          </p:cNvPr>
          <p:cNvGrpSpPr/>
          <p:nvPr/>
        </p:nvGrpSpPr>
        <p:grpSpPr>
          <a:xfrm>
            <a:off x="5131539" y="2618883"/>
            <a:ext cx="2223115" cy="2792468"/>
            <a:chOff x="5131538" y="2618883"/>
            <a:chExt cx="2223115" cy="2792468"/>
          </a:xfrm>
        </p:grpSpPr>
        <p:sp>
          <p:nvSpPr>
            <p:cNvPr id="154" name="TextBox 153">
              <a:extLst>
                <a:ext uri="{FF2B5EF4-FFF2-40B4-BE49-F238E27FC236}">
                  <a16:creationId xmlns:a16="http://schemas.microsoft.com/office/drawing/2014/main" id="{3D3BFC93-F86D-41EE-AF11-B0AD0491892B}"/>
                </a:ext>
              </a:extLst>
            </p:cNvPr>
            <p:cNvSpPr txBox="1">
              <a:spLocks/>
            </p:cNvSpPr>
            <p:nvPr/>
          </p:nvSpPr>
          <p:spPr>
            <a:xfrm>
              <a:off x="5131538" y="2618883"/>
              <a:ext cx="805355" cy="615553"/>
            </a:xfrm>
            <a:prstGeom prst="rect">
              <a:avLst/>
            </a:prstGeom>
            <a:solidFill>
              <a:schemeClr val="bg2"/>
            </a:solidFill>
          </p:spPr>
          <p:txBody>
            <a:bodyPr wrap="square" lIns="0" tIns="0" rIns="0" bIns="0">
              <a:spAutoFit/>
            </a:bodyPr>
            <a:lstStyle/>
            <a:p>
              <a:r>
                <a:rPr lang="en-GB" sz="4000" b="1">
                  <a:solidFill>
                    <a:schemeClr val="accent3"/>
                  </a:solidFill>
                  <a:latin typeface="MMC Display Condensed" panose="020B0606020203020204" pitchFamily="34" charset="0"/>
                  <a:cs typeface="MMC Display Condensed" panose="020B0606020203020204" pitchFamily="34" charset="0"/>
                </a:rPr>
                <a:t>37</a:t>
              </a:r>
              <a:r>
                <a:rPr lang="en-GB" sz="3200" b="1">
                  <a:solidFill>
                    <a:schemeClr val="accent3"/>
                  </a:solidFill>
                  <a:latin typeface="MMC Display Condensed" panose="020B0606020203020204" pitchFamily="34" charset="0"/>
                  <a:cs typeface="MMC Display Condensed" panose="020B0606020203020204" pitchFamily="34" charset="0"/>
                </a:rPr>
                <a:t>%</a:t>
              </a:r>
            </a:p>
          </p:txBody>
        </p:sp>
        <p:sp>
          <p:nvSpPr>
            <p:cNvPr id="155" name="TextBox 154">
              <a:extLst>
                <a:ext uri="{FF2B5EF4-FFF2-40B4-BE49-F238E27FC236}">
                  <a16:creationId xmlns:a16="http://schemas.microsoft.com/office/drawing/2014/main" id="{AB93204B-8D7A-4357-8481-8437FD2F49A5}"/>
                </a:ext>
              </a:extLst>
            </p:cNvPr>
            <p:cNvSpPr txBox="1">
              <a:spLocks/>
            </p:cNvSpPr>
            <p:nvPr/>
          </p:nvSpPr>
          <p:spPr>
            <a:xfrm>
              <a:off x="5131538" y="3533043"/>
              <a:ext cx="2223115" cy="738664"/>
            </a:xfrm>
            <a:prstGeom prst="rect">
              <a:avLst/>
            </a:prstGeom>
            <a:noFill/>
          </p:spPr>
          <p:txBody>
            <a:bodyPr wrap="square" lIns="0" tIns="0" rIns="0" bIns="0" rtlCol="0" anchor="t">
              <a:spAutoFit/>
            </a:bodyPr>
            <a:lstStyle/>
            <a:p>
              <a:r>
                <a:rPr lang="en-GB" sz="1600" b="1"/>
                <a:t>Fractured trajectories </a:t>
              </a:r>
              <a:r>
                <a:rPr lang="en-GB" sz="1600"/>
                <a:t>separating relative winners and losers</a:t>
              </a:r>
            </a:p>
          </p:txBody>
        </p:sp>
        <p:cxnSp>
          <p:nvCxnSpPr>
            <p:cNvPr id="165" name="Straight Connector 164">
              <a:extLst>
                <a:ext uri="{FF2B5EF4-FFF2-40B4-BE49-F238E27FC236}">
                  <a16:creationId xmlns:a16="http://schemas.microsoft.com/office/drawing/2014/main" id="{C43457D5-71A5-4D20-BDAD-B44D015338BA}"/>
                </a:ext>
              </a:extLst>
            </p:cNvPr>
            <p:cNvCxnSpPr/>
            <p:nvPr/>
          </p:nvCxnSpPr>
          <p:spPr>
            <a:xfrm>
              <a:off x="5131538" y="3324309"/>
              <a:ext cx="805355" cy="0"/>
            </a:xfrm>
            <a:prstGeom prst="line">
              <a:avLst/>
            </a:prstGeom>
            <a:ln w="2857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4" name="ico-fork">
              <a:extLst>
                <a:ext uri="{FF2B5EF4-FFF2-40B4-BE49-F238E27FC236}">
                  <a16:creationId xmlns:a16="http://schemas.microsoft.com/office/drawing/2014/main" id="{807A7C89-75A6-4867-86E7-7FE4D2F6B08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06761" y="4525091"/>
              <a:ext cx="886260" cy="886260"/>
            </a:xfrm>
            <a:prstGeom prst="rect">
              <a:avLst/>
            </a:prstGeom>
          </p:spPr>
        </p:pic>
      </p:grpSp>
      <p:grpSp>
        <p:nvGrpSpPr>
          <p:cNvPr id="10" name="Group 9">
            <a:extLst>
              <a:ext uri="{FF2B5EF4-FFF2-40B4-BE49-F238E27FC236}">
                <a16:creationId xmlns:a16="http://schemas.microsoft.com/office/drawing/2014/main" id="{BD890CAA-FDD6-47D4-A338-1A4970BAAC9E}"/>
              </a:ext>
            </a:extLst>
          </p:cNvPr>
          <p:cNvGrpSpPr/>
          <p:nvPr/>
        </p:nvGrpSpPr>
        <p:grpSpPr>
          <a:xfrm>
            <a:off x="9216839" y="2618883"/>
            <a:ext cx="2223115" cy="2746433"/>
            <a:chOff x="9216839" y="2618883"/>
            <a:chExt cx="2223115" cy="2746433"/>
          </a:xfrm>
        </p:grpSpPr>
        <p:sp>
          <p:nvSpPr>
            <p:cNvPr id="162" name="TextBox 161">
              <a:extLst>
                <a:ext uri="{FF2B5EF4-FFF2-40B4-BE49-F238E27FC236}">
                  <a16:creationId xmlns:a16="http://schemas.microsoft.com/office/drawing/2014/main" id="{D27C0468-1C59-47FB-AC67-7552F747562B}"/>
                </a:ext>
              </a:extLst>
            </p:cNvPr>
            <p:cNvSpPr txBox="1">
              <a:spLocks/>
            </p:cNvSpPr>
            <p:nvPr/>
          </p:nvSpPr>
          <p:spPr>
            <a:xfrm>
              <a:off x="9216839" y="2618883"/>
              <a:ext cx="805355" cy="615553"/>
            </a:xfrm>
            <a:prstGeom prst="rect">
              <a:avLst/>
            </a:prstGeom>
            <a:solidFill>
              <a:schemeClr val="bg2"/>
            </a:solidFill>
          </p:spPr>
          <p:txBody>
            <a:bodyPr wrap="square" lIns="0" tIns="0" rIns="0" bIns="0">
              <a:spAutoFit/>
            </a:bodyPr>
            <a:lstStyle/>
            <a:p>
              <a:pPr>
                <a:defRPr/>
              </a:pPr>
              <a:r>
                <a:rPr lang="en-GB" sz="4000" b="1">
                  <a:solidFill>
                    <a:schemeClr val="accent3"/>
                  </a:solidFill>
                  <a:latin typeface="MMC Display Condensed" panose="020B0606020203020204" pitchFamily="34" charset="0"/>
                  <a:cs typeface="MMC Display Condensed" panose="020B0606020203020204" pitchFamily="34" charset="0"/>
                </a:rPr>
                <a:t>10</a:t>
              </a:r>
              <a:r>
                <a:rPr lang="en-GB" sz="3200" b="1">
                  <a:solidFill>
                    <a:schemeClr val="accent3"/>
                  </a:solidFill>
                  <a:latin typeface="MMC Display Condensed" panose="020B0606020203020204" pitchFamily="34" charset="0"/>
                  <a:cs typeface="MMC Display Condensed" panose="020B0606020203020204" pitchFamily="34" charset="0"/>
                </a:rPr>
                <a:t>%</a:t>
              </a:r>
              <a:r>
                <a:rPr kumimoji="0" lang="en-GB" sz="2800" b="1" i="0" u="none" strike="noStrike" kern="1200" cap="none" spc="0" normalizeH="0" baseline="0" noProof="0">
                  <a:ln>
                    <a:noFill/>
                  </a:ln>
                  <a:solidFill>
                    <a:schemeClr val="accent3"/>
                  </a:solidFill>
                  <a:effectLst/>
                  <a:uLnTx/>
                  <a:uFillTx/>
                  <a:latin typeface="MMC Display Condensed"/>
                  <a:ea typeface="+mn-ea"/>
                  <a:cs typeface="+mn-cs"/>
                  <a:sym typeface="Wingdings" panose="05000000000000000000" pitchFamily="2" charset="2"/>
                </a:rPr>
                <a:t> </a:t>
              </a:r>
              <a:r>
                <a:rPr kumimoji="0" lang="en-GB" sz="2800" b="1" i="0" u="none" strike="noStrike" kern="1200" cap="none" spc="0" normalizeH="0" baseline="0" noProof="0">
                  <a:ln>
                    <a:noFill/>
                  </a:ln>
                  <a:solidFill>
                    <a:schemeClr val="accent3"/>
                  </a:solidFill>
                  <a:effectLst/>
                  <a:uLnTx/>
                  <a:uFillTx/>
                  <a:latin typeface="MMC Display Condensed"/>
                  <a:ea typeface="+mn-ea"/>
                  <a:cs typeface="+mn-cs"/>
                </a:rPr>
                <a:t> </a:t>
              </a:r>
              <a:endParaRPr kumimoji="0" lang="en-GB" sz="4000" b="0" i="0" u="none" strike="noStrike" kern="1200" cap="none" spc="0" normalizeH="0" baseline="0" noProof="0">
                <a:ln>
                  <a:noFill/>
                </a:ln>
                <a:solidFill>
                  <a:schemeClr val="accent3"/>
                </a:solidFill>
                <a:effectLst/>
                <a:uLnTx/>
                <a:uFillTx/>
                <a:latin typeface="Calibri"/>
                <a:ea typeface="+mn-ea"/>
                <a:cs typeface="+mn-cs"/>
              </a:endParaRPr>
            </a:p>
          </p:txBody>
        </p:sp>
        <p:sp>
          <p:nvSpPr>
            <p:cNvPr id="163" name="TextBox 162">
              <a:extLst>
                <a:ext uri="{FF2B5EF4-FFF2-40B4-BE49-F238E27FC236}">
                  <a16:creationId xmlns:a16="http://schemas.microsoft.com/office/drawing/2014/main" id="{A234CBD8-5079-48BA-AB18-AB10998EF4E5}"/>
                </a:ext>
              </a:extLst>
            </p:cNvPr>
            <p:cNvSpPr txBox="1">
              <a:spLocks/>
            </p:cNvSpPr>
            <p:nvPr/>
          </p:nvSpPr>
          <p:spPr>
            <a:xfrm>
              <a:off x="9216839" y="3533043"/>
              <a:ext cx="2223115" cy="866900"/>
            </a:xfrm>
            <a:prstGeom prst="rect">
              <a:avLst/>
            </a:prstGeom>
            <a:noFill/>
          </p:spPr>
          <p:txBody>
            <a:bodyPr wrap="square" lIns="0" tIns="0" rIns="0" bIns="0" rtlCol="0" anchor="t">
              <a:noAutofit/>
            </a:bodyPr>
            <a:lstStyle/>
            <a:p>
              <a:r>
                <a:rPr lang="en-GB" sz="1600"/>
                <a:t>Progressive </a:t>
              </a:r>
              <a:r>
                <a:rPr lang="en-GB" sz="1600" b="1"/>
                <a:t>tipping</a:t>
              </a:r>
              <a:br>
                <a:rPr lang="en-GB" sz="1600" b="1"/>
              </a:br>
              <a:r>
                <a:rPr lang="en-GB" sz="1600" b="1"/>
                <a:t>points with increasing catastrophic outcomes</a:t>
              </a:r>
            </a:p>
          </p:txBody>
        </p:sp>
        <p:cxnSp>
          <p:nvCxnSpPr>
            <p:cNvPr id="166" name="Straight Connector 165">
              <a:extLst>
                <a:ext uri="{FF2B5EF4-FFF2-40B4-BE49-F238E27FC236}">
                  <a16:creationId xmlns:a16="http://schemas.microsoft.com/office/drawing/2014/main" id="{1C55C39F-513C-42A4-A927-FDF7F0FF2111}"/>
                </a:ext>
              </a:extLst>
            </p:cNvPr>
            <p:cNvCxnSpPr>
              <a:cxnSpLocks/>
            </p:cNvCxnSpPr>
            <p:nvPr/>
          </p:nvCxnSpPr>
          <p:spPr>
            <a:xfrm>
              <a:off x="9216839" y="3324309"/>
              <a:ext cx="805355" cy="0"/>
            </a:xfrm>
            <a:prstGeom prst="line">
              <a:avLst/>
            </a:prstGeom>
            <a:ln w="28575" cap="rnd">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7" name="ico-flood">
              <a:extLst>
                <a:ext uri="{FF2B5EF4-FFF2-40B4-BE49-F238E27FC236}">
                  <a16:creationId xmlns:a16="http://schemas.microsoft.com/office/drawing/2014/main" id="{84BD4C55-4A3E-4705-8616-94D4AF18A8B2}"/>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339554" y="4559961"/>
              <a:ext cx="805355" cy="805355"/>
            </a:xfrm>
            <a:prstGeom prst="rect">
              <a:avLst/>
            </a:prstGeom>
          </p:spPr>
        </p:pic>
      </p:grpSp>
      <p:sp>
        <p:nvSpPr>
          <p:cNvPr id="54" name="Footnote">
            <a:extLst>
              <a:ext uri="{FF2B5EF4-FFF2-40B4-BE49-F238E27FC236}">
                <a16:creationId xmlns:a16="http://schemas.microsoft.com/office/drawing/2014/main" id="{9142F463-D4FC-4723-B61B-1192663E0352}"/>
              </a:ext>
            </a:extLst>
          </p:cNvPr>
          <p:cNvSpPr/>
          <p:nvPr/>
        </p:nvSpPr>
        <p:spPr>
          <a:xfrm>
            <a:off x="457200" y="6277689"/>
            <a:ext cx="11277600" cy="123111"/>
          </a:xfrm>
          <a:prstGeom prst="rect">
            <a:avLst/>
          </a:prstGeom>
        </p:spPr>
        <p:txBody>
          <a:bodyPr vert="horz" lIns="0" tIns="0" rIns="0" bIns="0" rtlCol="0" anchor="b" anchorCtr="0">
            <a:spAutoFit/>
          </a:bodyPr>
          <a:lstStyle/>
          <a:p>
            <a:pPr defTabSz="914370"/>
            <a:r>
              <a:rPr lang="en-GB" sz="800" kern="0"/>
              <a:t>Note: % of respondents | Sources: WEF 2021, Oliver Wyman analysis</a:t>
            </a:r>
          </a:p>
        </p:txBody>
      </p:sp>
      <p:sp>
        <p:nvSpPr>
          <p:cNvPr id="26" name="Ghost">
            <a:extLst>
              <a:ext uri="{FF2B5EF4-FFF2-40B4-BE49-F238E27FC236}">
                <a16:creationId xmlns:a16="http://schemas.microsoft.com/office/drawing/2014/main" id="{601C058D-1BB7-4F68-9C6E-2A49D7099639}"/>
              </a:ext>
            </a:extLst>
          </p:cNvPr>
          <p:cNvSpPr/>
          <p:nvPr/>
        </p:nvSpPr>
        <p:spPr>
          <a:xfrm>
            <a:off x="457200" y="107385"/>
            <a:ext cx="257121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Understanding the perma-crisis environment</a:t>
            </a:r>
          </a:p>
        </p:txBody>
      </p:sp>
      <p:pic>
        <p:nvPicPr>
          <p:cNvPr id="34" name="Picture 33">
            <a:extLst>
              <a:ext uri="{FF2B5EF4-FFF2-40B4-BE49-F238E27FC236}">
                <a16:creationId xmlns:a16="http://schemas.microsoft.com/office/drawing/2014/main" id="{9D00B062-8AAB-490A-BADE-71E148A18946}"/>
              </a:ext>
            </a:extLst>
          </p:cNvPr>
          <p:cNvPicPr>
            <a:picLocks noChangeAspect="1"/>
          </p:cNvPicPr>
          <p:nvPr/>
        </p:nvPicPr>
        <p:blipFill>
          <a:blip r:embed="rId14"/>
          <a:stretch>
            <a:fillRect/>
          </a:stretch>
        </p:blipFill>
        <p:spPr>
          <a:xfrm>
            <a:off x="457199" y="1397000"/>
            <a:ext cx="11278578" cy="524301"/>
          </a:xfrm>
          <a:prstGeom prst="rect">
            <a:avLst/>
          </a:prstGeom>
        </p:spPr>
      </p:pic>
      <p:grpSp>
        <p:nvGrpSpPr>
          <p:cNvPr id="36" name="Group 35">
            <a:extLst>
              <a:ext uri="{FF2B5EF4-FFF2-40B4-BE49-F238E27FC236}">
                <a16:creationId xmlns:a16="http://schemas.microsoft.com/office/drawing/2014/main" id="{129AED56-E439-4DD6-B3C9-12B334186EAC}"/>
              </a:ext>
            </a:extLst>
          </p:cNvPr>
          <p:cNvGrpSpPr/>
          <p:nvPr/>
        </p:nvGrpSpPr>
        <p:grpSpPr>
          <a:xfrm>
            <a:off x="1759139" y="1444943"/>
            <a:ext cx="8673719" cy="428103"/>
            <a:chOff x="1811856" y="1160806"/>
            <a:chExt cx="8673719" cy="428103"/>
          </a:xfrm>
        </p:grpSpPr>
        <p:sp>
          <p:nvSpPr>
            <p:cNvPr id="37" name="object 63">
              <a:extLst>
                <a:ext uri="{FF2B5EF4-FFF2-40B4-BE49-F238E27FC236}">
                  <a16:creationId xmlns:a16="http://schemas.microsoft.com/office/drawing/2014/main" id="{2280F12D-E93E-4C05-96A4-2FAB78EFE81C}"/>
                </a:ext>
              </a:extLst>
            </p:cNvPr>
            <p:cNvSpPr txBox="1"/>
            <p:nvPr/>
          </p:nvSpPr>
          <p:spPr>
            <a:xfrm>
              <a:off x="3474069" y="1190983"/>
              <a:ext cx="130810" cy="299720"/>
            </a:xfrm>
            <a:prstGeom prst="rect">
              <a:avLst/>
            </a:prstGeom>
          </p:spPr>
          <p:txBody>
            <a:bodyPr vert="horz" wrap="square" lIns="0" tIns="12700" rIns="0" bIns="0" rtlCol="0">
              <a:spAutoFit/>
            </a:bodyPr>
            <a:lstStyle/>
            <a:p>
              <a:pPr marL="12700">
                <a:lnSpc>
                  <a:spcPct val="100000"/>
                </a:lnSpc>
                <a:spcBef>
                  <a:spcPts val="100"/>
                </a:spcBef>
              </a:pPr>
              <a:r>
                <a:rPr lang="en-GB" sz="1800" b="1">
                  <a:latin typeface="Calibri"/>
                  <a:cs typeface="Calibri"/>
                </a:rPr>
                <a:t>x</a:t>
              </a:r>
              <a:endParaRPr lang="en-GB" sz="1800">
                <a:latin typeface="Calibri"/>
                <a:cs typeface="Calibri"/>
              </a:endParaRPr>
            </a:p>
          </p:txBody>
        </p:sp>
        <p:pic>
          <p:nvPicPr>
            <p:cNvPr id="38" name="object 61">
              <a:extLst>
                <a:ext uri="{FF2B5EF4-FFF2-40B4-BE49-F238E27FC236}">
                  <a16:creationId xmlns:a16="http://schemas.microsoft.com/office/drawing/2014/main" id="{227FC1CA-CB84-435C-8FF9-C55F8791EF41}"/>
                </a:ext>
              </a:extLst>
            </p:cNvPr>
            <p:cNvPicPr/>
            <p:nvPr/>
          </p:nvPicPr>
          <p:blipFill>
            <a:blip r:embed="rId15" cstate="screen">
              <a:extLst>
                <a:ext uri="{28A0092B-C50C-407E-A947-70E740481C1C}">
                  <a14:useLocalDpi xmlns:a14="http://schemas.microsoft.com/office/drawing/2010/main"/>
                </a:ext>
              </a:extLst>
            </a:blip>
            <a:stretch>
              <a:fillRect/>
            </a:stretch>
          </p:blipFill>
          <p:spPr>
            <a:xfrm>
              <a:off x="1811856" y="1304268"/>
              <a:ext cx="1536192" cy="134112"/>
            </a:xfrm>
            <a:prstGeom prst="rect">
              <a:avLst/>
            </a:prstGeom>
          </p:spPr>
        </p:pic>
        <p:pic>
          <p:nvPicPr>
            <p:cNvPr id="39" name="object 62">
              <a:extLst>
                <a:ext uri="{FF2B5EF4-FFF2-40B4-BE49-F238E27FC236}">
                  <a16:creationId xmlns:a16="http://schemas.microsoft.com/office/drawing/2014/main" id="{8DC7870A-7BC3-492E-8827-421076EBB502}"/>
                </a:ext>
              </a:extLst>
            </p:cNvPr>
            <p:cNvPicPr/>
            <p:nvPr/>
          </p:nvPicPr>
          <p:blipFill>
            <a:blip r:embed="rId16" cstate="screen">
              <a:extLst>
                <a:ext uri="{28A0092B-C50C-407E-A947-70E740481C1C}">
                  <a14:useLocalDpi xmlns:a14="http://schemas.microsoft.com/office/drawing/2010/main"/>
                </a:ext>
              </a:extLst>
            </a:blip>
            <a:stretch>
              <a:fillRect/>
            </a:stretch>
          </p:blipFill>
          <p:spPr>
            <a:xfrm>
              <a:off x="3730900" y="1160806"/>
              <a:ext cx="693282" cy="428103"/>
            </a:xfrm>
            <a:prstGeom prst="rect">
              <a:avLst/>
            </a:prstGeom>
          </p:spPr>
        </p:pic>
        <p:sp>
          <p:nvSpPr>
            <p:cNvPr id="40" name="TextBox 39">
              <a:extLst>
                <a:ext uri="{FF2B5EF4-FFF2-40B4-BE49-F238E27FC236}">
                  <a16:creationId xmlns:a16="http://schemas.microsoft.com/office/drawing/2014/main" id="{4B5A4590-1F52-4553-A1B8-98149DE1F8F4}"/>
                </a:ext>
              </a:extLst>
            </p:cNvPr>
            <p:cNvSpPr txBox="1"/>
            <p:nvPr/>
          </p:nvSpPr>
          <p:spPr>
            <a:xfrm>
              <a:off x="4971234" y="1168186"/>
              <a:ext cx="2989601" cy="369332"/>
            </a:xfrm>
            <a:prstGeom prst="rect">
              <a:avLst/>
            </a:prstGeom>
            <a:noFill/>
          </p:spPr>
          <p:txBody>
            <a:bodyPr wrap="none" lIns="0" tIns="0" rIns="0" bIns="0" rtlCol="0">
              <a:spAutoFit/>
            </a:bodyPr>
            <a:lstStyle/>
            <a:p>
              <a:pPr algn="l"/>
              <a:r>
                <a:rPr lang="en-GB" sz="2400" b="1" kern="0">
                  <a:latin typeface="+mj-lt"/>
                </a:rPr>
                <a:t>12,000</a:t>
              </a:r>
              <a:r>
                <a:rPr lang="en-GB" b="1" kern="0"/>
                <a:t> </a:t>
              </a:r>
              <a:r>
                <a:rPr lang="en-GB" kern="0"/>
                <a:t>executives interviewed</a:t>
              </a:r>
            </a:p>
          </p:txBody>
        </p:sp>
        <p:sp>
          <p:nvSpPr>
            <p:cNvPr id="41" name="TextBox 40">
              <a:extLst>
                <a:ext uri="{FF2B5EF4-FFF2-40B4-BE49-F238E27FC236}">
                  <a16:creationId xmlns:a16="http://schemas.microsoft.com/office/drawing/2014/main" id="{15809971-4EA7-4DCD-A69F-DD9F66DE3BF7}"/>
                </a:ext>
              </a:extLst>
            </p:cNvPr>
            <p:cNvSpPr txBox="1"/>
            <p:nvPr/>
          </p:nvSpPr>
          <p:spPr>
            <a:xfrm>
              <a:off x="8158015" y="1168186"/>
              <a:ext cx="2327560" cy="369332"/>
            </a:xfrm>
            <a:prstGeom prst="rect">
              <a:avLst/>
            </a:prstGeom>
            <a:noFill/>
          </p:spPr>
          <p:txBody>
            <a:bodyPr wrap="none" lIns="0" tIns="0" rIns="0" bIns="0" rtlCol="0">
              <a:spAutoFit/>
            </a:bodyPr>
            <a:lstStyle/>
            <a:p>
              <a:pPr algn="l"/>
              <a:r>
                <a:rPr lang="en-GB" sz="2400" b="1" kern="0">
                  <a:latin typeface="+mj-lt"/>
                </a:rPr>
                <a:t>121</a:t>
              </a:r>
              <a:r>
                <a:rPr lang="en-GB" sz="2400" b="1" kern="0"/>
                <a:t> </a:t>
              </a:r>
              <a:r>
                <a:rPr lang="en-GB" kern="0"/>
                <a:t>economies surveyed</a:t>
              </a:r>
            </a:p>
          </p:txBody>
        </p:sp>
      </p:grpSp>
    </p:spTree>
    <p:custDataLst>
      <p:tags r:id="rId1"/>
    </p:custDataLst>
    <p:extLst>
      <p:ext uri="{BB962C8B-B14F-4D97-AF65-F5344CB8AC3E}">
        <p14:creationId xmlns:p14="http://schemas.microsoft.com/office/powerpoint/2010/main" val="3374387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96BBA3-14BE-413A-B3BE-925F423E5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9596BBA3-14BE-413A-B3BE-925F423E5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5CC011-8DB3-4445-A745-3F6CE3D4E7DF}"/>
              </a:ext>
            </a:extLst>
          </p:cNvPr>
          <p:cNvSpPr>
            <a:spLocks noGrp="1"/>
          </p:cNvSpPr>
          <p:nvPr>
            <p:ph type="title"/>
          </p:nvPr>
        </p:nvSpPr>
        <p:spPr/>
        <p:txBody>
          <a:bodyPr vert="horz"/>
          <a:lstStyle/>
          <a:p>
            <a:r>
              <a:rPr lang="en-GB"/>
              <a:t>3 main recent crises </a:t>
            </a:r>
            <a:r>
              <a:rPr lang="en-GB">
                <a:solidFill>
                  <a:srgbClr val="8096B2"/>
                </a:solidFill>
              </a:rPr>
              <a:t>have led to multiple other crises with feedback loops</a:t>
            </a:r>
          </a:p>
        </p:txBody>
      </p:sp>
      <p:cxnSp>
        <p:nvCxnSpPr>
          <p:cNvPr id="101" name="Straight Arrow Connector 100">
            <a:extLst>
              <a:ext uri="{FF2B5EF4-FFF2-40B4-BE49-F238E27FC236}">
                <a16:creationId xmlns:a16="http://schemas.microsoft.com/office/drawing/2014/main" id="{4BD8B39F-F508-4935-8906-ADF43E6E95A2}"/>
              </a:ext>
            </a:extLst>
          </p:cNvPr>
          <p:cNvCxnSpPr>
            <a:cxnSpLocks/>
          </p:cNvCxnSpPr>
          <p:nvPr/>
        </p:nvCxnSpPr>
        <p:spPr>
          <a:xfrm>
            <a:off x="6400897" y="3052480"/>
            <a:ext cx="100366" cy="230975"/>
          </a:xfrm>
          <a:prstGeom prst="straightConnector1">
            <a:avLst/>
          </a:prstGeom>
          <a:ln w="9525">
            <a:solidFill>
              <a:schemeClr val="tx1">
                <a:alpha val="2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8" name="Freeform: Shape 87">
            <a:extLst>
              <a:ext uri="{FF2B5EF4-FFF2-40B4-BE49-F238E27FC236}">
                <a16:creationId xmlns:a16="http://schemas.microsoft.com/office/drawing/2014/main" id="{BFC1A88B-7127-4258-8C77-1E8538DFE0E5}"/>
              </a:ext>
            </a:extLst>
          </p:cNvPr>
          <p:cNvSpPr>
            <a:spLocks noChangeAspect="1"/>
          </p:cNvSpPr>
          <p:nvPr/>
        </p:nvSpPr>
        <p:spPr>
          <a:xfrm rot="16934759" flipH="1">
            <a:off x="7042304" y="2275552"/>
            <a:ext cx="1634385" cy="1051899"/>
          </a:xfrm>
          <a:custGeom>
            <a:avLst/>
            <a:gdLst>
              <a:gd name="connsiteX0" fmla="*/ 0 w 914400"/>
              <a:gd name="connsiteY0" fmla="*/ 914400 h 914400"/>
              <a:gd name="connsiteX1" fmla="*/ 914400 w 914400"/>
              <a:gd name="connsiteY1" fmla="*/ 0 h 914400"/>
              <a:gd name="connsiteX0" fmla="*/ 0 w 1090730"/>
              <a:gd name="connsiteY0" fmla="*/ 1202862 h 1202862"/>
              <a:gd name="connsiteX1" fmla="*/ 1090730 w 1090730"/>
              <a:gd name="connsiteY1" fmla="*/ 0 h 1202862"/>
              <a:gd name="connsiteX0" fmla="*/ 0 w 1090730"/>
              <a:gd name="connsiteY0" fmla="*/ 1202862 h 1202862"/>
              <a:gd name="connsiteX1" fmla="*/ 1090730 w 1090730"/>
              <a:gd name="connsiteY1" fmla="*/ 0 h 1202862"/>
              <a:gd name="connsiteX0" fmla="*/ 0 w 1345043"/>
              <a:gd name="connsiteY0" fmla="*/ 1282934 h 1282934"/>
              <a:gd name="connsiteX1" fmla="*/ 1345043 w 1345043"/>
              <a:gd name="connsiteY1" fmla="*/ 0 h 1282934"/>
              <a:gd name="connsiteX0" fmla="*/ 0 w 1345043"/>
              <a:gd name="connsiteY0" fmla="*/ 1293717 h 1293717"/>
              <a:gd name="connsiteX1" fmla="*/ 1345043 w 1345043"/>
              <a:gd name="connsiteY1" fmla="*/ 10783 h 1293717"/>
              <a:gd name="connsiteX0" fmla="*/ 0 w 1345043"/>
              <a:gd name="connsiteY0" fmla="*/ 1331082 h 1331082"/>
              <a:gd name="connsiteX1" fmla="*/ 1345043 w 1345043"/>
              <a:gd name="connsiteY1" fmla="*/ 48148 h 1331082"/>
              <a:gd name="connsiteX0" fmla="*/ 0 w 1711572"/>
              <a:gd name="connsiteY0" fmla="*/ 1550015 h 1550015"/>
              <a:gd name="connsiteX1" fmla="*/ 1711572 w 1711572"/>
              <a:gd name="connsiteY1" fmla="*/ 41124 h 1550015"/>
              <a:gd name="connsiteX0" fmla="*/ 0 w 1711572"/>
              <a:gd name="connsiteY0" fmla="*/ 1508890 h 1508890"/>
              <a:gd name="connsiteX1" fmla="*/ 1711572 w 1711572"/>
              <a:gd name="connsiteY1" fmla="*/ -1 h 1508890"/>
              <a:gd name="connsiteX0" fmla="*/ 0 w 1711572"/>
              <a:gd name="connsiteY0" fmla="*/ 1508892 h 1508892"/>
              <a:gd name="connsiteX1" fmla="*/ 1341599 w 1711572"/>
              <a:gd name="connsiteY1" fmla="*/ 138615 h 1508892"/>
              <a:gd name="connsiteX2" fmla="*/ 1711572 w 1711572"/>
              <a:gd name="connsiteY2" fmla="*/ 1 h 1508892"/>
              <a:gd name="connsiteX0" fmla="*/ 0 w 1711572"/>
              <a:gd name="connsiteY0" fmla="*/ 1508890 h 1508890"/>
              <a:gd name="connsiteX1" fmla="*/ 1711572 w 1711572"/>
              <a:gd name="connsiteY1" fmla="*/ -1 h 1508890"/>
            </a:gdLst>
            <a:ahLst/>
            <a:cxnLst>
              <a:cxn ang="0">
                <a:pos x="connsiteX0" y="connsiteY0"/>
              </a:cxn>
              <a:cxn ang="0">
                <a:pos x="connsiteX1" y="connsiteY1"/>
              </a:cxn>
            </a:cxnLst>
            <a:rect l="l" t="t" r="r" b="b"/>
            <a:pathLst>
              <a:path w="1711572" h="1508890">
                <a:moveTo>
                  <a:pt x="0" y="1508890"/>
                </a:moveTo>
                <a:lnTo>
                  <a:pt x="1711572" y="-1"/>
                </a:ln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11" name="Straight Arrow Connector 110">
            <a:extLst>
              <a:ext uri="{FF2B5EF4-FFF2-40B4-BE49-F238E27FC236}">
                <a16:creationId xmlns:a16="http://schemas.microsoft.com/office/drawing/2014/main" id="{CC64D2FD-2723-439D-BCAC-463AF9E6B38E}"/>
              </a:ext>
            </a:extLst>
          </p:cNvPr>
          <p:cNvCxnSpPr>
            <a:cxnSpLocks/>
          </p:cNvCxnSpPr>
          <p:nvPr/>
        </p:nvCxnSpPr>
        <p:spPr>
          <a:xfrm flipH="1" flipV="1">
            <a:off x="7068139" y="4220888"/>
            <a:ext cx="437474" cy="392466"/>
          </a:xfrm>
          <a:prstGeom prst="straightConnector1">
            <a:avLst/>
          </a:prstGeom>
          <a:ln w="9525">
            <a:solidFill>
              <a:schemeClr val="tx1">
                <a:alpha val="2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A7D84E1C-2936-4993-9D0B-96927D94E6B9}"/>
              </a:ext>
            </a:extLst>
          </p:cNvPr>
          <p:cNvCxnSpPr>
            <a:cxnSpLocks/>
          </p:cNvCxnSpPr>
          <p:nvPr/>
        </p:nvCxnSpPr>
        <p:spPr>
          <a:xfrm flipH="1">
            <a:off x="7254240" y="3665228"/>
            <a:ext cx="1026596" cy="131709"/>
          </a:xfrm>
          <a:prstGeom prst="straightConnector1">
            <a:avLst/>
          </a:prstGeom>
          <a:ln w="57150">
            <a:solidFill>
              <a:schemeClr val="tx1">
                <a:alpha val="2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8F5D75F-4EFE-414E-93FA-210F6FD4653C}"/>
              </a:ext>
            </a:extLst>
          </p:cNvPr>
          <p:cNvCxnSpPr>
            <a:cxnSpLocks/>
          </p:cNvCxnSpPr>
          <p:nvPr/>
        </p:nvCxnSpPr>
        <p:spPr>
          <a:xfrm>
            <a:off x="5402179" y="3862137"/>
            <a:ext cx="745885" cy="13690"/>
          </a:xfrm>
          <a:prstGeom prst="straightConnector1">
            <a:avLst/>
          </a:prstGeom>
          <a:ln w="57150">
            <a:solidFill>
              <a:schemeClr val="tx1">
                <a:alpha val="2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DC984F69-FEBC-4F12-9BC8-37047B105897}"/>
              </a:ext>
            </a:extLst>
          </p:cNvPr>
          <p:cNvCxnSpPr>
            <a:cxnSpLocks/>
          </p:cNvCxnSpPr>
          <p:nvPr/>
        </p:nvCxnSpPr>
        <p:spPr>
          <a:xfrm flipV="1">
            <a:off x="5837665" y="4284617"/>
            <a:ext cx="528301" cy="969670"/>
          </a:xfrm>
          <a:prstGeom prst="straightConnector1">
            <a:avLst/>
          </a:prstGeom>
          <a:ln w="57150">
            <a:solidFill>
              <a:schemeClr val="tx1">
                <a:alpha val="2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75D8EBCE-05F1-68AF-19F7-8365CDD0391D}"/>
              </a:ext>
            </a:extLst>
          </p:cNvPr>
          <p:cNvGrpSpPr/>
          <p:nvPr/>
        </p:nvGrpSpPr>
        <p:grpSpPr>
          <a:xfrm>
            <a:off x="443107" y="4496176"/>
            <a:ext cx="1282301" cy="1264266"/>
            <a:chOff x="443107" y="4496176"/>
            <a:chExt cx="1282301" cy="1264266"/>
          </a:xfrm>
        </p:grpSpPr>
        <p:sp>
          <p:nvSpPr>
            <p:cNvPr id="117" name="Oval 116">
              <a:extLst>
                <a:ext uri="{FF2B5EF4-FFF2-40B4-BE49-F238E27FC236}">
                  <a16:creationId xmlns:a16="http://schemas.microsoft.com/office/drawing/2014/main" id="{0DF0C628-8229-4867-8CFC-8E448D87ED2C}"/>
                </a:ext>
              </a:extLst>
            </p:cNvPr>
            <p:cNvSpPr/>
            <p:nvPr/>
          </p:nvSpPr>
          <p:spPr>
            <a:xfrm>
              <a:off x="443107" y="4496176"/>
              <a:ext cx="1282301" cy="1264266"/>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33" name="TextBox 32">
              <a:extLst>
                <a:ext uri="{FF2B5EF4-FFF2-40B4-BE49-F238E27FC236}">
                  <a16:creationId xmlns:a16="http://schemas.microsoft.com/office/drawing/2014/main" id="{4E9C5661-FF07-4FA8-9221-7EB1CC32B4FF}"/>
                </a:ext>
              </a:extLst>
            </p:cNvPr>
            <p:cNvSpPr txBox="1"/>
            <p:nvPr/>
          </p:nvSpPr>
          <p:spPr>
            <a:xfrm>
              <a:off x="560877" y="4838898"/>
              <a:ext cx="1046761" cy="215444"/>
            </a:xfrm>
            <a:prstGeom prst="rect">
              <a:avLst/>
            </a:prstGeom>
            <a:noFill/>
          </p:spPr>
          <p:txBody>
            <a:bodyPr wrap="none" lIns="0" tIns="0" rIns="0" bIns="0" rtlCol="0">
              <a:spAutoFit/>
            </a:bodyPr>
            <a:lstStyle/>
            <a:p>
              <a:pPr algn="l"/>
              <a:r>
                <a:rPr lang="en-GB" sz="1400" b="1" kern="0"/>
                <a:t>Protectionism</a:t>
              </a:r>
            </a:p>
          </p:txBody>
        </p:sp>
        <p:pic>
          <p:nvPicPr>
            <p:cNvPr id="47" name="ico-consumer-protection">
              <a:extLst>
                <a:ext uri="{FF2B5EF4-FFF2-40B4-BE49-F238E27FC236}">
                  <a16:creationId xmlns:a16="http://schemas.microsoft.com/office/drawing/2014/main" id="{2DDCDE70-E56F-4FC2-B3CE-BA95ECB4893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50265" y="5121666"/>
              <a:ext cx="467985" cy="467985"/>
            </a:xfrm>
            <a:prstGeom prst="rect">
              <a:avLst/>
            </a:prstGeom>
          </p:spPr>
        </p:pic>
      </p:grpSp>
      <p:grpSp>
        <p:nvGrpSpPr>
          <p:cNvPr id="39" name="Group 38">
            <a:extLst>
              <a:ext uri="{FF2B5EF4-FFF2-40B4-BE49-F238E27FC236}">
                <a16:creationId xmlns:a16="http://schemas.microsoft.com/office/drawing/2014/main" id="{17020703-6D77-E428-DEEA-A3002BFD6582}"/>
              </a:ext>
            </a:extLst>
          </p:cNvPr>
          <p:cNvGrpSpPr/>
          <p:nvPr/>
        </p:nvGrpSpPr>
        <p:grpSpPr>
          <a:xfrm>
            <a:off x="5720115" y="1925606"/>
            <a:ext cx="1100252" cy="1084777"/>
            <a:chOff x="5720115" y="1925606"/>
            <a:chExt cx="1100252" cy="1084777"/>
          </a:xfrm>
        </p:grpSpPr>
        <p:sp>
          <p:nvSpPr>
            <p:cNvPr id="139" name="Oval 138">
              <a:extLst>
                <a:ext uri="{FF2B5EF4-FFF2-40B4-BE49-F238E27FC236}">
                  <a16:creationId xmlns:a16="http://schemas.microsoft.com/office/drawing/2014/main" id="{6AFC5FE6-093C-4452-A1ED-B00A8CE7C31F}"/>
                </a:ext>
              </a:extLst>
            </p:cNvPr>
            <p:cNvSpPr/>
            <p:nvPr/>
          </p:nvSpPr>
          <p:spPr>
            <a:xfrm>
              <a:off x="5720115" y="1925606"/>
              <a:ext cx="1100252" cy="1084777"/>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68" name="TextBox 67">
              <a:extLst>
                <a:ext uri="{FF2B5EF4-FFF2-40B4-BE49-F238E27FC236}">
                  <a16:creationId xmlns:a16="http://schemas.microsoft.com/office/drawing/2014/main" id="{CC41A7B8-B96B-4800-AECA-77046243D418}"/>
                </a:ext>
              </a:extLst>
            </p:cNvPr>
            <p:cNvSpPr txBox="1"/>
            <p:nvPr/>
          </p:nvSpPr>
          <p:spPr>
            <a:xfrm>
              <a:off x="5844042" y="2122278"/>
              <a:ext cx="828753" cy="430887"/>
            </a:xfrm>
            <a:prstGeom prst="rect">
              <a:avLst/>
            </a:prstGeom>
            <a:noFill/>
          </p:spPr>
          <p:txBody>
            <a:bodyPr wrap="none" lIns="0" tIns="0" rIns="0" bIns="0" rtlCol="0">
              <a:spAutoFit/>
            </a:bodyPr>
            <a:lstStyle/>
            <a:p>
              <a:pPr algn="ctr"/>
              <a:r>
                <a:rPr lang="en-GB" sz="1400" b="1" kern="0"/>
                <a:t>Real estate</a:t>
              </a:r>
            </a:p>
            <a:p>
              <a:pPr algn="ctr"/>
              <a:r>
                <a:rPr lang="en-GB" sz="1400" b="1" kern="0"/>
                <a:t> crisis</a:t>
              </a:r>
            </a:p>
          </p:txBody>
        </p:sp>
        <p:grpSp>
          <p:nvGrpSpPr>
            <p:cNvPr id="104" name="ico-house-pricing">
              <a:extLst>
                <a:ext uri="{FF2B5EF4-FFF2-40B4-BE49-F238E27FC236}">
                  <a16:creationId xmlns:a16="http://schemas.microsoft.com/office/drawing/2014/main" id="{324D30B3-5E0C-41D5-B7DE-67998CCDEE4F}"/>
                </a:ext>
              </a:extLst>
            </p:cNvPr>
            <p:cNvGrpSpPr/>
            <p:nvPr/>
          </p:nvGrpSpPr>
          <p:grpSpPr>
            <a:xfrm>
              <a:off x="6093616" y="2606466"/>
              <a:ext cx="341500" cy="325977"/>
              <a:chOff x="6365515" y="2791039"/>
              <a:chExt cx="366712" cy="350043"/>
            </a:xfrm>
            <a:noFill/>
          </p:grpSpPr>
          <p:sp>
            <p:nvSpPr>
              <p:cNvPr id="105" name="Freeform: Shape 104">
                <a:extLst>
                  <a:ext uri="{FF2B5EF4-FFF2-40B4-BE49-F238E27FC236}">
                    <a16:creationId xmlns:a16="http://schemas.microsoft.com/office/drawing/2014/main" id="{3D17F259-C8FC-4177-A61A-42C9A35B914D}"/>
                  </a:ext>
                </a:extLst>
              </p:cNvPr>
              <p:cNvSpPr/>
              <p:nvPr/>
            </p:nvSpPr>
            <p:spPr>
              <a:xfrm>
                <a:off x="6365515" y="2791039"/>
                <a:ext cx="366712" cy="150018"/>
              </a:xfrm>
              <a:custGeom>
                <a:avLst/>
                <a:gdLst>
                  <a:gd name="connsiteX0" fmla="*/ 1 w 366712"/>
                  <a:gd name="connsiteY0" fmla="*/ 150019 h 150018"/>
                  <a:gd name="connsiteX1" fmla="*/ 183357 w 366712"/>
                  <a:gd name="connsiteY1" fmla="*/ 1 h 150018"/>
                  <a:gd name="connsiteX2" fmla="*/ 366713 w 366712"/>
                  <a:gd name="connsiteY2" fmla="*/ 150019 h 150018"/>
                </a:gdLst>
                <a:ahLst/>
                <a:cxnLst>
                  <a:cxn ang="0">
                    <a:pos x="connsiteX0" y="connsiteY0"/>
                  </a:cxn>
                  <a:cxn ang="0">
                    <a:pos x="connsiteX1" y="connsiteY1"/>
                  </a:cxn>
                  <a:cxn ang="0">
                    <a:pos x="connsiteX2" y="connsiteY2"/>
                  </a:cxn>
                </a:cxnLst>
                <a:rect l="l" t="t" r="r" b="b"/>
                <a:pathLst>
                  <a:path w="366712" h="150018">
                    <a:moveTo>
                      <a:pt x="1" y="150019"/>
                    </a:moveTo>
                    <a:lnTo>
                      <a:pt x="183357" y="1"/>
                    </a:lnTo>
                    <a:lnTo>
                      <a:pt x="366713" y="150019"/>
                    </a:lnTo>
                  </a:path>
                </a:pathLst>
              </a:custGeom>
              <a:noFill/>
              <a:ln w="11112" cap="flat">
                <a:solidFill>
                  <a:srgbClr val="000000"/>
                </a:solidFill>
                <a:prstDash val="solid"/>
                <a:round/>
              </a:ln>
            </p:spPr>
            <p:txBody>
              <a:bodyPr rtlCol="0" anchor="ctr"/>
              <a:lstStyle/>
              <a:p>
                <a:endParaRPr lang="en-GB"/>
              </a:p>
            </p:txBody>
          </p:sp>
          <p:sp>
            <p:nvSpPr>
              <p:cNvPr id="106" name="Freeform: Shape 105">
                <a:extLst>
                  <a:ext uri="{FF2B5EF4-FFF2-40B4-BE49-F238E27FC236}">
                    <a16:creationId xmlns:a16="http://schemas.microsoft.com/office/drawing/2014/main" id="{C6955786-31D1-416D-BF34-5DB2B872B5EA}"/>
                  </a:ext>
                </a:extLst>
              </p:cNvPr>
              <p:cNvSpPr/>
              <p:nvPr/>
            </p:nvSpPr>
            <p:spPr>
              <a:xfrm>
                <a:off x="6407187" y="2966061"/>
                <a:ext cx="283368" cy="175021"/>
              </a:xfrm>
              <a:custGeom>
                <a:avLst/>
                <a:gdLst>
                  <a:gd name="connsiteX0" fmla="*/ 1 w 283368"/>
                  <a:gd name="connsiteY0" fmla="*/ 1 h 175021"/>
                  <a:gd name="connsiteX1" fmla="*/ 1 w 283368"/>
                  <a:gd name="connsiteY1" fmla="*/ 175022 h 175021"/>
                  <a:gd name="connsiteX2" fmla="*/ 283369 w 283368"/>
                  <a:gd name="connsiteY2" fmla="*/ 175022 h 175021"/>
                  <a:gd name="connsiteX3" fmla="*/ 283369 w 283368"/>
                  <a:gd name="connsiteY3" fmla="*/ 1 h 175021"/>
                </a:gdLst>
                <a:ahLst/>
                <a:cxnLst>
                  <a:cxn ang="0">
                    <a:pos x="connsiteX0" y="connsiteY0"/>
                  </a:cxn>
                  <a:cxn ang="0">
                    <a:pos x="connsiteX1" y="connsiteY1"/>
                  </a:cxn>
                  <a:cxn ang="0">
                    <a:pos x="connsiteX2" y="connsiteY2"/>
                  </a:cxn>
                  <a:cxn ang="0">
                    <a:pos x="connsiteX3" y="connsiteY3"/>
                  </a:cxn>
                </a:cxnLst>
                <a:rect l="l" t="t" r="r" b="b"/>
                <a:pathLst>
                  <a:path w="283368" h="175021">
                    <a:moveTo>
                      <a:pt x="1" y="1"/>
                    </a:moveTo>
                    <a:lnTo>
                      <a:pt x="1" y="175022"/>
                    </a:lnTo>
                    <a:lnTo>
                      <a:pt x="283369" y="175022"/>
                    </a:lnTo>
                    <a:lnTo>
                      <a:pt x="283369" y="1"/>
                    </a:lnTo>
                  </a:path>
                </a:pathLst>
              </a:custGeom>
              <a:noFill/>
              <a:ln w="11112" cap="flat">
                <a:solidFill>
                  <a:srgbClr val="000000"/>
                </a:solidFill>
                <a:prstDash val="solid"/>
                <a:round/>
              </a:ln>
            </p:spPr>
            <p:txBody>
              <a:bodyPr rtlCol="0" anchor="ctr"/>
              <a:lstStyle/>
              <a:p>
                <a:endParaRPr lang="en-GB"/>
              </a:p>
            </p:txBody>
          </p:sp>
          <p:sp>
            <p:nvSpPr>
              <p:cNvPr id="107" name="Freeform: Shape 106">
                <a:extLst>
                  <a:ext uri="{FF2B5EF4-FFF2-40B4-BE49-F238E27FC236}">
                    <a16:creationId xmlns:a16="http://schemas.microsoft.com/office/drawing/2014/main" id="{A0BBB498-E88F-4189-A1F0-D21F563BF286}"/>
                  </a:ext>
                </a:extLst>
              </p:cNvPr>
              <p:cNvSpPr/>
              <p:nvPr/>
            </p:nvSpPr>
            <p:spPr>
              <a:xfrm flipH="1">
                <a:off x="6457194" y="2966061"/>
                <a:ext cx="175021" cy="108346"/>
              </a:xfrm>
              <a:custGeom>
                <a:avLst/>
                <a:gdLst>
                  <a:gd name="connsiteX0" fmla="*/ 1 w 175021"/>
                  <a:gd name="connsiteY0" fmla="*/ 108347 h 108346"/>
                  <a:gd name="connsiteX1" fmla="*/ 58341 w 175021"/>
                  <a:gd name="connsiteY1" fmla="*/ 50007 h 108346"/>
                  <a:gd name="connsiteX2" fmla="*/ 91679 w 175021"/>
                  <a:gd name="connsiteY2" fmla="*/ 83344 h 108346"/>
                  <a:gd name="connsiteX3" fmla="*/ 175022 w 175021"/>
                  <a:gd name="connsiteY3" fmla="*/ 1 h 108346"/>
                </a:gdLst>
                <a:ahLst/>
                <a:cxnLst>
                  <a:cxn ang="0">
                    <a:pos x="connsiteX0" y="connsiteY0"/>
                  </a:cxn>
                  <a:cxn ang="0">
                    <a:pos x="connsiteX1" y="connsiteY1"/>
                  </a:cxn>
                  <a:cxn ang="0">
                    <a:pos x="connsiteX2" y="connsiteY2"/>
                  </a:cxn>
                  <a:cxn ang="0">
                    <a:pos x="connsiteX3" y="connsiteY3"/>
                  </a:cxn>
                </a:cxnLst>
                <a:rect l="l" t="t" r="r" b="b"/>
                <a:pathLst>
                  <a:path w="175021" h="108346">
                    <a:moveTo>
                      <a:pt x="1" y="108347"/>
                    </a:moveTo>
                    <a:lnTo>
                      <a:pt x="58341" y="50007"/>
                    </a:lnTo>
                    <a:lnTo>
                      <a:pt x="91679" y="83344"/>
                    </a:lnTo>
                    <a:lnTo>
                      <a:pt x="175022" y="1"/>
                    </a:lnTo>
                  </a:path>
                </a:pathLst>
              </a:custGeom>
              <a:noFill/>
              <a:ln w="11112" cap="flat">
                <a:solidFill>
                  <a:srgbClr val="000000"/>
                </a:solidFill>
                <a:prstDash val="solid"/>
                <a:round/>
              </a:ln>
            </p:spPr>
            <p:txBody>
              <a:bodyPr rtlCol="0" anchor="ctr"/>
              <a:lstStyle/>
              <a:p>
                <a:endParaRPr lang="en-GB"/>
              </a:p>
            </p:txBody>
          </p:sp>
          <p:sp>
            <p:nvSpPr>
              <p:cNvPr id="108" name="Freeform: Shape 107">
                <a:extLst>
                  <a:ext uri="{FF2B5EF4-FFF2-40B4-BE49-F238E27FC236}">
                    <a16:creationId xmlns:a16="http://schemas.microsoft.com/office/drawing/2014/main" id="{9B3CE855-710D-4EA9-9966-B3D336C84109}"/>
                  </a:ext>
                </a:extLst>
              </p:cNvPr>
              <p:cNvSpPr/>
              <p:nvPr/>
            </p:nvSpPr>
            <p:spPr>
              <a:xfrm rot="5400000">
                <a:off x="6576073" y="3024060"/>
                <a:ext cx="58340" cy="58340"/>
              </a:xfrm>
              <a:custGeom>
                <a:avLst/>
                <a:gdLst>
                  <a:gd name="connsiteX0" fmla="*/ 1 w 58340"/>
                  <a:gd name="connsiteY0" fmla="*/ 1 h 58340"/>
                  <a:gd name="connsiteX1" fmla="*/ 58341 w 58340"/>
                  <a:gd name="connsiteY1" fmla="*/ 1 h 58340"/>
                  <a:gd name="connsiteX2" fmla="*/ 58341 w 58340"/>
                  <a:gd name="connsiteY2" fmla="*/ 58341 h 58340"/>
                </a:gdLst>
                <a:ahLst/>
                <a:cxnLst>
                  <a:cxn ang="0">
                    <a:pos x="connsiteX0" y="connsiteY0"/>
                  </a:cxn>
                  <a:cxn ang="0">
                    <a:pos x="connsiteX1" y="connsiteY1"/>
                  </a:cxn>
                  <a:cxn ang="0">
                    <a:pos x="connsiteX2" y="connsiteY2"/>
                  </a:cxn>
                </a:cxnLst>
                <a:rect l="l" t="t" r="r" b="b"/>
                <a:pathLst>
                  <a:path w="58340" h="58340">
                    <a:moveTo>
                      <a:pt x="1" y="1"/>
                    </a:moveTo>
                    <a:lnTo>
                      <a:pt x="58341" y="1"/>
                    </a:lnTo>
                    <a:lnTo>
                      <a:pt x="58341" y="58341"/>
                    </a:lnTo>
                  </a:path>
                </a:pathLst>
              </a:custGeom>
              <a:noFill/>
              <a:ln w="11112" cap="flat">
                <a:solidFill>
                  <a:srgbClr val="000000"/>
                </a:solidFill>
                <a:prstDash val="solid"/>
                <a:round/>
              </a:ln>
            </p:spPr>
            <p:txBody>
              <a:bodyPr rtlCol="0" anchor="ctr"/>
              <a:lstStyle/>
              <a:p>
                <a:endParaRPr lang="en-GB"/>
              </a:p>
            </p:txBody>
          </p:sp>
        </p:grpSp>
      </p:grpSp>
      <p:grpSp>
        <p:nvGrpSpPr>
          <p:cNvPr id="37" name="Group 36">
            <a:extLst>
              <a:ext uri="{FF2B5EF4-FFF2-40B4-BE49-F238E27FC236}">
                <a16:creationId xmlns:a16="http://schemas.microsoft.com/office/drawing/2014/main" id="{2B229118-20A6-7759-CAF8-15382053A085}"/>
              </a:ext>
            </a:extLst>
          </p:cNvPr>
          <p:cNvGrpSpPr/>
          <p:nvPr/>
        </p:nvGrpSpPr>
        <p:grpSpPr>
          <a:xfrm>
            <a:off x="7912868" y="5217156"/>
            <a:ext cx="1311256" cy="1264266"/>
            <a:chOff x="7934134" y="5217156"/>
            <a:chExt cx="1311256" cy="1264266"/>
          </a:xfrm>
        </p:grpSpPr>
        <p:sp>
          <p:nvSpPr>
            <p:cNvPr id="137" name="Oval 136">
              <a:extLst>
                <a:ext uri="{FF2B5EF4-FFF2-40B4-BE49-F238E27FC236}">
                  <a16:creationId xmlns:a16="http://schemas.microsoft.com/office/drawing/2014/main" id="{13B5E9B8-54DA-45D7-A6B3-F910E09DD050}"/>
                </a:ext>
              </a:extLst>
            </p:cNvPr>
            <p:cNvSpPr/>
            <p:nvPr/>
          </p:nvSpPr>
          <p:spPr>
            <a:xfrm>
              <a:off x="7948613" y="5217156"/>
              <a:ext cx="1282301" cy="1264266"/>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66" name="TextBox 65">
              <a:extLst>
                <a:ext uri="{FF2B5EF4-FFF2-40B4-BE49-F238E27FC236}">
                  <a16:creationId xmlns:a16="http://schemas.microsoft.com/office/drawing/2014/main" id="{F12816A6-B19F-494C-9E97-404125D42F1D}"/>
                </a:ext>
              </a:extLst>
            </p:cNvPr>
            <p:cNvSpPr txBox="1"/>
            <p:nvPr/>
          </p:nvSpPr>
          <p:spPr>
            <a:xfrm>
              <a:off x="7934134" y="5567356"/>
              <a:ext cx="1311256" cy="215444"/>
            </a:xfrm>
            <a:prstGeom prst="rect">
              <a:avLst/>
            </a:prstGeom>
            <a:noFill/>
          </p:spPr>
          <p:txBody>
            <a:bodyPr wrap="square" lIns="0" tIns="0" rIns="0" bIns="0" rtlCol="0">
              <a:spAutoFit/>
            </a:bodyPr>
            <a:lstStyle/>
            <a:p>
              <a:pPr algn="ctr"/>
              <a:r>
                <a:rPr lang="en-GB" sz="1400" b="1" kern="0"/>
                <a:t>Regionalization</a:t>
              </a:r>
            </a:p>
          </p:txBody>
        </p:sp>
        <p:pic>
          <p:nvPicPr>
            <p:cNvPr id="244" name="ico-map-compass">
              <a:extLst>
                <a:ext uri="{FF2B5EF4-FFF2-40B4-BE49-F238E27FC236}">
                  <a16:creationId xmlns:a16="http://schemas.microsoft.com/office/drawing/2014/main" id="{47D58E07-A567-4540-B2C5-A22254C7404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81313" y="5822861"/>
              <a:ext cx="416899" cy="416899"/>
            </a:xfrm>
            <a:prstGeom prst="rect">
              <a:avLst/>
            </a:prstGeom>
          </p:spPr>
        </p:pic>
      </p:grpSp>
      <p:grpSp>
        <p:nvGrpSpPr>
          <p:cNvPr id="49" name="Group 48">
            <a:extLst>
              <a:ext uri="{FF2B5EF4-FFF2-40B4-BE49-F238E27FC236}">
                <a16:creationId xmlns:a16="http://schemas.microsoft.com/office/drawing/2014/main" id="{0DE10318-54A8-81C1-9C6D-DC9742768CA9}"/>
              </a:ext>
            </a:extLst>
          </p:cNvPr>
          <p:cNvGrpSpPr/>
          <p:nvPr/>
        </p:nvGrpSpPr>
        <p:grpSpPr>
          <a:xfrm>
            <a:off x="6191491" y="3344920"/>
            <a:ext cx="995794" cy="981788"/>
            <a:chOff x="6191491" y="3344920"/>
            <a:chExt cx="995794" cy="981788"/>
          </a:xfrm>
        </p:grpSpPr>
        <p:sp>
          <p:nvSpPr>
            <p:cNvPr id="142" name="Oval 141">
              <a:extLst>
                <a:ext uri="{FF2B5EF4-FFF2-40B4-BE49-F238E27FC236}">
                  <a16:creationId xmlns:a16="http://schemas.microsoft.com/office/drawing/2014/main" id="{A90F13EF-8F71-4722-94C6-A6B0DF97F296}"/>
                </a:ext>
              </a:extLst>
            </p:cNvPr>
            <p:cNvSpPr/>
            <p:nvPr/>
          </p:nvSpPr>
          <p:spPr>
            <a:xfrm>
              <a:off x="6191491" y="3344920"/>
              <a:ext cx="995794" cy="981788"/>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85" name="TextBox 84">
              <a:extLst>
                <a:ext uri="{FF2B5EF4-FFF2-40B4-BE49-F238E27FC236}">
                  <a16:creationId xmlns:a16="http://schemas.microsoft.com/office/drawing/2014/main" id="{054892B6-21B4-4299-87D3-0C087B8C284D}"/>
                </a:ext>
              </a:extLst>
            </p:cNvPr>
            <p:cNvSpPr txBox="1"/>
            <p:nvPr/>
          </p:nvSpPr>
          <p:spPr>
            <a:xfrm>
              <a:off x="6296653" y="3632394"/>
              <a:ext cx="785471" cy="430887"/>
            </a:xfrm>
            <a:prstGeom prst="rect">
              <a:avLst/>
            </a:prstGeom>
            <a:noFill/>
          </p:spPr>
          <p:txBody>
            <a:bodyPr wrap="none" lIns="0" tIns="0" rIns="0" bIns="0" rtlCol="0">
              <a:spAutoFit/>
            </a:bodyPr>
            <a:lstStyle/>
            <a:p>
              <a:pPr algn="ctr"/>
              <a:r>
                <a:rPr lang="en-GB" sz="1400" b="1" kern="0">
                  <a:latin typeface="+mj-lt"/>
                </a:rPr>
                <a:t>Economic </a:t>
              </a:r>
            </a:p>
            <a:p>
              <a:pPr algn="ctr"/>
              <a:r>
                <a:rPr lang="en-GB" sz="1400" b="1" kern="0">
                  <a:latin typeface="+mj-lt"/>
                </a:rPr>
                <a:t>volatility</a:t>
              </a:r>
            </a:p>
          </p:txBody>
        </p:sp>
      </p:grpSp>
      <p:grpSp>
        <p:nvGrpSpPr>
          <p:cNvPr id="63" name="Group 62">
            <a:extLst>
              <a:ext uri="{FF2B5EF4-FFF2-40B4-BE49-F238E27FC236}">
                <a16:creationId xmlns:a16="http://schemas.microsoft.com/office/drawing/2014/main" id="{17713B5E-04BC-4E8F-63EC-AF03C201C1B4}"/>
              </a:ext>
            </a:extLst>
          </p:cNvPr>
          <p:cNvGrpSpPr/>
          <p:nvPr/>
        </p:nvGrpSpPr>
        <p:grpSpPr>
          <a:xfrm>
            <a:off x="1719156" y="2393833"/>
            <a:ext cx="1084445" cy="1149649"/>
            <a:chOff x="1719156" y="2393833"/>
            <a:chExt cx="1084445" cy="1149649"/>
          </a:xfrm>
        </p:grpSpPr>
        <p:sp>
          <p:nvSpPr>
            <p:cNvPr id="32" name="Freeform: Shape 31">
              <a:extLst>
                <a:ext uri="{FF2B5EF4-FFF2-40B4-BE49-F238E27FC236}">
                  <a16:creationId xmlns:a16="http://schemas.microsoft.com/office/drawing/2014/main" id="{76DA26AD-BC67-4034-A620-6747207C6690}"/>
                </a:ext>
              </a:extLst>
            </p:cNvPr>
            <p:cNvSpPr>
              <a:spLocks noChangeAspect="1"/>
            </p:cNvSpPr>
            <p:nvPr/>
          </p:nvSpPr>
          <p:spPr>
            <a:xfrm rot="599114" flipV="1">
              <a:off x="1953464" y="2393833"/>
              <a:ext cx="850137" cy="1149649"/>
            </a:xfrm>
            <a:custGeom>
              <a:avLst/>
              <a:gdLst>
                <a:gd name="connsiteX0" fmla="*/ 0 w 914400"/>
                <a:gd name="connsiteY0" fmla="*/ 914400 h 914400"/>
                <a:gd name="connsiteX1" fmla="*/ 914400 w 914400"/>
                <a:gd name="connsiteY1" fmla="*/ 0 h 914400"/>
                <a:gd name="connsiteX0" fmla="*/ 0 w 851196"/>
                <a:gd name="connsiteY0" fmla="*/ 1222304 h 1222304"/>
                <a:gd name="connsiteX1" fmla="*/ 851196 w 851196"/>
                <a:gd name="connsiteY1" fmla="*/ 0 h 1222304"/>
                <a:gd name="connsiteX0" fmla="*/ 42374 w 893570"/>
                <a:gd name="connsiteY0" fmla="*/ 1222304 h 1222304"/>
                <a:gd name="connsiteX1" fmla="*/ 893570 w 893570"/>
                <a:gd name="connsiteY1" fmla="*/ 0 h 1222304"/>
                <a:gd name="connsiteX0" fmla="*/ 39691 w 940919"/>
                <a:gd name="connsiteY0" fmla="*/ 1178076 h 1178076"/>
                <a:gd name="connsiteX1" fmla="*/ 940919 w 940919"/>
                <a:gd name="connsiteY1" fmla="*/ 0 h 1178076"/>
              </a:gdLst>
              <a:ahLst/>
              <a:cxnLst>
                <a:cxn ang="0">
                  <a:pos x="connsiteX0" y="connsiteY0"/>
                </a:cxn>
                <a:cxn ang="0">
                  <a:pos x="connsiteX1" y="connsiteY1"/>
                </a:cxn>
              </a:cxnLst>
              <a:rect l="l" t="t" r="r" b="b"/>
              <a:pathLst>
                <a:path w="940919" h="1178076">
                  <a:moveTo>
                    <a:pt x="39691" y="1178076"/>
                  </a:moveTo>
                  <a:cubicBezTo>
                    <a:pt x="-160435" y="496153"/>
                    <a:pt x="435910" y="0"/>
                    <a:pt x="940919" y="0"/>
                  </a:cubicBez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3" name="TextBox 102">
              <a:extLst>
                <a:ext uri="{FF2B5EF4-FFF2-40B4-BE49-F238E27FC236}">
                  <a16:creationId xmlns:a16="http://schemas.microsoft.com/office/drawing/2014/main" id="{F79A8EA3-7995-46FC-9E3B-3E483CDC0A6C}"/>
                </a:ext>
              </a:extLst>
            </p:cNvPr>
            <p:cNvSpPr txBox="1"/>
            <p:nvPr/>
          </p:nvSpPr>
          <p:spPr>
            <a:xfrm>
              <a:off x="1719156" y="3110926"/>
              <a:ext cx="811002" cy="369332"/>
            </a:xfrm>
            <a:prstGeom prst="rect">
              <a:avLst/>
            </a:prstGeom>
            <a:solidFill>
              <a:schemeClr val="bg1"/>
            </a:solidFill>
          </p:spPr>
          <p:txBody>
            <a:bodyPr wrap="square" lIns="0" tIns="0" rIns="0" bIns="0" rtlCol="0">
              <a:spAutoFit/>
            </a:bodyPr>
            <a:lstStyle/>
            <a:p>
              <a:r>
                <a:rPr lang="en-GB" sz="1200" b="1" kern="0">
                  <a:solidFill>
                    <a:schemeClr val="tx2">
                      <a:lumMod val="65000"/>
                      <a:lumOff val="35000"/>
                    </a:schemeClr>
                  </a:solidFill>
                </a:rPr>
                <a:t>Green</a:t>
              </a:r>
            </a:p>
            <a:p>
              <a:r>
                <a:rPr lang="en-GB" sz="1200" b="1" kern="0">
                  <a:solidFill>
                    <a:schemeClr val="tx2">
                      <a:lumMod val="65000"/>
                      <a:lumOff val="35000"/>
                    </a:schemeClr>
                  </a:solidFill>
                </a:rPr>
                <a:t>resources  </a:t>
              </a:r>
            </a:p>
          </p:txBody>
        </p:sp>
      </p:grpSp>
      <p:grpSp>
        <p:nvGrpSpPr>
          <p:cNvPr id="57" name="Group 56">
            <a:extLst>
              <a:ext uri="{FF2B5EF4-FFF2-40B4-BE49-F238E27FC236}">
                <a16:creationId xmlns:a16="http://schemas.microsoft.com/office/drawing/2014/main" id="{E18D638E-594E-D57C-8915-585AD816A52F}"/>
              </a:ext>
            </a:extLst>
          </p:cNvPr>
          <p:cNvGrpSpPr/>
          <p:nvPr/>
        </p:nvGrpSpPr>
        <p:grpSpPr>
          <a:xfrm>
            <a:off x="3609413" y="1856264"/>
            <a:ext cx="1167031" cy="1810916"/>
            <a:chOff x="3609413" y="1856264"/>
            <a:chExt cx="1167031" cy="1810916"/>
          </a:xfrm>
        </p:grpSpPr>
        <p:sp>
          <p:nvSpPr>
            <p:cNvPr id="116" name="Freeform: Shape 115">
              <a:extLst>
                <a:ext uri="{FF2B5EF4-FFF2-40B4-BE49-F238E27FC236}">
                  <a16:creationId xmlns:a16="http://schemas.microsoft.com/office/drawing/2014/main" id="{18583DAB-1C88-44C0-A84C-43A859BFBB52}"/>
                </a:ext>
              </a:extLst>
            </p:cNvPr>
            <p:cNvSpPr>
              <a:spLocks noChangeAspect="1"/>
            </p:cNvSpPr>
            <p:nvPr/>
          </p:nvSpPr>
          <p:spPr>
            <a:xfrm rot="20345576" flipH="1">
              <a:off x="3609413" y="1856264"/>
              <a:ext cx="1048382" cy="1810916"/>
            </a:xfrm>
            <a:custGeom>
              <a:avLst/>
              <a:gdLst>
                <a:gd name="connsiteX0" fmla="*/ 0 w 914400"/>
                <a:gd name="connsiteY0" fmla="*/ 914400 h 914400"/>
                <a:gd name="connsiteX1" fmla="*/ 914400 w 914400"/>
                <a:gd name="connsiteY1" fmla="*/ 0 h 914400"/>
              </a:gdLst>
              <a:ahLst/>
              <a:cxnLst>
                <a:cxn ang="0">
                  <a:pos x="connsiteX0" y="connsiteY0"/>
                </a:cxn>
                <a:cxn ang="0">
                  <a:pos x="connsiteX1" y="connsiteY1"/>
                </a:cxn>
              </a:cxnLst>
              <a:rect l="l" t="t" r="r" b="b"/>
              <a:pathLst>
                <a:path w="914400" h="914400">
                  <a:moveTo>
                    <a:pt x="0" y="914400"/>
                  </a:moveTo>
                  <a:cubicBezTo>
                    <a:pt x="0" y="409391"/>
                    <a:pt x="409391" y="0"/>
                    <a:pt x="914400" y="0"/>
                  </a:cubicBez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0" name="TextBox 69">
              <a:extLst>
                <a:ext uri="{FF2B5EF4-FFF2-40B4-BE49-F238E27FC236}">
                  <a16:creationId xmlns:a16="http://schemas.microsoft.com/office/drawing/2014/main" id="{64680612-C94E-48C2-8914-2460D2B44EF2}"/>
                </a:ext>
              </a:extLst>
            </p:cNvPr>
            <p:cNvSpPr txBox="1"/>
            <p:nvPr/>
          </p:nvSpPr>
          <p:spPr>
            <a:xfrm>
              <a:off x="3933493" y="2427956"/>
              <a:ext cx="842951" cy="424732"/>
            </a:xfrm>
            <a:prstGeom prst="rect">
              <a:avLst/>
            </a:prstGeom>
            <a:solidFill>
              <a:schemeClr val="bg1"/>
            </a:solid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r>
                <a:rPr lang="en-GB" sz="1200"/>
                <a:t>Lower investments</a:t>
              </a:r>
            </a:p>
          </p:txBody>
        </p:sp>
      </p:grpSp>
      <p:grpSp>
        <p:nvGrpSpPr>
          <p:cNvPr id="55" name="Group 54">
            <a:extLst>
              <a:ext uri="{FF2B5EF4-FFF2-40B4-BE49-F238E27FC236}">
                <a16:creationId xmlns:a16="http://schemas.microsoft.com/office/drawing/2014/main" id="{50C8FE2B-B73B-E4A8-1846-86B68B0A7843}"/>
              </a:ext>
            </a:extLst>
          </p:cNvPr>
          <p:cNvGrpSpPr/>
          <p:nvPr/>
        </p:nvGrpSpPr>
        <p:grpSpPr>
          <a:xfrm>
            <a:off x="3723449" y="15588"/>
            <a:ext cx="3946426" cy="3363517"/>
            <a:chOff x="3723449" y="15588"/>
            <a:chExt cx="3946426" cy="3363517"/>
          </a:xfrm>
        </p:grpSpPr>
        <p:sp>
          <p:nvSpPr>
            <p:cNvPr id="78" name="Freeform: Shape 77">
              <a:extLst>
                <a:ext uri="{FF2B5EF4-FFF2-40B4-BE49-F238E27FC236}">
                  <a16:creationId xmlns:a16="http://schemas.microsoft.com/office/drawing/2014/main" id="{1020B716-3A58-4E4B-8064-AB9234FC88A0}"/>
                </a:ext>
              </a:extLst>
            </p:cNvPr>
            <p:cNvSpPr>
              <a:spLocks noChangeAspect="1"/>
            </p:cNvSpPr>
            <p:nvPr/>
          </p:nvSpPr>
          <p:spPr>
            <a:xfrm rot="13171629" flipH="1" flipV="1">
              <a:off x="3723449" y="15588"/>
              <a:ext cx="3946426" cy="3363517"/>
            </a:xfrm>
            <a:custGeom>
              <a:avLst/>
              <a:gdLst>
                <a:gd name="connsiteX0" fmla="*/ 0 w 914400"/>
                <a:gd name="connsiteY0" fmla="*/ 914400 h 914400"/>
                <a:gd name="connsiteX1" fmla="*/ 914400 w 914400"/>
                <a:gd name="connsiteY1" fmla="*/ 0 h 914400"/>
                <a:gd name="connsiteX0" fmla="*/ 0 w 1090730"/>
                <a:gd name="connsiteY0" fmla="*/ 1202862 h 1202862"/>
                <a:gd name="connsiteX1" fmla="*/ 1090730 w 1090730"/>
                <a:gd name="connsiteY1" fmla="*/ 0 h 1202862"/>
                <a:gd name="connsiteX0" fmla="*/ 0 w 1090730"/>
                <a:gd name="connsiteY0" fmla="*/ 1202862 h 1202862"/>
                <a:gd name="connsiteX1" fmla="*/ 1090730 w 1090730"/>
                <a:gd name="connsiteY1" fmla="*/ 0 h 1202862"/>
                <a:gd name="connsiteX0" fmla="*/ 0 w 1345043"/>
                <a:gd name="connsiteY0" fmla="*/ 1282934 h 1282934"/>
                <a:gd name="connsiteX1" fmla="*/ 1345043 w 1345043"/>
                <a:gd name="connsiteY1" fmla="*/ 0 h 1282934"/>
                <a:gd name="connsiteX0" fmla="*/ 0 w 1345043"/>
                <a:gd name="connsiteY0" fmla="*/ 1293717 h 1293717"/>
                <a:gd name="connsiteX1" fmla="*/ 1345043 w 1345043"/>
                <a:gd name="connsiteY1" fmla="*/ 10783 h 1293717"/>
                <a:gd name="connsiteX0" fmla="*/ 0 w 1345043"/>
                <a:gd name="connsiteY0" fmla="*/ 1331082 h 1331082"/>
                <a:gd name="connsiteX1" fmla="*/ 1345043 w 1345043"/>
                <a:gd name="connsiteY1" fmla="*/ 48148 h 1331082"/>
                <a:gd name="connsiteX0" fmla="*/ 0 w 1284496"/>
                <a:gd name="connsiteY0" fmla="*/ 1491775 h 1491775"/>
                <a:gd name="connsiteX1" fmla="*/ 1284496 w 1284496"/>
                <a:gd name="connsiteY1" fmla="*/ 42781 h 1491775"/>
                <a:gd name="connsiteX0" fmla="*/ 0 w 1284496"/>
                <a:gd name="connsiteY0" fmla="*/ 1448994 h 1448994"/>
                <a:gd name="connsiteX1" fmla="*/ 1284496 w 1284496"/>
                <a:gd name="connsiteY1" fmla="*/ 0 h 1448994"/>
                <a:gd name="connsiteX0" fmla="*/ 0 w 1270426"/>
                <a:gd name="connsiteY0" fmla="*/ 1562265 h 1562265"/>
                <a:gd name="connsiteX1" fmla="*/ 1270426 w 1270426"/>
                <a:gd name="connsiteY1" fmla="*/ 0 h 1562265"/>
                <a:gd name="connsiteX0" fmla="*/ 0 w 1270426"/>
                <a:gd name="connsiteY0" fmla="*/ 1562265 h 1562265"/>
                <a:gd name="connsiteX1" fmla="*/ 1270426 w 1270426"/>
                <a:gd name="connsiteY1" fmla="*/ 0 h 1562265"/>
                <a:gd name="connsiteX0" fmla="*/ 0 w 1248058"/>
                <a:gd name="connsiteY0" fmla="*/ 1565419 h 1565419"/>
                <a:gd name="connsiteX1" fmla="*/ 1248058 w 1248058"/>
                <a:gd name="connsiteY1" fmla="*/ 0 h 1565419"/>
              </a:gdLst>
              <a:ahLst/>
              <a:cxnLst>
                <a:cxn ang="0">
                  <a:pos x="connsiteX0" y="connsiteY0"/>
                </a:cxn>
                <a:cxn ang="0">
                  <a:pos x="connsiteX1" y="connsiteY1"/>
                </a:cxn>
              </a:cxnLst>
              <a:rect l="l" t="t" r="r" b="b"/>
              <a:pathLst>
                <a:path w="1248058" h="1565419">
                  <a:moveTo>
                    <a:pt x="0" y="1565419"/>
                  </a:moveTo>
                  <a:cubicBezTo>
                    <a:pt x="155164" y="1080721"/>
                    <a:pt x="916144" y="163438"/>
                    <a:pt x="1248058" y="0"/>
                  </a:cubicBez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1" name="TextBox 80">
              <a:extLst>
                <a:ext uri="{FF2B5EF4-FFF2-40B4-BE49-F238E27FC236}">
                  <a16:creationId xmlns:a16="http://schemas.microsoft.com/office/drawing/2014/main" id="{F2041697-94D2-477B-A1F1-E2B8CAB91F3F}"/>
                </a:ext>
              </a:extLst>
            </p:cNvPr>
            <p:cNvSpPr txBox="1"/>
            <p:nvPr/>
          </p:nvSpPr>
          <p:spPr>
            <a:xfrm>
              <a:off x="4954804" y="1178312"/>
              <a:ext cx="1357096" cy="184666"/>
            </a:xfrm>
            <a:prstGeom prst="rect">
              <a:avLst/>
            </a:prstGeom>
            <a:solidFill>
              <a:schemeClr val="bg1"/>
            </a:solidFill>
          </p:spPr>
          <p:txBody>
            <a:bodyPr wrap="square" lIns="0" tIns="0" rIns="0" bIns="0" rtlCol="0">
              <a:spAutoFit/>
            </a:bodyPr>
            <a:lstStyle/>
            <a:p>
              <a:pPr algn="ctr"/>
              <a:r>
                <a:rPr lang="en-GB" sz="1200" b="1" kern="0">
                  <a:solidFill>
                    <a:schemeClr val="tx2">
                      <a:lumMod val="65000"/>
                      <a:lumOff val="35000"/>
                    </a:schemeClr>
                  </a:solidFill>
                </a:rPr>
                <a:t>Extreme weather</a:t>
              </a:r>
            </a:p>
          </p:txBody>
        </p:sp>
      </p:grpSp>
      <p:grpSp>
        <p:nvGrpSpPr>
          <p:cNvPr id="56" name="Group 55">
            <a:extLst>
              <a:ext uri="{FF2B5EF4-FFF2-40B4-BE49-F238E27FC236}">
                <a16:creationId xmlns:a16="http://schemas.microsoft.com/office/drawing/2014/main" id="{26C0680F-5645-2F89-7A3C-A220E5902AAB}"/>
              </a:ext>
            </a:extLst>
          </p:cNvPr>
          <p:cNvGrpSpPr/>
          <p:nvPr/>
        </p:nvGrpSpPr>
        <p:grpSpPr>
          <a:xfrm>
            <a:off x="4999709" y="2457752"/>
            <a:ext cx="611551" cy="946928"/>
            <a:chOff x="4999709" y="2457752"/>
            <a:chExt cx="611551" cy="946928"/>
          </a:xfrm>
        </p:grpSpPr>
        <p:sp>
          <p:nvSpPr>
            <p:cNvPr id="92" name="Freeform: Shape 91">
              <a:extLst>
                <a:ext uri="{FF2B5EF4-FFF2-40B4-BE49-F238E27FC236}">
                  <a16:creationId xmlns:a16="http://schemas.microsoft.com/office/drawing/2014/main" id="{6008AF20-2969-4BF2-BE75-7B6F070BF5E9}"/>
                </a:ext>
              </a:extLst>
            </p:cNvPr>
            <p:cNvSpPr>
              <a:spLocks noChangeAspect="1"/>
            </p:cNvSpPr>
            <p:nvPr/>
          </p:nvSpPr>
          <p:spPr>
            <a:xfrm rot="497543">
              <a:off x="5177923" y="2457752"/>
              <a:ext cx="433337" cy="946928"/>
            </a:xfrm>
            <a:custGeom>
              <a:avLst/>
              <a:gdLst>
                <a:gd name="connsiteX0" fmla="*/ 0 w 914400"/>
                <a:gd name="connsiteY0" fmla="*/ 914400 h 914400"/>
                <a:gd name="connsiteX1" fmla="*/ 914400 w 914400"/>
                <a:gd name="connsiteY1" fmla="*/ 0 h 914400"/>
              </a:gdLst>
              <a:ahLst/>
              <a:cxnLst>
                <a:cxn ang="0">
                  <a:pos x="connsiteX0" y="connsiteY0"/>
                </a:cxn>
                <a:cxn ang="0">
                  <a:pos x="connsiteX1" y="connsiteY1"/>
                </a:cxn>
              </a:cxnLst>
              <a:rect l="l" t="t" r="r" b="b"/>
              <a:pathLst>
                <a:path w="914400" h="914400">
                  <a:moveTo>
                    <a:pt x="0" y="914400"/>
                  </a:moveTo>
                  <a:cubicBezTo>
                    <a:pt x="0" y="409391"/>
                    <a:pt x="409391" y="0"/>
                    <a:pt x="914400" y="0"/>
                  </a:cubicBez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1" name="TextBox 120">
              <a:extLst>
                <a:ext uri="{FF2B5EF4-FFF2-40B4-BE49-F238E27FC236}">
                  <a16:creationId xmlns:a16="http://schemas.microsoft.com/office/drawing/2014/main" id="{283C7785-A356-4311-A33B-D017A6277770}"/>
                </a:ext>
              </a:extLst>
            </p:cNvPr>
            <p:cNvSpPr txBox="1"/>
            <p:nvPr/>
          </p:nvSpPr>
          <p:spPr>
            <a:xfrm>
              <a:off x="4999709" y="2781097"/>
              <a:ext cx="523974" cy="424732"/>
            </a:xfrm>
            <a:prstGeom prst="rect">
              <a:avLst/>
            </a:prstGeom>
            <a:solidFill>
              <a:schemeClr val="bg1"/>
            </a:solidFill>
          </p:spPr>
          <p:txBody>
            <a:bodyPr wrap="square" lIns="0" tIns="27432" rIns="0" bIns="27432" rtlCol="0">
              <a:spAutoFit/>
            </a:bodyPr>
            <a:lstStyle/>
            <a:p>
              <a:pPr algn="ctr"/>
              <a:r>
                <a:rPr lang="en-GB" sz="1200" b="1" kern="0">
                  <a:solidFill>
                    <a:schemeClr val="tx2">
                      <a:lumMod val="65000"/>
                      <a:lumOff val="35000"/>
                    </a:schemeClr>
                  </a:solidFill>
                </a:rPr>
                <a:t>Fewer loans</a:t>
              </a:r>
            </a:p>
          </p:txBody>
        </p:sp>
      </p:grpSp>
      <p:grpSp>
        <p:nvGrpSpPr>
          <p:cNvPr id="61" name="Group 60">
            <a:extLst>
              <a:ext uri="{FF2B5EF4-FFF2-40B4-BE49-F238E27FC236}">
                <a16:creationId xmlns:a16="http://schemas.microsoft.com/office/drawing/2014/main" id="{B545C568-08EE-A541-6B1C-B078CC9F7791}"/>
              </a:ext>
            </a:extLst>
          </p:cNvPr>
          <p:cNvGrpSpPr/>
          <p:nvPr/>
        </p:nvGrpSpPr>
        <p:grpSpPr>
          <a:xfrm>
            <a:off x="2689257" y="5240473"/>
            <a:ext cx="2154314" cy="813215"/>
            <a:chOff x="2689257" y="5240473"/>
            <a:chExt cx="2154314" cy="813215"/>
          </a:xfrm>
        </p:grpSpPr>
        <p:sp>
          <p:nvSpPr>
            <p:cNvPr id="77" name="Freeform: Shape 76">
              <a:extLst>
                <a:ext uri="{FF2B5EF4-FFF2-40B4-BE49-F238E27FC236}">
                  <a16:creationId xmlns:a16="http://schemas.microsoft.com/office/drawing/2014/main" id="{19A4B9AF-7790-4520-A096-E5913DF51763}"/>
                </a:ext>
              </a:extLst>
            </p:cNvPr>
            <p:cNvSpPr>
              <a:spLocks noChangeAspect="1"/>
            </p:cNvSpPr>
            <p:nvPr/>
          </p:nvSpPr>
          <p:spPr>
            <a:xfrm rot="15838355">
              <a:off x="3359806" y="4569924"/>
              <a:ext cx="813215" cy="2154314"/>
            </a:xfrm>
            <a:custGeom>
              <a:avLst/>
              <a:gdLst>
                <a:gd name="connsiteX0" fmla="*/ 0 w 914400"/>
                <a:gd name="connsiteY0" fmla="*/ 914400 h 914400"/>
                <a:gd name="connsiteX1" fmla="*/ 914400 w 914400"/>
                <a:gd name="connsiteY1" fmla="*/ 0 h 914400"/>
              </a:gdLst>
              <a:ahLst/>
              <a:cxnLst>
                <a:cxn ang="0">
                  <a:pos x="connsiteX0" y="connsiteY0"/>
                </a:cxn>
                <a:cxn ang="0">
                  <a:pos x="connsiteX1" y="connsiteY1"/>
                </a:cxn>
              </a:cxnLst>
              <a:rect l="l" t="t" r="r" b="b"/>
              <a:pathLst>
                <a:path w="914400" h="914400">
                  <a:moveTo>
                    <a:pt x="0" y="914400"/>
                  </a:moveTo>
                  <a:cubicBezTo>
                    <a:pt x="0" y="409391"/>
                    <a:pt x="409391" y="0"/>
                    <a:pt x="914400" y="0"/>
                  </a:cubicBezTo>
                </a:path>
              </a:pathLst>
            </a:custGeom>
            <a:ln w="57150">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2" name="TextBox 121">
              <a:extLst>
                <a:ext uri="{FF2B5EF4-FFF2-40B4-BE49-F238E27FC236}">
                  <a16:creationId xmlns:a16="http://schemas.microsoft.com/office/drawing/2014/main" id="{D1F4FA3E-A748-418E-8086-EC0E4D6B8C46}"/>
                </a:ext>
              </a:extLst>
            </p:cNvPr>
            <p:cNvSpPr txBox="1"/>
            <p:nvPr/>
          </p:nvSpPr>
          <p:spPr>
            <a:xfrm>
              <a:off x="3182207" y="5597751"/>
              <a:ext cx="1002052" cy="424732"/>
            </a:xfrm>
            <a:prstGeom prst="rect">
              <a:avLst/>
            </a:prstGeom>
            <a:solidFill>
              <a:schemeClr val="bg1"/>
            </a:solid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r>
                <a:rPr lang="en-GB" sz="1200"/>
                <a:t>Energy shortage</a:t>
              </a:r>
            </a:p>
          </p:txBody>
        </p:sp>
      </p:grpSp>
      <p:grpSp>
        <p:nvGrpSpPr>
          <p:cNvPr id="67" name="Group 66">
            <a:extLst>
              <a:ext uri="{FF2B5EF4-FFF2-40B4-BE49-F238E27FC236}">
                <a16:creationId xmlns:a16="http://schemas.microsoft.com/office/drawing/2014/main" id="{8E9CA9B5-DA19-671E-3AC4-854DA6CAA86A}"/>
              </a:ext>
            </a:extLst>
          </p:cNvPr>
          <p:cNvGrpSpPr/>
          <p:nvPr/>
        </p:nvGrpSpPr>
        <p:grpSpPr>
          <a:xfrm>
            <a:off x="9346234" y="2676986"/>
            <a:ext cx="1069124" cy="762252"/>
            <a:chOff x="9346234" y="2676986"/>
            <a:chExt cx="1069124" cy="762252"/>
          </a:xfrm>
        </p:grpSpPr>
        <p:sp>
          <p:nvSpPr>
            <p:cNvPr id="94" name="Freeform: Shape 93">
              <a:extLst>
                <a:ext uri="{FF2B5EF4-FFF2-40B4-BE49-F238E27FC236}">
                  <a16:creationId xmlns:a16="http://schemas.microsoft.com/office/drawing/2014/main" id="{DFC61203-913D-4652-8F94-05E70FEC59A9}"/>
                </a:ext>
              </a:extLst>
            </p:cNvPr>
            <p:cNvSpPr>
              <a:spLocks noChangeAspect="1"/>
            </p:cNvSpPr>
            <p:nvPr/>
          </p:nvSpPr>
          <p:spPr>
            <a:xfrm rot="15367615" flipH="1" flipV="1">
              <a:off x="9516484" y="2762256"/>
              <a:ext cx="506732" cy="847232"/>
            </a:xfrm>
            <a:custGeom>
              <a:avLst/>
              <a:gdLst>
                <a:gd name="connsiteX0" fmla="*/ 0 w 914400"/>
                <a:gd name="connsiteY0" fmla="*/ 914400 h 914400"/>
                <a:gd name="connsiteX1" fmla="*/ 914400 w 914400"/>
                <a:gd name="connsiteY1" fmla="*/ 0 h 914400"/>
              </a:gdLst>
              <a:ahLst/>
              <a:cxnLst>
                <a:cxn ang="0">
                  <a:pos x="connsiteX0" y="connsiteY0"/>
                </a:cxn>
                <a:cxn ang="0">
                  <a:pos x="connsiteX1" y="connsiteY1"/>
                </a:cxn>
              </a:cxnLst>
              <a:rect l="l" t="t" r="r" b="b"/>
              <a:pathLst>
                <a:path w="914400" h="914400">
                  <a:moveTo>
                    <a:pt x="0" y="914400"/>
                  </a:moveTo>
                  <a:cubicBezTo>
                    <a:pt x="0" y="409391"/>
                    <a:pt x="409391" y="0"/>
                    <a:pt x="914400" y="0"/>
                  </a:cubicBez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3" name="TextBox 122">
              <a:extLst>
                <a:ext uri="{FF2B5EF4-FFF2-40B4-BE49-F238E27FC236}">
                  <a16:creationId xmlns:a16="http://schemas.microsoft.com/office/drawing/2014/main" id="{39FFAB48-28FE-4F73-90E9-33E4F91050B4}"/>
                </a:ext>
              </a:extLst>
            </p:cNvPr>
            <p:cNvSpPr txBox="1"/>
            <p:nvPr/>
          </p:nvSpPr>
          <p:spPr>
            <a:xfrm>
              <a:off x="9471340" y="2676986"/>
              <a:ext cx="944018" cy="369332"/>
            </a:xfrm>
            <a:prstGeom prst="rect">
              <a:avLst/>
            </a:prstGeom>
            <a:solidFill>
              <a:schemeClr val="bg1"/>
            </a:solidFill>
          </p:spPr>
          <p:txBody>
            <a:bodyPr wrap="square" lIns="0" tIns="0" rIns="0" bIns="0" rtlCol="0">
              <a:spAutoFit/>
            </a:bodyPr>
            <a:lstStyle/>
            <a:p>
              <a:pPr algn="ctr"/>
              <a:r>
                <a:rPr lang="en-GB" sz="1200" b="1" kern="0">
                  <a:solidFill>
                    <a:schemeClr val="tx2">
                      <a:lumMod val="65000"/>
                      <a:lumOff val="35000"/>
                    </a:schemeClr>
                  </a:solidFill>
                </a:rPr>
                <a:t>Remote options rise</a:t>
              </a:r>
            </a:p>
          </p:txBody>
        </p:sp>
      </p:grpSp>
      <p:grpSp>
        <p:nvGrpSpPr>
          <p:cNvPr id="69" name="Group 68">
            <a:extLst>
              <a:ext uri="{FF2B5EF4-FFF2-40B4-BE49-F238E27FC236}">
                <a16:creationId xmlns:a16="http://schemas.microsoft.com/office/drawing/2014/main" id="{1EB296A8-203F-8362-FEBF-0F29502FE475}"/>
              </a:ext>
            </a:extLst>
          </p:cNvPr>
          <p:cNvGrpSpPr/>
          <p:nvPr/>
        </p:nvGrpSpPr>
        <p:grpSpPr>
          <a:xfrm>
            <a:off x="3651034" y="3993979"/>
            <a:ext cx="1504769" cy="1219722"/>
            <a:chOff x="3651034" y="3993979"/>
            <a:chExt cx="1504769" cy="1219722"/>
          </a:xfrm>
        </p:grpSpPr>
        <p:cxnSp>
          <p:nvCxnSpPr>
            <p:cNvPr id="186" name="Straight Arrow Connector 185">
              <a:extLst>
                <a:ext uri="{FF2B5EF4-FFF2-40B4-BE49-F238E27FC236}">
                  <a16:creationId xmlns:a16="http://schemas.microsoft.com/office/drawing/2014/main" id="{DB3CD8B5-5B8B-45FE-9545-3B01D6BD9AB2}"/>
                </a:ext>
              </a:extLst>
            </p:cNvPr>
            <p:cNvCxnSpPr>
              <a:cxnSpLocks/>
            </p:cNvCxnSpPr>
            <p:nvPr/>
          </p:nvCxnSpPr>
          <p:spPr>
            <a:xfrm flipH="1" flipV="1">
              <a:off x="3651034" y="3993979"/>
              <a:ext cx="1504769" cy="1219722"/>
            </a:xfrm>
            <a:prstGeom prst="straightConnector1">
              <a:avLst/>
            </a:prstGeom>
            <a:ln w="28575">
              <a:solidFill>
                <a:schemeClr val="tx1">
                  <a:alpha val="2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87CF2378-CF02-4722-858F-F9ED04A73D75}"/>
                </a:ext>
              </a:extLst>
            </p:cNvPr>
            <p:cNvSpPr txBox="1"/>
            <p:nvPr/>
          </p:nvSpPr>
          <p:spPr>
            <a:xfrm>
              <a:off x="4219444" y="4682652"/>
              <a:ext cx="808663" cy="424732"/>
            </a:xfrm>
            <a:prstGeom prst="rect">
              <a:avLst/>
            </a:prstGeom>
            <a:solidFill>
              <a:schemeClr val="bg1"/>
            </a:solid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r>
                <a:rPr lang="en-GB" sz="1200"/>
                <a:t>Resource scarcity</a:t>
              </a:r>
            </a:p>
          </p:txBody>
        </p:sp>
      </p:grpSp>
      <p:grpSp>
        <p:nvGrpSpPr>
          <p:cNvPr id="50" name="Group 49">
            <a:extLst>
              <a:ext uri="{FF2B5EF4-FFF2-40B4-BE49-F238E27FC236}">
                <a16:creationId xmlns:a16="http://schemas.microsoft.com/office/drawing/2014/main" id="{BD6E9A18-F020-3F1E-1ABC-D59A0BADFEB4}"/>
              </a:ext>
            </a:extLst>
          </p:cNvPr>
          <p:cNvGrpSpPr/>
          <p:nvPr/>
        </p:nvGrpSpPr>
        <p:grpSpPr>
          <a:xfrm>
            <a:off x="9227516" y="1829942"/>
            <a:ext cx="2608884" cy="4103090"/>
            <a:chOff x="9227516" y="1829942"/>
            <a:chExt cx="2608884" cy="4103090"/>
          </a:xfrm>
        </p:grpSpPr>
        <p:sp>
          <p:nvSpPr>
            <p:cNvPr id="112" name="Freeform: Shape 111">
              <a:extLst>
                <a:ext uri="{FF2B5EF4-FFF2-40B4-BE49-F238E27FC236}">
                  <a16:creationId xmlns:a16="http://schemas.microsoft.com/office/drawing/2014/main" id="{EDA7E416-4A06-4388-A41B-0FCC8122C4BE}"/>
                </a:ext>
              </a:extLst>
            </p:cNvPr>
            <p:cNvSpPr>
              <a:spLocks noChangeAspect="1"/>
            </p:cNvSpPr>
            <p:nvPr/>
          </p:nvSpPr>
          <p:spPr>
            <a:xfrm rot="5400000">
              <a:off x="8196003" y="2861455"/>
              <a:ext cx="4103090" cy="2040064"/>
            </a:xfrm>
            <a:custGeom>
              <a:avLst/>
              <a:gdLst>
                <a:gd name="connsiteX0" fmla="*/ 0 w 914400"/>
                <a:gd name="connsiteY0" fmla="*/ 914400 h 914400"/>
                <a:gd name="connsiteX1" fmla="*/ 914400 w 914400"/>
                <a:gd name="connsiteY1" fmla="*/ 0 h 914400"/>
                <a:gd name="connsiteX0" fmla="*/ 0 w 1921913"/>
                <a:gd name="connsiteY0" fmla="*/ 178046 h 402781"/>
                <a:gd name="connsiteX1" fmla="*/ 1921913 w 1921913"/>
                <a:gd name="connsiteY1" fmla="*/ 402781 h 402781"/>
                <a:gd name="connsiteX0" fmla="*/ 0 w 1921913"/>
                <a:gd name="connsiteY0" fmla="*/ 445402 h 670137"/>
                <a:gd name="connsiteX1" fmla="*/ 1921913 w 1921913"/>
                <a:gd name="connsiteY1" fmla="*/ 670137 h 670137"/>
                <a:gd name="connsiteX0" fmla="*/ 0 w 1886513"/>
                <a:gd name="connsiteY0" fmla="*/ 489965 h 630274"/>
                <a:gd name="connsiteX1" fmla="*/ 1886513 w 1886513"/>
                <a:gd name="connsiteY1" fmla="*/ 630274 h 630274"/>
                <a:gd name="connsiteX0" fmla="*/ 2377 w 1888890"/>
                <a:gd name="connsiteY0" fmla="*/ 492760 h 633069"/>
                <a:gd name="connsiteX1" fmla="*/ 1888890 w 1888890"/>
                <a:gd name="connsiteY1" fmla="*/ 633069 h 633069"/>
                <a:gd name="connsiteX0" fmla="*/ 6398 w 1892911"/>
                <a:gd name="connsiteY0" fmla="*/ 490694 h 631003"/>
                <a:gd name="connsiteX1" fmla="*/ 1892911 w 1892911"/>
                <a:gd name="connsiteY1" fmla="*/ 631003 h 631003"/>
                <a:gd name="connsiteX0" fmla="*/ 8 w 1886521"/>
                <a:gd name="connsiteY0" fmla="*/ 498520 h 638829"/>
                <a:gd name="connsiteX1" fmla="*/ 1886521 w 1886521"/>
                <a:gd name="connsiteY1" fmla="*/ 638829 h 638829"/>
                <a:gd name="connsiteX0" fmla="*/ 8 w 1890557"/>
                <a:gd name="connsiteY0" fmla="*/ 466966 h 667096"/>
                <a:gd name="connsiteX1" fmla="*/ 1890557 w 1890557"/>
                <a:gd name="connsiteY1" fmla="*/ 667096 h 667096"/>
                <a:gd name="connsiteX0" fmla="*/ 6 w 1910736"/>
                <a:gd name="connsiteY0" fmla="*/ 508635 h 630428"/>
                <a:gd name="connsiteX1" fmla="*/ 1910736 w 1910736"/>
                <a:gd name="connsiteY1" fmla="*/ 630428 h 630428"/>
                <a:gd name="connsiteX0" fmla="*/ 0 w 1910730"/>
                <a:gd name="connsiteY0" fmla="*/ 539416 h 661209"/>
                <a:gd name="connsiteX1" fmla="*/ 1910730 w 1910730"/>
                <a:gd name="connsiteY1" fmla="*/ 661209 h 661209"/>
                <a:gd name="connsiteX0" fmla="*/ 0 w 1910730"/>
                <a:gd name="connsiteY0" fmla="*/ 548695 h 670488"/>
                <a:gd name="connsiteX1" fmla="*/ 1910730 w 1910730"/>
                <a:gd name="connsiteY1" fmla="*/ 670488 h 670488"/>
              </a:gdLst>
              <a:ahLst/>
              <a:cxnLst>
                <a:cxn ang="0">
                  <a:pos x="connsiteX0" y="connsiteY0"/>
                </a:cxn>
                <a:cxn ang="0">
                  <a:pos x="connsiteX1" y="connsiteY1"/>
                </a:cxn>
              </a:cxnLst>
              <a:rect l="l" t="t" r="r" b="b"/>
              <a:pathLst>
                <a:path w="1910730" h="670488">
                  <a:moveTo>
                    <a:pt x="0" y="548695"/>
                  </a:moveTo>
                  <a:cubicBezTo>
                    <a:pt x="13984" y="-93201"/>
                    <a:pt x="1869038" y="-311761"/>
                    <a:pt x="1910730" y="670488"/>
                  </a:cubicBezTo>
                </a:path>
              </a:pathLst>
            </a:custGeom>
            <a:ln w="57150">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5" name="TextBox 124">
              <a:extLst>
                <a:ext uri="{FF2B5EF4-FFF2-40B4-BE49-F238E27FC236}">
                  <a16:creationId xmlns:a16="http://schemas.microsoft.com/office/drawing/2014/main" id="{EFD34569-773C-4191-8B4C-2A3AA6B243F0}"/>
                </a:ext>
              </a:extLst>
            </p:cNvPr>
            <p:cNvSpPr txBox="1"/>
            <p:nvPr/>
          </p:nvSpPr>
          <p:spPr>
            <a:xfrm>
              <a:off x="10987966" y="3758033"/>
              <a:ext cx="848434" cy="424732"/>
            </a:xfrm>
            <a:prstGeom prst="rect">
              <a:avLst/>
            </a:prstGeom>
            <a:solidFill>
              <a:schemeClr val="bg1"/>
            </a:solid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r>
                <a:rPr lang="en-GB" sz="1200"/>
                <a:t>Supply uncertainty</a:t>
              </a:r>
            </a:p>
          </p:txBody>
        </p:sp>
      </p:grpSp>
      <p:grpSp>
        <p:nvGrpSpPr>
          <p:cNvPr id="58" name="Group 57">
            <a:extLst>
              <a:ext uri="{FF2B5EF4-FFF2-40B4-BE49-F238E27FC236}">
                <a16:creationId xmlns:a16="http://schemas.microsoft.com/office/drawing/2014/main" id="{B3542DE2-527E-4A0E-A2CF-A062035EAC31}"/>
              </a:ext>
            </a:extLst>
          </p:cNvPr>
          <p:cNvGrpSpPr/>
          <p:nvPr/>
        </p:nvGrpSpPr>
        <p:grpSpPr>
          <a:xfrm>
            <a:off x="3637846" y="3378993"/>
            <a:ext cx="940083" cy="476810"/>
            <a:chOff x="3637846" y="3378993"/>
            <a:chExt cx="940083" cy="476810"/>
          </a:xfrm>
        </p:grpSpPr>
        <p:cxnSp>
          <p:nvCxnSpPr>
            <p:cNvPr id="54" name="Straight Arrow Connector 53">
              <a:extLst>
                <a:ext uri="{FF2B5EF4-FFF2-40B4-BE49-F238E27FC236}">
                  <a16:creationId xmlns:a16="http://schemas.microsoft.com/office/drawing/2014/main" id="{55A8E66C-19C6-4B17-A128-7FB4CDEA0DA9}"/>
                </a:ext>
              </a:extLst>
            </p:cNvPr>
            <p:cNvCxnSpPr>
              <a:cxnSpLocks/>
            </p:cNvCxnSpPr>
            <p:nvPr/>
          </p:nvCxnSpPr>
          <p:spPr>
            <a:xfrm>
              <a:off x="3637846" y="3768548"/>
              <a:ext cx="940083" cy="87255"/>
            </a:xfrm>
            <a:prstGeom prst="straightConnector1">
              <a:avLst/>
            </a:prstGeom>
            <a:ln w="57150">
              <a:solidFill>
                <a:schemeClr val="tx1">
                  <a:alpha val="2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F92FA4E4-2E06-4783-9EFA-567D37001CA5}"/>
                </a:ext>
              </a:extLst>
            </p:cNvPr>
            <p:cNvSpPr txBox="1"/>
            <p:nvPr/>
          </p:nvSpPr>
          <p:spPr>
            <a:xfrm>
              <a:off x="3766271" y="3378993"/>
              <a:ext cx="564874" cy="424732"/>
            </a:xfrm>
            <a:prstGeom prst="rect">
              <a:avLst/>
            </a:prstGeom>
            <a:no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r>
                <a:rPr lang="en-GB" sz="1200"/>
                <a:t>Central</a:t>
              </a:r>
            </a:p>
            <a:p>
              <a:r>
                <a:rPr lang="en-GB" sz="1200"/>
                <a:t>banks</a:t>
              </a:r>
            </a:p>
          </p:txBody>
        </p:sp>
      </p:grpSp>
      <p:grpSp>
        <p:nvGrpSpPr>
          <p:cNvPr id="51" name="Group 50">
            <a:extLst>
              <a:ext uri="{FF2B5EF4-FFF2-40B4-BE49-F238E27FC236}">
                <a16:creationId xmlns:a16="http://schemas.microsoft.com/office/drawing/2014/main" id="{69C1EBA4-0D98-1C5A-EC90-C1807FE1448F}"/>
              </a:ext>
            </a:extLst>
          </p:cNvPr>
          <p:cNvGrpSpPr/>
          <p:nvPr/>
        </p:nvGrpSpPr>
        <p:grpSpPr>
          <a:xfrm>
            <a:off x="8256223" y="4213588"/>
            <a:ext cx="1333406" cy="561919"/>
            <a:chOff x="8256223" y="4213588"/>
            <a:chExt cx="1333406" cy="561919"/>
          </a:xfrm>
        </p:grpSpPr>
        <p:sp>
          <p:nvSpPr>
            <p:cNvPr id="110" name="Freeform: Shape 109">
              <a:extLst>
                <a:ext uri="{FF2B5EF4-FFF2-40B4-BE49-F238E27FC236}">
                  <a16:creationId xmlns:a16="http://schemas.microsoft.com/office/drawing/2014/main" id="{F7BEA55F-9FD3-4C37-B3BA-F8DBBC8AAC82}"/>
                </a:ext>
              </a:extLst>
            </p:cNvPr>
            <p:cNvSpPr>
              <a:spLocks noChangeAspect="1"/>
            </p:cNvSpPr>
            <p:nvPr/>
          </p:nvSpPr>
          <p:spPr>
            <a:xfrm rot="21369323" flipH="1" flipV="1">
              <a:off x="8256223" y="4213588"/>
              <a:ext cx="788774" cy="546146"/>
            </a:xfrm>
            <a:custGeom>
              <a:avLst/>
              <a:gdLst>
                <a:gd name="connsiteX0" fmla="*/ 0 w 914400"/>
                <a:gd name="connsiteY0" fmla="*/ 914400 h 914400"/>
                <a:gd name="connsiteX1" fmla="*/ 914400 w 914400"/>
                <a:gd name="connsiteY1" fmla="*/ 0 h 914400"/>
                <a:gd name="connsiteX0" fmla="*/ 0 w 951618"/>
                <a:gd name="connsiteY0" fmla="*/ 925609 h 925609"/>
                <a:gd name="connsiteX1" fmla="*/ 951618 w 951618"/>
                <a:gd name="connsiteY1" fmla="*/ 0 h 925609"/>
              </a:gdLst>
              <a:ahLst/>
              <a:cxnLst>
                <a:cxn ang="0">
                  <a:pos x="connsiteX0" y="connsiteY0"/>
                </a:cxn>
                <a:cxn ang="0">
                  <a:pos x="connsiteX1" y="connsiteY1"/>
                </a:cxn>
              </a:cxnLst>
              <a:rect l="l" t="t" r="r" b="b"/>
              <a:pathLst>
                <a:path w="951618" h="925609">
                  <a:moveTo>
                    <a:pt x="0" y="925609"/>
                  </a:moveTo>
                  <a:cubicBezTo>
                    <a:pt x="0" y="420600"/>
                    <a:pt x="446609" y="0"/>
                    <a:pt x="951618" y="0"/>
                  </a:cubicBez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0" name="TextBox 129">
              <a:extLst>
                <a:ext uri="{FF2B5EF4-FFF2-40B4-BE49-F238E27FC236}">
                  <a16:creationId xmlns:a16="http://schemas.microsoft.com/office/drawing/2014/main" id="{B7F7E18B-34AD-4859-942C-7E989696EC74}"/>
                </a:ext>
              </a:extLst>
            </p:cNvPr>
            <p:cNvSpPr txBox="1"/>
            <p:nvPr/>
          </p:nvSpPr>
          <p:spPr>
            <a:xfrm>
              <a:off x="8487872" y="4406175"/>
              <a:ext cx="1101757" cy="369332"/>
            </a:xfrm>
            <a:prstGeom prst="rect">
              <a:avLst/>
            </a:prstGeom>
            <a:solidFill>
              <a:schemeClr val="bg1"/>
            </a:solidFill>
          </p:spPr>
          <p:txBody>
            <a:bodyPr wrap="square" lIns="0" tIns="0" rIns="0" bIns="0" rtlCol="0">
              <a:spAutoFit/>
            </a:bodyPr>
            <a:lstStyle/>
            <a:p>
              <a:pPr algn="ctr"/>
              <a:r>
                <a:rPr lang="en-GB" sz="1200" b="1" kern="0">
                  <a:solidFill>
                    <a:schemeClr val="tx2">
                      <a:lumMod val="65000"/>
                      <a:lumOff val="35000"/>
                    </a:schemeClr>
                  </a:solidFill>
                </a:rPr>
                <a:t>New definition </a:t>
              </a:r>
              <a:br>
                <a:rPr lang="en-GB" sz="1200" b="1" kern="0">
                  <a:solidFill>
                    <a:schemeClr val="tx2">
                      <a:lumMod val="65000"/>
                      <a:lumOff val="35000"/>
                    </a:schemeClr>
                  </a:solidFill>
                </a:rPr>
              </a:br>
              <a:r>
                <a:rPr lang="en-GB" sz="1200" b="1" kern="0">
                  <a:solidFill>
                    <a:schemeClr val="tx2">
                      <a:lumMod val="65000"/>
                      <a:lumOff val="35000"/>
                    </a:schemeClr>
                  </a:solidFill>
                </a:rPr>
                <a:t>of work</a:t>
              </a:r>
            </a:p>
          </p:txBody>
        </p:sp>
      </p:grpSp>
      <p:grpSp>
        <p:nvGrpSpPr>
          <p:cNvPr id="60" name="Group 59">
            <a:extLst>
              <a:ext uri="{FF2B5EF4-FFF2-40B4-BE49-F238E27FC236}">
                <a16:creationId xmlns:a16="http://schemas.microsoft.com/office/drawing/2014/main" id="{17CDE017-BD4F-5A16-2A60-B160E0AA2182}"/>
              </a:ext>
            </a:extLst>
          </p:cNvPr>
          <p:cNvGrpSpPr/>
          <p:nvPr/>
        </p:nvGrpSpPr>
        <p:grpSpPr>
          <a:xfrm>
            <a:off x="5950515" y="5757389"/>
            <a:ext cx="1832871" cy="369332"/>
            <a:chOff x="5950515" y="5757389"/>
            <a:chExt cx="1832871" cy="369332"/>
          </a:xfrm>
        </p:grpSpPr>
        <p:cxnSp>
          <p:nvCxnSpPr>
            <p:cNvPr id="119" name="Straight Arrow Connector 118">
              <a:extLst>
                <a:ext uri="{FF2B5EF4-FFF2-40B4-BE49-F238E27FC236}">
                  <a16:creationId xmlns:a16="http://schemas.microsoft.com/office/drawing/2014/main" id="{3D98D6C6-A505-474C-A13D-DF06F8EF07D2}"/>
                </a:ext>
              </a:extLst>
            </p:cNvPr>
            <p:cNvCxnSpPr>
              <a:cxnSpLocks/>
            </p:cNvCxnSpPr>
            <p:nvPr/>
          </p:nvCxnSpPr>
          <p:spPr>
            <a:xfrm>
              <a:off x="5950515" y="5888942"/>
              <a:ext cx="1832871" cy="0"/>
            </a:xfrm>
            <a:prstGeom prst="straightConnector1">
              <a:avLst/>
            </a:prstGeom>
            <a:ln w="57150">
              <a:solidFill>
                <a:schemeClr val="tx1">
                  <a:alpha val="2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5F4FFEFB-CDE9-4163-B830-734D17EAFCB1}"/>
                </a:ext>
              </a:extLst>
            </p:cNvPr>
            <p:cNvSpPr txBox="1"/>
            <p:nvPr/>
          </p:nvSpPr>
          <p:spPr>
            <a:xfrm>
              <a:off x="6474740" y="5757389"/>
              <a:ext cx="837994" cy="369332"/>
            </a:xfrm>
            <a:prstGeom prst="rect">
              <a:avLst/>
            </a:prstGeom>
            <a:solidFill>
              <a:schemeClr val="bg1"/>
            </a:solidFill>
          </p:spPr>
          <p:txBody>
            <a:bodyPr wrap="square" lIns="0" tIns="0" rIns="0" bIns="0" rtlCol="0">
              <a:spAutoFit/>
            </a:bodyPr>
            <a:lstStyle/>
            <a:p>
              <a:pPr algn="ctr"/>
              <a:r>
                <a:rPr lang="en-GB" sz="1200" b="1" kern="0">
                  <a:solidFill>
                    <a:schemeClr val="tx2">
                      <a:lumMod val="65000"/>
                      <a:lumOff val="35000"/>
                    </a:schemeClr>
                  </a:solidFill>
                </a:rPr>
                <a:t>New coalitions</a:t>
              </a:r>
            </a:p>
          </p:txBody>
        </p:sp>
      </p:grpSp>
      <p:grpSp>
        <p:nvGrpSpPr>
          <p:cNvPr id="62" name="Group 61">
            <a:extLst>
              <a:ext uri="{FF2B5EF4-FFF2-40B4-BE49-F238E27FC236}">
                <a16:creationId xmlns:a16="http://schemas.microsoft.com/office/drawing/2014/main" id="{5DC6CDB0-352C-BA42-1EC8-D345B75EF306}"/>
              </a:ext>
            </a:extLst>
          </p:cNvPr>
          <p:cNvGrpSpPr/>
          <p:nvPr/>
        </p:nvGrpSpPr>
        <p:grpSpPr>
          <a:xfrm>
            <a:off x="1164154" y="5665936"/>
            <a:ext cx="3789383" cy="754552"/>
            <a:chOff x="1164154" y="5665936"/>
            <a:chExt cx="3789383" cy="754552"/>
          </a:xfrm>
        </p:grpSpPr>
        <p:sp>
          <p:nvSpPr>
            <p:cNvPr id="52" name="Freeform: Shape 51">
              <a:extLst>
                <a:ext uri="{FF2B5EF4-FFF2-40B4-BE49-F238E27FC236}">
                  <a16:creationId xmlns:a16="http://schemas.microsoft.com/office/drawing/2014/main" id="{F82C3CEC-6322-4672-AAC6-AF163B7F1866}"/>
                </a:ext>
              </a:extLst>
            </p:cNvPr>
            <p:cNvSpPr>
              <a:spLocks noChangeAspect="1"/>
            </p:cNvSpPr>
            <p:nvPr/>
          </p:nvSpPr>
          <p:spPr>
            <a:xfrm rot="15921753">
              <a:off x="2779030" y="4051060"/>
              <a:ext cx="559631" cy="3789383"/>
            </a:xfrm>
            <a:custGeom>
              <a:avLst/>
              <a:gdLst>
                <a:gd name="connsiteX0" fmla="*/ 0 w 914400"/>
                <a:gd name="connsiteY0" fmla="*/ 914400 h 914400"/>
                <a:gd name="connsiteX1" fmla="*/ 914400 w 914400"/>
                <a:gd name="connsiteY1" fmla="*/ 0 h 914400"/>
                <a:gd name="connsiteX0" fmla="*/ 0 w 898111"/>
                <a:gd name="connsiteY0" fmla="*/ 964405 h 964405"/>
                <a:gd name="connsiteX1" fmla="*/ 898111 w 898111"/>
                <a:gd name="connsiteY1" fmla="*/ 0 h 964405"/>
              </a:gdLst>
              <a:ahLst/>
              <a:cxnLst>
                <a:cxn ang="0">
                  <a:pos x="connsiteX0" y="connsiteY0"/>
                </a:cxn>
                <a:cxn ang="0">
                  <a:pos x="connsiteX1" y="connsiteY1"/>
                </a:cxn>
              </a:cxnLst>
              <a:rect l="l" t="t" r="r" b="b"/>
              <a:pathLst>
                <a:path w="898111" h="964405">
                  <a:moveTo>
                    <a:pt x="0" y="964405"/>
                  </a:moveTo>
                  <a:cubicBezTo>
                    <a:pt x="0" y="459396"/>
                    <a:pt x="393102" y="0"/>
                    <a:pt x="898111" y="0"/>
                  </a:cubicBez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2" name="TextBox 131">
              <a:extLst>
                <a:ext uri="{FF2B5EF4-FFF2-40B4-BE49-F238E27FC236}">
                  <a16:creationId xmlns:a16="http://schemas.microsoft.com/office/drawing/2014/main" id="{E0D90E6B-9EB9-4B80-905A-0304B0FD63AB}"/>
                </a:ext>
              </a:extLst>
            </p:cNvPr>
            <p:cNvSpPr txBox="1"/>
            <p:nvPr/>
          </p:nvSpPr>
          <p:spPr>
            <a:xfrm>
              <a:off x="1981200" y="6180422"/>
              <a:ext cx="1019085" cy="240066"/>
            </a:xfrm>
            <a:prstGeom prst="rect">
              <a:avLst/>
            </a:prstGeom>
            <a:solidFill>
              <a:schemeClr val="bg1"/>
            </a:solid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r>
                <a:rPr lang="en-GB" sz="1200"/>
                <a:t>Trade war</a:t>
              </a:r>
            </a:p>
          </p:txBody>
        </p:sp>
      </p:grpSp>
      <p:grpSp>
        <p:nvGrpSpPr>
          <p:cNvPr id="65" name="Group 64">
            <a:extLst>
              <a:ext uri="{FF2B5EF4-FFF2-40B4-BE49-F238E27FC236}">
                <a16:creationId xmlns:a16="http://schemas.microsoft.com/office/drawing/2014/main" id="{49C6E622-0DBF-328A-233D-E5BB2FC28E3D}"/>
              </a:ext>
            </a:extLst>
          </p:cNvPr>
          <p:cNvGrpSpPr/>
          <p:nvPr/>
        </p:nvGrpSpPr>
        <p:grpSpPr>
          <a:xfrm>
            <a:off x="8027727" y="2540419"/>
            <a:ext cx="1023371" cy="329900"/>
            <a:chOff x="8027727" y="2540419"/>
            <a:chExt cx="1023371" cy="329900"/>
          </a:xfrm>
        </p:grpSpPr>
        <p:sp>
          <p:nvSpPr>
            <p:cNvPr id="102" name="Freeform: Shape 101">
              <a:extLst>
                <a:ext uri="{FF2B5EF4-FFF2-40B4-BE49-F238E27FC236}">
                  <a16:creationId xmlns:a16="http://schemas.microsoft.com/office/drawing/2014/main" id="{AA5E23B2-6DC0-443E-82F9-C2BEB9B08DED}"/>
                </a:ext>
              </a:extLst>
            </p:cNvPr>
            <p:cNvSpPr>
              <a:spLocks noChangeAspect="1"/>
            </p:cNvSpPr>
            <p:nvPr/>
          </p:nvSpPr>
          <p:spPr>
            <a:xfrm rot="14719138" flipV="1">
              <a:off x="8779986" y="2599206"/>
              <a:ext cx="329900" cy="212325"/>
            </a:xfrm>
            <a:custGeom>
              <a:avLst/>
              <a:gdLst>
                <a:gd name="connsiteX0" fmla="*/ 0 w 914400"/>
                <a:gd name="connsiteY0" fmla="*/ 914400 h 914400"/>
                <a:gd name="connsiteX1" fmla="*/ 914400 w 914400"/>
                <a:gd name="connsiteY1" fmla="*/ 0 h 914400"/>
                <a:gd name="connsiteX0" fmla="*/ 0 w 1090730"/>
                <a:gd name="connsiteY0" fmla="*/ 1202862 h 1202862"/>
                <a:gd name="connsiteX1" fmla="*/ 1090730 w 1090730"/>
                <a:gd name="connsiteY1" fmla="*/ 0 h 1202862"/>
                <a:gd name="connsiteX0" fmla="*/ 0 w 1090730"/>
                <a:gd name="connsiteY0" fmla="*/ 1202862 h 1202862"/>
                <a:gd name="connsiteX1" fmla="*/ 1090730 w 1090730"/>
                <a:gd name="connsiteY1" fmla="*/ 0 h 1202862"/>
                <a:gd name="connsiteX0" fmla="*/ 0 w 1345043"/>
                <a:gd name="connsiteY0" fmla="*/ 1282934 h 1282934"/>
                <a:gd name="connsiteX1" fmla="*/ 1345043 w 1345043"/>
                <a:gd name="connsiteY1" fmla="*/ 0 h 1282934"/>
                <a:gd name="connsiteX0" fmla="*/ 0 w 1345043"/>
                <a:gd name="connsiteY0" fmla="*/ 1293717 h 1293717"/>
                <a:gd name="connsiteX1" fmla="*/ 1345043 w 1345043"/>
                <a:gd name="connsiteY1" fmla="*/ 10783 h 1293717"/>
                <a:gd name="connsiteX0" fmla="*/ 0 w 1345043"/>
                <a:gd name="connsiteY0" fmla="*/ 1331082 h 1331082"/>
                <a:gd name="connsiteX1" fmla="*/ 1345043 w 1345043"/>
                <a:gd name="connsiteY1" fmla="*/ 48148 h 1331082"/>
                <a:gd name="connsiteX0" fmla="*/ 0 w 1711572"/>
                <a:gd name="connsiteY0" fmla="*/ 1550015 h 1550015"/>
                <a:gd name="connsiteX1" fmla="*/ 1711572 w 1711572"/>
                <a:gd name="connsiteY1" fmla="*/ 41124 h 1550015"/>
                <a:gd name="connsiteX0" fmla="*/ 0 w 1711572"/>
                <a:gd name="connsiteY0" fmla="*/ 1508890 h 1508890"/>
                <a:gd name="connsiteX1" fmla="*/ 1711572 w 1711572"/>
                <a:gd name="connsiteY1" fmla="*/ -1 h 1508890"/>
                <a:gd name="connsiteX0" fmla="*/ 0 w 1711572"/>
                <a:gd name="connsiteY0" fmla="*/ 1508892 h 1508892"/>
                <a:gd name="connsiteX1" fmla="*/ 1341599 w 1711572"/>
                <a:gd name="connsiteY1" fmla="*/ 138615 h 1508892"/>
                <a:gd name="connsiteX2" fmla="*/ 1711572 w 1711572"/>
                <a:gd name="connsiteY2" fmla="*/ 1 h 1508892"/>
                <a:gd name="connsiteX0" fmla="*/ 0 w 1711572"/>
                <a:gd name="connsiteY0" fmla="*/ 1508890 h 1508890"/>
                <a:gd name="connsiteX1" fmla="*/ 1711572 w 1711572"/>
                <a:gd name="connsiteY1" fmla="*/ -1 h 1508890"/>
              </a:gdLst>
              <a:ahLst/>
              <a:cxnLst>
                <a:cxn ang="0">
                  <a:pos x="connsiteX0" y="connsiteY0"/>
                </a:cxn>
                <a:cxn ang="0">
                  <a:pos x="connsiteX1" y="connsiteY1"/>
                </a:cxn>
              </a:cxnLst>
              <a:rect l="l" t="t" r="r" b="b"/>
              <a:pathLst>
                <a:path w="1711572" h="1508890">
                  <a:moveTo>
                    <a:pt x="0" y="1508890"/>
                  </a:moveTo>
                  <a:lnTo>
                    <a:pt x="1711572" y="-1"/>
                  </a:ln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3" name="TextBox 132">
              <a:extLst>
                <a:ext uri="{FF2B5EF4-FFF2-40B4-BE49-F238E27FC236}">
                  <a16:creationId xmlns:a16="http://schemas.microsoft.com/office/drawing/2014/main" id="{4E6D1E4B-59EB-4940-A958-948BD6E66649}"/>
                </a:ext>
              </a:extLst>
            </p:cNvPr>
            <p:cNvSpPr txBox="1"/>
            <p:nvPr/>
          </p:nvSpPr>
          <p:spPr>
            <a:xfrm>
              <a:off x="8027727" y="2571164"/>
              <a:ext cx="843400" cy="240066"/>
            </a:xfrm>
            <a:prstGeom prst="rect">
              <a:avLst/>
            </a:prstGeom>
            <a:no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pPr algn="r"/>
              <a:r>
                <a:rPr lang="en-GB" sz="1200"/>
                <a:t>Interruptions</a:t>
              </a:r>
            </a:p>
          </p:txBody>
        </p:sp>
      </p:grpSp>
      <p:grpSp>
        <p:nvGrpSpPr>
          <p:cNvPr id="64" name="Group 63">
            <a:extLst>
              <a:ext uri="{FF2B5EF4-FFF2-40B4-BE49-F238E27FC236}">
                <a16:creationId xmlns:a16="http://schemas.microsoft.com/office/drawing/2014/main" id="{4D1CFC9F-71FF-C003-E82C-D7062556AD62}"/>
              </a:ext>
            </a:extLst>
          </p:cNvPr>
          <p:cNvGrpSpPr/>
          <p:nvPr/>
        </p:nvGrpSpPr>
        <p:grpSpPr>
          <a:xfrm>
            <a:off x="459595" y="2133482"/>
            <a:ext cx="2078160" cy="2153505"/>
            <a:chOff x="459595" y="2133482"/>
            <a:chExt cx="2078160" cy="2153505"/>
          </a:xfrm>
        </p:grpSpPr>
        <p:sp>
          <p:nvSpPr>
            <p:cNvPr id="86" name="Freeform: Shape 85">
              <a:extLst>
                <a:ext uri="{FF2B5EF4-FFF2-40B4-BE49-F238E27FC236}">
                  <a16:creationId xmlns:a16="http://schemas.microsoft.com/office/drawing/2014/main" id="{C954BDEB-C267-4132-BEDB-32A859DA8007}"/>
                </a:ext>
              </a:extLst>
            </p:cNvPr>
            <p:cNvSpPr>
              <a:spLocks noChangeAspect="1"/>
            </p:cNvSpPr>
            <p:nvPr/>
          </p:nvSpPr>
          <p:spPr>
            <a:xfrm rot="4500000" flipV="1">
              <a:off x="421922" y="2171155"/>
              <a:ext cx="2153505" cy="2078160"/>
            </a:xfrm>
            <a:custGeom>
              <a:avLst/>
              <a:gdLst>
                <a:gd name="connsiteX0" fmla="*/ 0 w 914400"/>
                <a:gd name="connsiteY0" fmla="*/ 914400 h 914400"/>
                <a:gd name="connsiteX1" fmla="*/ 914400 w 914400"/>
                <a:gd name="connsiteY1" fmla="*/ 0 h 914400"/>
              </a:gdLst>
              <a:ahLst/>
              <a:cxnLst>
                <a:cxn ang="0">
                  <a:pos x="connsiteX0" y="connsiteY0"/>
                </a:cxn>
                <a:cxn ang="0">
                  <a:pos x="connsiteX1" y="connsiteY1"/>
                </a:cxn>
              </a:cxnLst>
              <a:rect l="l" t="t" r="r" b="b"/>
              <a:pathLst>
                <a:path w="914400" h="914400">
                  <a:moveTo>
                    <a:pt x="0" y="914400"/>
                  </a:moveTo>
                  <a:cubicBezTo>
                    <a:pt x="0" y="409391"/>
                    <a:pt x="409391" y="0"/>
                    <a:pt x="914400" y="0"/>
                  </a:cubicBezTo>
                </a:path>
              </a:pathLst>
            </a:custGeom>
            <a:ln w="2857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4" name="TextBox 133">
              <a:extLst>
                <a:ext uri="{FF2B5EF4-FFF2-40B4-BE49-F238E27FC236}">
                  <a16:creationId xmlns:a16="http://schemas.microsoft.com/office/drawing/2014/main" id="{CB43352D-604B-48FC-8257-755D2D27E57A}"/>
                </a:ext>
              </a:extLst>
            </p:cNvPr>
            <p:cNvSpPr txBox="1"/>
            <p:nvPr/>
          </p:nvSpPr>
          <p:spPr>
            <a:xfrm>
              <a:off x="486120" y="3338388"/>
              <a:ext cx="982886" cy="240066"/>
            </a:xfrm>
            <a:prstGeom prst="rect">
              <a:avLst/>
            </a:prstGeom>
            <a:solidFill>
              <a:schemeClr val="bg1"/>
            </a:solid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pPr algn="l"/>
              <a:r>
                <a:rPr lang="en-GB" sz="1200"/>
                <a:t>Regulations</a:t>
              </a:r>
            </a:p>
          </p:txBody>
        </p:sp>
      </p:grpSp>
      <p:grpSp>
        <p:nvGrpSpPr>
          <p:cNvPr id="53" name="Group 52">
            <a:extLst>
              <a:ext uri="{FF2B5EF4-FFF2-40B4-BE49-F238E27FC236}">
                <a16:creationId xmlns:a16="http://schemas.microsoft.com/office/drawing/2014/main" id="{A6379B9A-349D-CA4F-43C5-C98B690CE87B}"/>
              </a:ext>
            </a:extLst>
          </p:cNvPr>
          <p:cNvGrpSpPr/>
          <p:nvPr/>
        </p:nvGrpSpPr>
        <p:grpSpPr>
          <a:xfrm>
            <a:off x="8262118" y="4545795"/>
            <a:ext cx="2043411" cy="674924"/>
            <a:chOff x="8262118" y="4545795"/>
            <a:chExt cx="2043411" cy="674924"/>
          </a:xfrm>
        </p:grpSpPr>
        <p:sp>
          <p:nvSpPr>
            <p:cNvPr id="201" name="Freeform: Shape 200">
              <a:extLst>
                <a:ext uri="{FF2B5EF4-FFF2-40B4-BE49-F238E27FC236}">
                  <a16:creationId xmlns:a16="http://schemas.microsoft.com/office/drawing/2014/main" id="{BFCC3D88-F6A5-4426-8D2D-91D8AF56A29A}"/>
                </a:ext>
              </a:extLst>
            </p:cNvPr>
            <p:cNvSpPr>
              <a:spLocks noChangeAspect="1"/>
            </p:cNvSpPr>
            <p:nvPr/>
          </p:nvSpPr>
          <p:spPr>
            <a:xfrm flipH="1" flipV="1">
              <a:off x="8262118" y="4545795"/>
              <a:ext cx="2043411" cy="455957"/>
            </a:xfrm>
            <a:custGeom>
              <a:avLst/>
              <a:gdLst>
                <a:gd name="connsiteX0" fmla="*/ 0 w 914400"/>
                <a:gd name="connsiteY0" fmla="*/ 914400 h 914400"/>
                <a:gd name="connsiteX1" fmla="*/ 914400 w 914400"/>
                <a:gd name="connsiteY1" fmla="*/ 0 h 914400"/>
                <a:gd name="connsiteX0" fmla="*/ 0 w 967406"/>
                <a:gd name="connsiteY0" fmla="*/ 890388 h 890388"/>
                <a:gd name="connsiteX1" fmla="*/ 967406 w 967406"/>
                <a:gd name="connsiteY1" fmla="*/ 0 h 890388"/>
                <a:gd name="connsiteX0" fmla="*/ 0 w 967406"/>
                <a:gd name="connsiteY0" fmla="*/ 945984 h 945984"/>
                <a:gd name="connsiteX1" fmla="*/ 967406 w 967406"/>
                <a:gd name="connsiteY1" fmla="*/ 55596 h 945984"/>
                <a:gd name="connsiteX0" fmla="*/ 0 w 961290"/>
                <a:gd name="connsiteY0" fmla="*/ 842114 h 842114"/>
                <a:gd name="connsiteX1" fmla="*/ 961290 w 961290"/>
                <a:gd name="connsiteY1" fmla="*/ 63782 h 842114"/>
              </a:gdLst>
              <a:ahLst/>
              <a:cxnLst>
                <a:cxn ang="0">
                  <a:pos x="connsiteX0" y="connsiteY0"/>
                </a:cxn>
                <a:cxn ang="0">
                  <a:pos x="connsiteX1" y="connsiteY1"/>
                </a:cxn>
              </a:cxnLst>
              <a:rect l="l" t="t" r="r" b="b"/>
              <a:pathLst>
                <a:path w="961290" h="842114">
                  <a:moveTo>
                    <a:pt x="0" y="842114"/>
                  </a:moveTo>
                  <a:cubicBezTo>
                    <a:pt x="0" y="337105"/>
                    <a:pt x="474629" y="-184338"/>
                    <a:pt x="961290" y="63782"/>
                  </a:cubicBezTo>
                </a:path>
              </a:pathLst>
            </a:custGeom>
            <a:ln w="9525">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6" name="TextBox 135">
              <a:extLst>
                <a:ext uri="{FF2B5EF4-FFF2-40B4-BE49-F238E27FC236}">
                  <a16:creationId xmlns:a16="http://schemas.microsoft.com/office/drawing/2014/main" id="{294D392C-B623-41ED-BDAF-5C708EF8C863}"/>
                </a:ext>
              </a:extLst>
            </p:cNvPr>
            <p:cNvSpPr txBox="1"/>
            <p:nvPr/>
          </p:nvSpPr>
          <p:spPr>
            <a:xfrm>
              <a:off x="8735691" y="4980653"/>
              <a:ext cx="1504322" cy="240066"/>
            </a:xfrm>
            <a:prstGeom prst="rect">
              <a:avLst/>
            </a:prstGeom>
            <a:no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r>
                <a:rPr lang="en-GB" sz="1200"/>
                <a:t>New preferences</a:t>
              </a:r>
            </a:p>
          </p:txBody>
        </p:sp>
      </p:grpSp>
      <p:grpSp>
        <p:nvGrpSpPr>
          <p:cNvPr id="59" name="Group 58">
            <a:extLst>
              <a:ext uri="{FF2B5EF4-FFF2-40B4-BE49-F238E27FC236}">
                <a16:creationId xmlns:a16="http://schemas.microsoft.com/office/drawing/2014/main" id="{8C58E646-1A02-FB66-115B-F6C386B13A66}"/>
              </a:ext>
            </a:extLst>
          </p:cNvPr>
          <p:cNvGrpSpPr/>
          <p:nvPr/>
        </p:nvGrpSpPr>
        <p:grpSpPr>
          <a:xfrm>
            <a:off x="2971204" y="4188027"/>
            <a:ext cx="1018577" cy="717721"/>
            <a:chOff x="2971204" y="4188027"/>
            <a:chExt cx="1018577" cy="717721"/>
          </a:xfrm>
        </p:grpSpPr>
        <p:sp>
          <p:nvSpPr>
            <p:cNvPr id="99" name="Freeform: Shape 98">
              <a:extLst>
                <a:ext uri="{FF2B5EF4-FFF2-40B4-BE49-F238E27FC236}">
                  <a16:creationId xmlns:a16="http://schemas.microsoft.com/office/drawing/2014/main" id="{805C8386-BC05-439F-A5A6-F4F0F3F45C6F}"/>
                </a:ext>
              </a:extLst>
            </p:cNvPr>
            <p:cNvSpPr>
              <a:spLocks noChangeAspect="1"/>
            </p:cNvSpPr>
            <p:nvPr/>
          </p:nvSpPr>
          <p:spPr>
            <a:xfrm rot="15199990" flipV="1">
              <a:off x="3004937" y="4154294"/>
              <a:ext cx="610603" cy="678069"/>
            </a:xfrm>
            <a:custGeom>
              <a:avLst/>
              <a:gdLst>
                <a:gd name="connsiteX0" fmla="*/ 0 w 914400"/>
                <a:gd name="connsiteY0" fmla="*/ 914400 h 914400"/>
                <a:gd name="connsiteX1" fmla="*/ 914400 w 914400"/>
                <a:gd name="connsiteY1" fmla="*/ 0 h 914400"/>
                <a:gd name="connsiteX0" fmla="*/ 0 w 820474"/>
                <a:gd name="connsiteY0" fmla="*/ 1078487 h 1078488"/>
                <a:gd name="connsiteX1" fmla="*/ 820474 w 820474"/>
                <a:gd name="connsiteY1" fmla="*/ 0 h 1078488"/>
                <a:gd name="connsiteX0" fmla="*/ 36762 w 857236"/>
                <a:gd name="connsiteY0" fmla="*/ 1078487 h 1078487"/>
                <a:gd name="connsiteX1" fmla="*/ 857236 w 857236"/>
                <a:gd name="connsiteY1" fmla="*/ 0 h 1078487"/>
                <a:gd name="connsiteX0" fmla="*/ 42537 w 771201"/>
                <a:gd name="connsiteY0" fmla="*/ 1061902 h 1061903"/>
                <a:gd name="connsiteX1" fmla="*/ 771201 w 771201"/>
                <a:gd name="connsiteY1" fmla="*/ 0 h 1061903"/>
                <a:gd name="connsiteX0" fmla="*/ 39526 w 812933"/>
                <a:gd name="connsiteY0" fmla="*/ 966190 h 966190"/>
                <a:gd name="connsiteX1" fmla="*/ 812933 w 812933"/>
                <a:gd name="connsiteY1" fmla="*/ -1 h 966190"/>
                <a:gd name="connsiteX0" fmla="*/ 40088 w 813495"/>
                <a:gd name="connsiteY0" fmla="*/ 970846 h 970846"/>
                <a:gd name="connsiteX1" fmla="*/ 813495 w 813495"/>
                <a:gd name="connsiteY1" fmla="*/ 4655 h 970846"/>
              </a:gdLst>
              <a:ahLst/>
              <a:cxnLst>
                <a:cxn ang="0">
                  <a:pos x="connsiteX0" y="connsiteY0"/>
                </a:cxn>
                <a:cxn ang="0">
                  <a:pos x="connsiteX1" y="connsiteY1"/>
                </a:cxn>
              </a:cxnLst>
              <a:rect l="l" t="t" r="r" b="b"/>
              <a:pathLst>
                <a:path w="813495" h="970846">
                  <a:moveTo>
                    <a:pt x="40088" y="970846"/>
                  </a:moveTo>
                  <a:cubicBezTo>
                    <a:pt x="-136839" y="393222"/>
                    <a:pt x="299114" y="-50623"/>
                    <a:pt x="813495" y="4655"/>
                  </a:cubicBezTo>
                </a:path>
              </a:pathLst>
            </a:custGeom>
            <a:ln w="57150">
              <a:solidFill>
                <a:schemeClr val="tx1">
                  <a:alpha val="2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0" name="TextBox 139">
              <a:extLst>
                <a:ext uri="{FF2B5EF4-FFF2-40B4-BE49-F238E27FC236}">
                  <a16:creationId xmlns:a16="http://schemas.microsoft.com/office/drawing/2014/main" id="{1116A791-EC6A-4760-97CC-62C0A045BE71}"/>
                </a:ext>
              </a:extLst>
            </p:cNvPr>
            <p:cNvSpPr txBox="1"/>
            <p:nvPr/>
          </p:nvSpPr>
          <p:spPr>
            <a:xfrm>
              <a:off x="3254007" y="4481016"/>
              <a:ext cx="735774" cy="424732"/>
            </a:xfrm>
            <a:prstGeom prst="rect">
              <a:avLst/>
            </a:prstGeom>
            <a:solidFill>
              <a:schemeClr val="bg1"/>
            </a:solidFill>
          </p:spPr>
          <p:txBody>
            <a:bodyPr wrap="square" lIns="0" tIns="27432" rIns="0" bIns="27432" rtlCol="0">
              <a:spAutoFit/>
            </a:bodyPr>
            <a:lstStyle>
              <a:defPPr>
                <a:defRPr lang="en-US"/>
              </a:defPPr>
              <a:lvl1pPr algn="ctr">
                <a:defRPr sz="800" b="1" kern="0">
                  <a:solidFill>
                    <a:schemeClr val="tx2">
                      <a:lumMod val="65000"/>
                      <a:lumOff val="35000"/>
                    </a:schemeClr>
                  </a:solidFill>
                </a:defRPr>
              </a:lvl1pPr>
            </a:lstStyle>
            <a:p>
              <a:r>
                <a:rPr lang="en-GB" sz="1200"/>
                <a:t>Energy inflation</a:t>
              </a:r>
            </a:p>
          </p:txBody>
        </p:sp>
      </p:grpSp>
      <p:grpSp>
        <p:nvGrpSpPr>
          <p:cNvPr id="30" name="Group 29">
            <a:extLst>
              <a:ext uri="{FF2B5EF4-FFF2-40B4-BE49-F238E27FC236}">
                <a16:creationId xmlns:a16="http://schemas.microsoft.com/office/drawing/2014/main" id="{5192176D-4A3D-75B0-1165-803720A31DBC}"/>
              </a:ext>
            </a:extLst>
          </p:cNvPr>
          <p:cNvGrpSpPr/>
          <p:nvPr/>
        </p:nvGrpSpPr>
        <p:grpSpPr>
          <a:xfrm>
            <a:off x="8225502" y="1114980"/>
            <a:ext cx="1565993" cy="1342955"/>
            <a:chOff x="8225502" y="1114980"/>
            <a:chExt cx="1565993" cy="1342955"/>
          </a:xfrm>
        </p:grpSpPr>
        <p:sp>
          <p:nvSpPr>
            <p:cNvPr id="97" name="Oval 96">
              <a:extLst>
                <a:ext uri="{FF2B5EF4-FFF2-40B4-BE49-F238E27FC236}">
                  <a16:creationId xmlns:a16="http://schemas.microsoft.com/office/drawing/2014/main" id="{BE60B3BE-C855-4ECE-AE04-70A88DDF91BE}"/>
                </a:ext>
              </a:extLst>
            </p:cNvPr>
            <p:cNvSpPr/>
            <p:nvPr/>
          </p:nvSpPr>
          <p:spPr>
            <a:xfrm>
              <a:off x="8342319" y="1114980"/>
              <a:ext cx="1332360" cy="1342955"/>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22" name="TextBox 21">
              <a:extLst>
                <a:ext uri="{FF2B5EF4-FFF2-40B4-BE49-F238E27FC236}">
                  <a16:creationId xmlns:a16="http://schemas.microsoft.com/office/drawing/2014/main" id="{5ADBC402-F79B-41B1-B47F-2F3CF96D5A02}"/>
                </a:ext>
              </a:extLst>
            </p:cNvPr>
            <p:cNvSpPr txBox="1"/>
            <p:nvPr/>
          </p:nvSpPr>
          <p:spPr>
            <a:xfrm>
              <a:off x="8225502" y="1176794"/>
              <a:ext cx="1565993" cy="815608"/>
            </a:xfrm>
            <a:prstGeom prst="rect">
              <a:avLst/>
            </a:prstGeom>
            <a:noFill/>
          </p:spPr>
          <p:txBody>
            <a:bodyPr wrap="square" lIns="0" tIns="0" rIns="0" bIns="0" rtlCol="0">
              <a:spAutoFit/>
            </a:bodyPr>
            <a:lstStyle/>
            <a:p>
              <a:pPr algn="ctr"/>
              <a:r>
                <a:rPr lang="en-GB" sz="1400" b="1" kern="0"/>
                <a:t>Supply</a:t>
              </a:r>
            </a:p>
            <a:p>
              <a:pPr algn="ctr"/>
              <a:r>
                <a:rPr lang="en-GB" sz="1400" b="1" kern="0"/>
                <a:t> disruption</a:t>
              </a:r>
            </a:p>
            <a:p>
              <a:pPr algn="ctr"/>
              <a:r>
                <a:rPr lang="en-GB" sz="1400" b="1" kern="0"/>
                <a:t> </a:t>
              </a:r>
              <a:r>
                <a:rPr lang="en-GB" sz="1100" b="1" kern="0"/>
                <a:t>(e.g., food, </a:t>
              </a:r>
            </a:p>
            <a:p>
              <a:pPr algn="ctr"/>
              <a:r>
                <a:rPr lang="en-GB" sz="1100" b="1" kern="0"/>
                <a:t>conductors)</a:t>
              </a:r>
              <a:endParaRPr lang="en-GB" sz="1400" b="1" kern="0"/>
            </a:p>
          </p:txBody>
        </p:sp>
        <p:pic>
          <p:nvPicPr>
            <p:cNvPr id="46" name="ico-link-broken">
              <a:extLst>
                <a:ext uri="{FF2B5EF4-FFF2-40B4-BE49-F238E27FC236}">
                  <a16:creationId xmlns:a16="http://schemas.microsoft.com/office/drawing/2014/main" id="{202DDF50-E6F4-4A5C-A51B-C9522D7FCF8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782154" y="1942733"/>
              <a:ext cx="452688" cy="452688"/>
            </a:xfrm>
            <a:prstGeom prst="rect">
              <a:avLst/>
            </a:prstGeom>
          </p:spPr>
        </p:pic>
      </p:grpSp>
      <p:grpSp>
        <p:nvGrpSpPr>
          <p:cNvPr id="31" name="Group 30">
            <a:extLst>
              <a:ext uri="{FF2B5EF4-FFF2-40B4-BE49-F238E27FC236}">
                <a16:creationId xmlns:a16="http://schemas.microsoft.com/office/drawing/2014/main" id="{A85EF2C8-C369-0C33-3E0D-9EC298F86B77}"/>
              </a:ext>
            </a:extLst>
          </p:cNvPr>
          <p:cNvGrpSpPr/>
          <p:nvPr/>
        </p:nvGrpSpPr>
        <p:grpSpPr>
          <a:xfrm>
            <a:off x="9647647" y="3369303"/>
            <a:ext cx="1282301" cy="1264266"/>
            <a:chOff x="9647647" y="3369303"/>
            <a:chExt cx="1282301" cy="1264266"/>
          </a:xfrm>
        </p:grpSpPr>
        <p:sp>
          <p:nvSpPr>
            <p:cNvPr id="113" name="Oval 112">
              <a:extLst>
                <a:ext uri="{FF2B5EF4-FFF2-40B4-BE49-F238E27FC236}">
                  <a16:creationId xmlns:a16="http://schemas.microsoft.com/office/drawing/2014/main" id="{6985C84E-460B-4672-91DB-F44607976090}"/>
                </a:ext>
              </a:extLst>
            </p:cNvPr>
            <p:cNvSpPr/>
            <p:nvPr/>
          </p:nvSpPr>
          <p:spPr>
            <a:xfrm>
              <a:off x="9647647" y="3369303"/>
              <a:ext cx="1282301" cy="1264266"/>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80" name="TextBox 79">
              <a:extLst>
                <a:ext uri="{FF2B5EF4-FFF2-40B4-BE49-F238E27FC236}">
                  <a16:creationId xmlns:a16="http://schemas.microsoft.com/office/drawing/2014/main" id="{A0501E57-02D1-4642-B4B4-8296B6ABAC39}"/>
                </a:ext>
              </a:extLst>
            </p:cNvPr>
            <p:cNvSpPr txBox="1"/>
            <p:nvPr/>
          </p:nvSpPr>
          <p:spPr>
            <a:xfrm>
              <a:off x="9697183" y="3570549"/>
              <a:ext cx="1183228" cy="430887"/>
            </a:xfrm>
            <a:prstGeom prst="rect">
              <a:avLst/>
            </a:prstGeom>
            <a:noFill/>
          </p:spPr>
          <p:txBody>
            <a:bodyPr wrap="square" lIns="0" tIns="0" rIns="0" bIns="0" rtlCol="0">
              <a:spAutoFit/>
            </a:bodyPr>
            <a:lstStyle/>
            <a:p>
              <a:pPr algn="ctr"/>
              <a:r>
                <a:rPr lang="en-GB" sz="1400" b="1" kern="0"/>
                <a:t>Accelerated digitalization</a:t>
              </a:r>
            </a:p>
          </p:txBody>
        </p:sp>
        <p:pic>
          <p:nvPicPr>
            <p:cNvPr id="239" name="ico-laptop-1">
              <a:extLst>
                <a:ext uri="{FF2B5EF4-FFF2-40B4-BE49-F238E27FC236}">
                  <a16:creationId xmlns:a16="http://schemas.microsoft.com/office/drawing/2014/main" id="{A3D95424-0BD3-4E39-B640-5129CBC92E74}"/>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072519" y="4039664"/>
              <a:ext cx="432557" cy="432557"/>
            </a:xfrm>
            <a:prstGeom prst="rect">
              <a:avLst/>
            </a:prstGeom>
          </p:spPr>
        </p:pic>
      </p:grpSp>
      <p:sp>
        <p:nvSpPr>
          <p:cNvPr id="89" name="Ghost">
            <a:extLst>
              <a:ext uri="{FF2B5EF4-FFF2-40B4-BE49-F238E27FC236}">
                <a16:creationId xmlns:a16="http://schemas.microsoft.com/office/drawing/2014/main" id="{90B8D575-8F8B-47CB-882D-AA88A6510C9B}"/>
              </a:ext>
            </a:extLst>
          </p:cNvPr>
          <p:cNvSpPr/>
          <p:nvPr/>
        </p:nvSpPr>
        <p:spPr>
          <a:xfrm>
            <a:off x="457200" y="107385"/>
            <a:ext cx="2571217"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a:solidFill>
                  <a:schemeClr val="accent3"/>
                </a:solidFill>
              </a:rPr>
              <a:t>Understanding the perma-crisis environment</a:t>
            </a:r>
          </a:p>
        </p:txBody>
      </p:sp>
      <p:grpSp>
        <p:nvGrpSpPr>
          <p:cNvPr id="3" name="Group 2">
            <a:extLst>
              <a:ext uri="{FF2B5EF4-FFF2-40B4-BE49-F238E27FC236}">
                <a16:creationId xmlns:a16="http://schemas.microsoft.com/office/drawing/2014/main" id="{1A790AEB-81E4-B7D9-2973-57B72286A2CA}"/>
              </a:ext>
            </a:extLst>
          </p:cNvPr>
          <p:cNvGrpSpPr/>
          <p:nvPr/>
        </p:nvGrpSpPr>
        <p:grpSpPr>
          <a:xfrm>
            <a:off x="1881729" y="1250280"/>
            <a:ext cx="1332360" cy="1342955"/>
            <a:chOff x="1881729" y="1250280"/>
            <a:chExt cx="1332360" cy="1342955"/>
          </a:xfrm>
        </p:grpSpPr>
        <p:sp>
          <p:nvSpPr>
            <p:cNvPr id="6" name="Oval 5">
              <a:extLst>
                <a:ext uri="{FF2B5EF4-FFF2-40B4-BE49-F238E27FC236}">
                  <a16:creationId xmlns:a16="http://schemas.microsoft.com/office/drawing/2014/main" id="{1D9BD561-C5D0-4DA0-8950-862A710E8ADF}"/>
                </a:ext>
              </a:extLst>
            </p:cNvPr>
            <p:cNvSpPr/>
            <p:nvPr/>
          </p:nvSpPr>
          <p:spPr>
            <a:xfrm>
              <a:off x="1881729" y="1250280"/>
              <a:ext cx="1332360" cy="1342955"/>
            </a:xfrm>
            <a:prstGeom prst="ellipse">
              <a:avLst/>
            </a:prstGeom>
            <a:solidFill>
              <a:srgbClr val="4E6287"/>
            </a:solidFill>
            <a:ln w="12700">
              <a:solidFill>
                <a:srgbClr val="4E62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sp>
          <p:nvSpPr>
            <p:cNvPr id="8" name="TextBox 7">
              <a:extLst>
                <a:ext uri="{FF2B5EF4-FFF2-40B4-BE49-F238E27FC236}">
                  <a16:creationId xmlns:a16="http://schemas.microsoft.com/office/drawing/2014/main" id="{EA2E94F6-A150-940A-D5A3-7AAFCBF29DCF}"/>
                </a:ext>
              </a:extLst>
            </p:cNvPr>
            <p:cNvSpPr txBox="1"/>
            <p:nvPr/>
          </p:nvSpPr>
          <p:spPr>
            <a:xfrm>
              <a:off x="2079278" y="1642500"/>
              <a:ext cx="937261" cy="307777"/>
            </a:xfrm>
            <a:prstGeom prst="rect">
              <a:avLst/>
            </a:prstGeom>
            <a:noFill/>
          </p:spPr>
          <p:txBody>
            <a:bodyPr wrap="square" lIns="0" tIns="0" rIns="0" bIns="0">
              <a:spAutoFit/>
            </a:bodyPr>
            <a:lstStyle/>
            <a:p>
              <a:r>
                <a:rPr lang="en-GB" sz="2000" b="1" kern="0">
                  <a:solidFill>
                    <a:schemeClr val="bg1"/>
                  </a:solidFill>
                  <a:latin typeface="+mj-lt"/>
                </a:rPr>
                <a:t>Climate</a:t>
              </a:r>
            </a:p>
          </p:txBody>
        </p:sp>
        <p:sp>
          <p:nvSpPr>
            <p:cNvPr id="10" name="Oval 9">
              <a:extLst>
                <a:ext uri="{FF2B5EF4-FFF2-40B4-BE49-F238E27FC236}">
                  <a16:creationId xmlns:a16="http://schemas.microsoft.com/office/drawing/2014/main" id="{A89C2417-A8C9-96F2-AB44-A29548C94962}"/>
                </a:ext>
              </a:extLst>
            </p:cNvPr>
            <p:cNvSpPr/>
            <p:nvPr/>
          </p:nvSpPr>
          <p:spPr>
            <a:xfrm>
              <a:off x="2442158" y="1370293"/>
              <a:ext cx="211501" cy="220050"/>
            </a:xfrm>
            <a:prstGeom prst="ellipse">
              <a:avLst/>
            </a:prstGeom>
            <a:solidFill>
              <a:schemeClr val="bg1"/>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b="1" kern="0">
                  <a:solidFill>
                    <a:schemeClr val="tx1"/>
                  </a:solidFill>
                </a:rPr>
                <a:t>1</a:t>
              </a:r>
            </a:p>
          </p:txBody>
        </p:sp>
        <p:pic>
          <p:nvPicPr>
            <p:cNvPr id="45" name="ico-global-warming">
              <a:extLst>
                <a:ext uri="{FF2B5EF4-FFF2-40B4-BE49-F238E27FC236}">
                  <a16:creationId xmlns:a16="http://schemas.microsoft.com/office/drawing/2014/main" id="{66924E88-F20B-4469-BDCB-E98F745225CD}"/>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258008" y="1941286"/>
              <a:ext cx="579802" cy="579802"/>
            </a:xfrm>
            <a:prstGeom prst="rect">
              <a:avLst/>
            </a:prstGeom>
          </p:spPr>
        </p:pic>
      </p:grpSp>
      <p:grpSp>
        <p:nvGrpSpPr>
          <p:cNvPr id="7" name="Group 6">
            <a:extLst>
              <a:ext uri="{FF2B5EF4-FFF2-40B4-BE49-F238E27FC236}">
                <a16:creationId xmlns:a16="http://schemas.microsoft.com/office/drawing/2014/main" id="{FE879AEB-3C2B-D83A-BF19-41E8C3CBE2C8}"/>
              </a:ext>
            </a:extLst>
          </p:cNvPr>
          <p:cNvGrpSpPr/>
          <p:nvPr/>
        </p:nvGrpSpPr>
        <p:grpSpPr>
          <a:xfrm>
            <a:off x="4815704" y="5100504"/>
            <a:ext cx="1332360" cy="1342955"/>
            <a:chOff x="4815704" y="5100504"/>
            <a:chExt cx="1332360" cy="1342955"/>
          </a:xfrm>
        </p:grpSpPr>
        <p:sp>
          <p:nvSpPr>
            <p:cNvPr id="91" name="Oval 90">
              <a:extLst>
                <a:ext uri="{FF2B5EF4-FFF2-40B4-BE49-F238E27FC236}">
                  <a16:creationId xmlns:a16="http://schemas.microsoft.com/office/drawing/2014/main" id="{E4BA1DEC-9A71-43ED-84CE-A6344BDD0B46}"/>
                </a:ext>
              </a:extLst>
            </p:cNvPr>
            <p:cNvSpPr/>
            <p:nvPr/>
          </p:nvSpPr>
          <p:spPr>
            <a:xfrm>
              <a:off x="4815704" y="5100504"/>
              <a:ext cx="1332360" cy="1342955"/>
            </a:xfrm>
            <a:prstGeom prst="ellipse">
              <a:avLst/>
            </a:prstGeom>
            <a:solidFill>
              <a:srgbClr val="4E6287"/>
            </a:solidFill>
            <a:ln w="12700">
              <a:solidFill>
                <a:srgbClr val="4E62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sp>
          <p:nvSpPr>
            <p:cNvPr id="25" name="TextBox 24">
              <a:extLst>
                <a:ext uri="{FF2B5EF4-FFF2-40B4-BE49-F238E27FC236}">
                  <a16:creationId xmlns:a16="http://schemas.microsoft.com/office/drawing/2014/main" id="{3BE3C5FE-E906-43FF-972B-F90E5BB9EE5F}"/>
                </a:ext>
              </a:extLst>
            </p:cNvPr>
            <p:cNvSpPr txBox="1"/>
            <p:nvPr/>
          </p:nvSpPr>
          <p:spPr>
            <a:xfrm>
              <a:off x="5013254" y="5538726"/>
              <a:ext cx="937261" cy="307777"/>
            </a:xfrm>
            <a:prstGeom prst="rect">
              <a:avLst/>
            </a:prstGeom>
            <a:noFill/>
          </p:spPr>
          <p:txBody>
            <a:bodyPr wrap="square" lIns="0" tIns="0" rIns="0" bIns="0">
              <a:spAutoFit/>
            </a:bodyPr>
            <a:lstStyle/>
            <a:p>
              <a:r>
                <a:rPr lang="en-GB" sz="2000" b="1" kern="0">
                  <a:solidFill>
                    <a:schemeClr val="bg1"/>
                  </a:solidFill>
                  <a:latin typeface="+mj-lt"/>
                </a:rPr>
                <a:t>UKRAINE</a:t>
              </a:r>
            </a:p>
          </p:txBody>
        </p:sp>
        <p:pic>
          <p:nvPicPr>
            <p:cNvPr id="44" name="ico-military-tank">
              <a:extLst>
                <a:ext uri="{FF2B5EF4-FFF2-40B4-BE49-F238E27FC236}">
                  <a16:creationId xmlns:a16="http://schemas.microsoft.com/office/drawing/2014/main" id="{019D16B0-8297-45DD-AC7C-37A8724766C7}"/>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191983" y="5790709"/>
              <a:ext cx="579802" cy="579802"/>
            </a:xfrm>
            <a:prstGeom prst="rect">
              <a:avLst/>
            </a:prstGeom>
          </p:spPr>
        </p:pic>
        <p:sp>
          <p:nvSpPr>
            <p:cNvPr id="195" name="Oval 194">
              <a:extLst>
                <a:ext uri="{FF2B5EF4-FFF2-40B4-BE49-F238E27FC236}">
                  <a16:creationId xmlns:a16="http://schemas.microsoft.com/office/drawing/2014/main" id="{50232C3D-39A1-4936-B0B7-E115FA434805}"/>
                </a:ext>
              </a:extLst>
            </p:cNvPr>
            <p:cNvSpPr/>
            <p:nvPr/>
          </p:nvSpPr>
          <p:spPr>
            <a:xfrm>
              <a:off x="5376133" y="5245634"/>
              <a:ext cx="211501" cy="220050"/>
            </a:xfrm>
            <a:prstGeom prst="ellipse">
              <a:avLst/>
            </a:prstGeom>
            <a:solidFill>
              <a:schemeClr val="bg1"/>
            </a:solidFill>
            <a:ln w="9525">
              <a:solidFill>
                <a:srgbClr val="4E62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b="1" kern="0">
                  <a:solidFill>
                    <a:schemeClr val="tx1"/>
                  </a:solidFill>
                </a:rPr>
                <a:t>2</a:t>
              </a:r>
            </a:p>
          </p:txBody>
        </p:sp>
      </p:grpSp>
      <p:grpSp>
        <p:nvGrpSpPr>
          <p:cNvPr id="4" name="Group 3">
            <a:extLst>
              <a:ext uri="{FF2B5EF4-FFF2-40B4-BE49-F238E27FC236}">
                <a16:creationId xmlns:a16="http://schemas.microsoft.com/office/drawing/2014/main" id="{8D308360-340D-5CD1-CE39-FB5016C990F3}"/>
              </a:ext>
            </a:extLst>
          </p:cNvPr>
          <p:cNvGrpSpPr/>
          <p:nvPr/>
        </p:nvGrpSpPr>
        <p:grpSpPr>
          <a:xfrm>
            <a:off x="8188398" y="2850182"/>
            <a:ext cx="1332360" cy="1342955"/>
            <a:chOff x="8188398" y="2850182"/>
            <a:chExt cx="1332360" cy="1342955"/>
          </a:xfrm>
        </p:grpSpPr>
        <p:sp>
          <p:nvSpPr>
            <p:cNvPr id="93" name="Oval 92">
              <a:extLst>
                <a:ext uri="{FF2B5EF4-FFF2-40B4-BE49-F238E27FC236}">
                  <a16:creationId xmlns:a16="http://schemas.microsoft.com/office/drawing/2014/main" id="{7D2BEEB8-D6B7-4B70-86BC-27624B7CA1C2}"/>
                </a:ext>
              </a:extLst>
            </p:cNvPr>
            <p:cNvSpPr/>
            <p:nvPr/>
          </p:nvSpPr>
          <p:spPr>
            <a:xfrm>
              <a:off x="8188398" y="2850182"/>
              <a:ext cx="1332360" cy="1342955"/>
            </a:xfrm>
            <a:prstGeom prst="ellipse">
              <a:avLst/>
            </a:prstGeom>
            <a:solidFill>
              <a:srgbClr val="4E6287"/>
            </a:solidFill>
            <a:ln w="12700">
              <a:solidFill>
                <a:srgbClr val="4E62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a:solidFill>
                  <a:schemeClr val="tx1"/>
                </a:solidFill>
              </a:endParaRPr>
            </a:p>
          </p:txBody>
        </p:sp>
        <p:pic>
          <p:nvPicPr>
            <p:cNvPr id="35" name="ico-virus">
              <a:extLst>
                <a:ext uri="{FF2B5EF4-FFF2-40B4-BE49-F238E27FC236}">
                  <a16:creationId xmlns:a16="http://schemas.microsoft.com/office/drawing/2014/main" id="{B8F00FB1-EE66-4E2D-8046-346218283F6C}"/>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564676" y="3500254"/>
              <a:ext cx="579802" cy="579802"/>
            </a:xfrm>
            <a:prstGeom prst="rect">
              <a:avLst/>
            </a:prstGeom>
          </p:spPr>
        </p:pic>
        <p:sp>
          <p:nvSpPr>
            <p:cNvPr id="12" name="TextBox 11">
              <a:extLst>
                <a:ext uri="{FF2B5EF4-FFF2-40B4-BE49-F238E27FC236}">
                  <a16:creationId xmlns:a16="http://schemas.microsoft.com/office/drawing/2014/main" id="{6DEACFA2-FF6D-980D-1618-18D97CF3E92E}"/>
                </a:ext>
              </a:extLst>
            </p:cNvPr>
            <p:cNvSpPr txBox="1"/>
            <p:nvPr/>
          </p:nvSpPr>
          <p:spPr>
            <a:xfrm>
              <a:off x="8536232" y="3213882"/>
              <a:ext cx="636691" cy="307777"/>
            </a:xfrm>
            <a:prstGeom prst="rect">
              <a:avLst/>
            </a:prstGeom>
            <a:noFill/>
          </p:spPr>
          <p:txBody>
            <a:bodyPr wrap="square" lIns="0" tIns="0" rIns="0" bIns="0">
              <a:spAutoFit/>
            </a:bodyPr>
            <a:lstStyle/>
            <a:p>
              <a:r>
                <a:rPr lang="en-GB" sz="2000" b="1" kern="0">
                  <a:solidFill>
                    <a:schemeClr val="bg1"/>
                  </a:solidFill>
                  <a:latin typeface="+mj-lt"/>
                </a:rPr>
                <a:t>COVID</a:t>
              </a:r>
            </a:p>
          </p:txBody>
        </p:sp>
        <p:sp>
          <p:nvSpPr>
            <p:cNvPr id="14" name="Oval 13">
              <a:extLst>
                <a:ext uri="{FF2B5EF4-FFF2-40B4-BE49-F238E27FC236}">
                  <a16:creationId xmlns:a16="http://schemas.microsoft.com/office/drawing/2014/main" id="{53EEF595-0DE5-D4E7-C91B-A191C586E30C}"/>
                </a:ext>
              </a:extLst>
            </p:cNvPr>
            <p:cNvSpPr/>
            <p:nvPr/>
          </p:nvSpPr>
          <p:spPr>
            <a:xfrm>
              <a:off x="8748827" y="2938859"/>
              <a:ext cx="211501" cy="220050"/>
            </a:xfrm>
            <a:prstGeom prst="ellipse">
              <a:avLst/>
            </a:prstGeom>
            <a:solidFill>
              <a:schemeClr val="bg1"/>
            </a:solidFill>
            <a:ln w="9525">
              <a:solidFill>
                <a:srgbClr val="4E628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b="1" kern="0">
                  <a:solidFill>
                    <a:schemeClr val="tx1"/>
                  </a:solidFill>
                </a:rPr>
                <a:t>3</a:t>
              </a:r>
            </a:p>
          </p:txBody>
        </p:sp>
      </p:grpSp>
      <p:grpSp>
        <p:nvGrpSpPr>
          <p:cNvPr id="41" name="Group 40">
            <a:extLst>
              <a:ext uri="{FF2B5EF4-FFF2-40B4-BE49-F238E27FC236}">
                <a16:creationId xmlns:a16="http://schemas.microsoft.com/office/drawing/2014/main" id="{07F14325-571F-73FA-BA62-26B7A83899C7}"/>
              </a:ext>
            </a:extLst>
          </p:cNvPr>
          <p:cNvGrpSpPr/>
          <p:nvPr/>
        </p:nvGrpSpPr>
        <p:grpSpPr>
          <a:xfrm>
            <a:off x="2732172" y="3183725"/>
            <a:ext cx="951061" cy="937684"/>
            <a:chOff x="2732172" y="3183725"/>
            <a:chExt cx="951061" cy="937684"/>
          </a:xfrm>
        </p:grpSpPr>
        <p:sp>
          <p:nvSpPr>
            <p:cNvPr id="128" name="Oval 127">
              <a:extLst>
                <a:ext uri="{FF2B5EF4-FFF2-40B4-BE49-F238E27FC236}">
                  <a16:creationId xmlns:a16="http://schemas.microsoft.com/office/drawing/2014/main" id="{FAC04D0B-76F3-4EC2-B5FA-A38B345B5FFC}"/>
                </a:ext>
              </a:extLst>
            </p:cNvPr>
            <p:cNvSpPr/>
            <p:nvPr/>
          </p:nvSpPr>
          <p:spPr>
            <a:xfrm>
              <a:off x="2732172" y="3183725"/>
              <a:ext cx="951061" cy="937684"/>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23" name="TextBox 22">
              <a:extLst>
                <a:ext uri="{FF2B5EF4-FFF2-40B4-BE49-F238E27FC236}">
                  <a16:creationId xmlns:a16="http://schemas.microsoft.com/office/drawing/2014/main" id="{174082BE-5554-4F4F-AC4C-BE10A3B423A4}"/>
                </a:ext>
              </a:extLst>
            </p:cNvPr>
            <p:cNvSpPr txBox="1"/>
            <p:nvPr/>
          </p:nvSpPr>
          <p:spPr>
            <a:xfrm>
              <a:off x="2891109" y="3321879"/>
              <a:ext cx="633187" cy="215444"/>
            </a:xfrm>
            <a:prstGeom prst="rect">
              <a:avLst/>
            </a:prstGeom>
            <a:noFill/>
          </p:spPr>
          <p:txBody>
            <a:bodyPr wrap="none" lIns="0" tIns="0" rIns="0" bIns="0" rtlCol="0">
              <a:spAutoFit/>
            </a:bodyPr>
            <a:lstStyle/>
            <a:p>
              <a:pPr algn="l"/>
              <a:r>
                <a:rPr lang="en-GB" sz="1400" b="1" kern="0"/>
                <a:t>Inflation</a:t>
              </a:r>
            </a:p>
          </p:txBody>
        </p:sp>
        <p:pic>
          <p:nvPicPr>
            <p:cNvPr id="36" name="ico-line-chart">
              <a:extLst>
                <a:ext uri="{FF2B5EF4-FFF2-40B4-BE49-F238E27FC236}">
                  <a16:creationId xmlns:a16="http://schemas.microsoft.com/office/drawing/2014/main" id="{1AA2E21D-9EB6-4AB7-AD00-550DF2FE1030}"/>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952797" y="3525993"/>
              <a:ext cx="509811" cy="509811"/>
            </a:xfrm>
            <a:prstGeom prst="rect">
              <a:avLst/>
            </a:prstGeom>
          </p:spPr>
        </p:pic>
      </p:grpSp>
      <p:grpSp>
        <p:nvGrpSpPr>
          <p:cNvPr id="40" name="Group 39">
            <a:extLst>
              <a:ext uri="{FF2B5EF4-FFF2-40B4-BE49-F238E27FC236}">
                <a16:creationId xmlns:a16="http://schemas.microsoft.com/office/drawing/2014/main" id="{7E1992B5-F07D-6542-AF3A-35CB355F6933}"/>
              </a:ext>
            </a:extLst>
          </p:cNvPr>
          <p:cNvGrpSpPr/>
          <p:nvPr/>
        </p:nvGrpSpPr>
        <p:grpSpPr>
          <a:xfrm>
            <a:off x="4614091" y="3353750"/>
            <a:ext cx="995794" cy="981788"/>
            <a:chOff x="4614091" y="3353750"/>
            <a:chExt cx="995794" cy="981788"/>
          </a:xfrm>
        </p:grpSpPr>
        <p:sp>
          <p:nvSpPr>
            <p:cNvPr id="129" name="Oval 128">
              <a:extLst>
                <a:ext uri="{FF2B5EF4-FFF2-40B4-BE49-F238E27FC236}">
                  <a16:creationId xmlns:a16="http://schemas.microsoft.com/office/drawing/2014/main" id="{963EAF76-838B-409D-94F2-6519AAAF6432}"/>
                </a:ext>
              </a:extLst>
            </p:cNvPr>
            <p:cNvSpPr/>
            <p:nvPr/>
          </p:nvSpPr>
          <p:spPr>
            <a:xfrm>
              <a:off x="4614091" y="3353750"/>
              <a:ext cx="995794" cy="981788"/>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34" name="TextBox 33">
              <a:extLst>
                <a:ext uri="{FF2B5EF4-FFF2-40B4-BE49-F238E27FC236}">
                  <a16:creationId xmlns:a16="http://schemas.microsoft.com/office/drawing/2014/main" id="{23DA80D5-AAA2-4E8D-9460-CCCF6390C23B}"/>
                </a:ext>
              </a:extLst>
            </p:cNvPr>
            <p:cNvSpPr txBox="1"/>
            <p:nvPr/>
          </p:nvSpPr>
          <p:spPr>
            <a:xfrm>
              <a:off x="4625919" y="3458421"/>
              <a:ext cx="972138" cy="430887"/>
            </a:xfrm>
            <a:prstGeom prst="rect">
              <a:avLst/>
            </a:prstGeom>
            <a:noFill/>
          </p:spPr>
          <p:txBody>
            <a:bodyPr wrap="square" lIns="0" tIns="0" rIns="0" bIns="0" rtlCol="0">
              <a:spAutoFit/>
            </a:bodyPr>
            <a:lstStyle/>
            <a:p>
              <a:pPr algn="ctr"/>
              <a:r>
                <a:rPr lang="en-GB" sz="1400" b="1" kern="0"/>
                <a:t>Interest </a:t>
              </a:r>
            </a:p>
            <a:p>
              <a:pPr algn="ctr"/>
              <a:r>
                <a:rPr lang="en-GB" sz="1400" b="1" kern="0"/>
                <a:t>rate</a:t>
              </a:r>
            </a:p>
          </p:txBody>
        </p:sp>
        <p:pic>
          <p:nvPicPr>
            <p:cNvPr id="48" name="ico-rate-up">
              <a:extLst>
                <a:ext uri="{FF2B5EF4-FFF2-40B4-BE49-F238E27FC236}">
                  <a16:creationId xmlns:a16="http://schemas.microsoft.com/office/drawing/2014/main" id="{5C142A9F-1D8B-4057-BB62-129C95EDAD69}"/>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939277" y="3918033"/>
              <a:ext cx="345422" cy="345422"/>
            </a:xfrm>
            <a:prstGeom prst="rect">
              <a:avLst/>
            </a:prstGeom>
          </p:spPr>
        </p:pic>
      </p:grpSp>
      <p:grpSp>
        <p:nvGrpSpPr>
          <p:cNvPr id="42" name="Group 41">
            <a:extLst>
              <a:ext uri="{FF2B5EF4-FFF2-40B4-BE49-F238E27FC236}">
                <a16:creationId xmlns:a16="http://schemas.microsoft.com/office/drawing/2014/main" id="{799C6602-8DFA-E831-24E7-0ED6684D7230}"/>
              </a:ext>
            </a:extLst>
          </p:cNvPr>
          <p:cNvGrpSpPr/>
          <p:nvPr/>
        </p:nvGrpSpPr>
        <p:grpSpPr>
          <a:xfrm>
            <a:off x="1921768" y="4055014"/>
            <a:ext cx="1282301" cy="1264266"/>
            <a:chOff x="1921768" y="4055014"/>
            <a:chExt cx="1282301" cy="1264266"/>
          </a:xfrm>
        </p:grpSpPr>
        <p:sp>
          <p:nvSpPr>
            <p:cNvPr id="118" name="Oval 117">
              <a:extLst>
                <a:ext uri="{FF2B5EF4-FFF2-40B4-BE49-F238E27FC236}">
                  <a16:creationId xmlns:a16="http://schemas.microsoft.com/office/drawing/2014/main" id="{1B29650D-2D6C-4452-BBBC-9484422139B4}"/>
                </a:ext>
              </a:extLst>
            </p:cNvPr>
            <p:cNvSpPr/>
            <p:nvPr/>
          </p:nvSpPr>
          <p:spPr>
            <a:xfrm>
              <a:off x="1921768" y="4055014"/>
              <a:ext cx="1282301" cy="1264266"/>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87" name="TextBox 86">
              <a:extLst>
                <a:ext uri="{FF2B5EF4-FFF2-40B4-BE49-F238E27FC236}">
                  <a16:creationId xmlns:a16="http://schemas.microsoft.com/office/drawing/2014/main" id="{9DC41421-2AAA-462B-9A87-7CA707F6D753}"/>
                </a:ext>
              </a:extLst>
            </p:cNvPr>
            <p:cNvSpPr txBox="1"/>
            <p:nvPr/>
          </p:nvSpPr>
          <p:spPr>
            <a:xfrm>
              <a:off x="2231097" y="4172423"/>
              <a:ext cx="663643" cy="430887"/>
            </a:xfrm>
            <a:prstGeom prst="rect">
              <a:avLst/>
            </a:prstGeom>
            <a:noFill/>
          </p:spPr>
          <p:txBody>
            <a:bodyPr wrap="none" lIns="0" tIns="0" rIns="0" bIns="0" rtlCol="0">
              <a:spAutoFit/>
            </a:bodyPr>
            <a:lstStyle/>
            <a:p>
              <a:pPr algn="ctr"/>
              <a:r>
                <a:rPr lang="en-GB" sz="1400" b="1" kern="0"/>
                <a:t>Oil &amp; gas</a:t>
              </a:r>
            </a:p>
            <a:p>
              <a:pPr algn="ctr"/>
              <a:r>
                <a:rPr lang="en-GB" sz="1400" b="1" kern="0"/>
                <a:t> crisis</a:t>
              </a:r>
            </a:p>
          </p:txBody>
        </p:sp>
        <p:pic>
          <p:nvPicPr>
            <p:cNvPr id="181" name="ico-oil-barrel">
              <a:extLst>
                <a:ext uri="{FF2B5EF4-FFF2-40B4-BE49-F238E27FC236}">
                  <a16:creationId xmlns:a16="http://schemas.microsoft.com/office/drawing/2014/main" id="{45F56BE9-944B-47FC-AC37-E02046EA58AB}"/>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2352155" y="4654840"/>
              <a:ext cx="421526" cy="421526"/>
            </a:xfrm>
            <a:prstGeom prst="rect">
              <a:avLst/>
            </a:prstGeom>
          </p:spPr>
        </p:pic>
      </p:grpSp>
      <p:grpSp>
        <p:nvGrpSpPr>
          <p:cNvPr id="38" name="Group 37">
            <a:extLst>
              <a:ext uri="{FF2B5EF4-FFF2-40B4-BE49-F238E27FC236}">
                <a16:creationId xmlns:a16="http://schemas.microsoft.com/office/drawing/2014/main" id="{D4538746-29E4-3606-9575-503F24A03D69}"/>
              </a:ext>
            </a:extLst>
          </p:cNvPr>
          <p:cNvGrpSpPr/>
          <p:nvPr/>
        </p:nvGrpSpPr>
        <p:grpSpPr>
          <a:xfrm>
            <a:off x="7065839" y="4173264"/>
            <a:ext cx="1153621" cy="1137396"/>
            <a:chOff x="7065839" y="4173264"/>
            <a:chExt cx="1153621" cy="1137396"/>
          </a:xfrm>
        </p:grpSpPr>
        <p:sp>
          <p:nvSpPr>
            <p:cNvPr id="138" name="Oval 137">
              <a:extLst>
                <a:ext uri="{FF2B5EF4-FFF2-40B4-BE49-F238E27FC236}">
                  <a16:creationId xmlns:a16="http://schemas.microsoft.com/office/drawing/2014/main" id="{FCFE84AE-CE20-4790-9986-C25F345DAFC4}"/>
                </a:ext>
              </a:extLst>
            </p:cNvPr>
            <p:cNvSpPr/>
            <p:nvPr/>
          </p:nvSpPr>
          <p:spPr>
            <a:xfrm>
              <a:off x="7065839" y="4173264"/>
              <a:ext cx="1153621" cy="1137396"/>
            </a:xfrm>
            <a:prstGeom prst="ellipse">
              <a:avLst/>
            </a:prstGeom>
            <a:solidFill>
              <a:schemeClr val="bg1"/>
            </a:solidFill>
            <a:ln w="9525">
              <a:noFill/>
              <a:miter lim="800000"/>
            </a:ln>
            <a:effectLst>
              <a:outerShdw blurRad="76200" dist="25400" dir="4200039" sx="101000" sy="101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a:solidFill>
                  <a:schemeClr val="tx1"/>
                </a:solidFill>
                <a:cs typeface="Calibri" panose="020F0502020204030204" pitchFamily="34" charset="0"/>
              </a:endParaRPr>
            </a:p>
          </p:txBody>
        </p:sp>
        <p:sp>
          <p:nvSpPr>
            <p:cNvPr id="96" name="TextBox 95">
              <a:extLst>
                <a:ext uri="{FF2B5EF4-FFF2-40B4-BE49-F238E27FC236}">
                  <a16:creationId xmlns:a16="http://schemas.microsoft.com/office/drawing/2014/main" id="{22A5D3D8-0158-40E2-9EA7-78F5FD0D898C}"/>
                </a:ext>
              </a:extLst>
            </p:cNvPr>
            <p:cNvSpPr txBox="1"/>
            <p:nvPr/>
          </p:nvSpPr>
          <p:spPr>
            <a:xfrm>
              <a:off x="7387772" y="4272262"/>
              <a:ext cx="509755" cy="430887"/>
            </a:xfrm>
            <a:prstGeom prst="rect">
              <a:avLst/>
            </a:prstGeom>
            <a:noFill/>
          </p:spPr>
          <p:txBody>
            <a:bodyPr wrap="none" lIns="0" tIns="0" rIns="0" bIns="0" rtlCol="0">
              <a:spAutoFit/>
            </a:bodyPr>
            <a:lstStyle/>
            <a:p>
              <a:pPr algn="ctr"/>
              <a:r>
                <a:rPr lang="en-GB" sz="1400" b="1" kern="0"/>
                <a:t>Talent </a:t>
              </a:r>
            </a:p>
            <a:p>
              <a:pPr algn="ctr"/>
              <a:r>
                <a:rPr lang="en-GB" sz="1400" b="1" kern="0"/>
                <a:t>war</a:t>
              </a:r>
            </a:p>
          </p:txBody>
        </p:sp>
        <p:pic>
          <p:nvPicPr>
            <p:cNvPr id="120" name="ico-conflict-management">
              <a:extLst>
                <a:ext uri="{FF2B5EF4-FFF2-40B4-BE49-F238E27FC236}">
                  <a16:creationId xmlns:a16="http://schemas.microsoft.com/office/drawing/2014/main" id="{0431CF94-AF9C-4649-8CA9-C91FEAFE1ABD}"/>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411117" y="4763830"/>
              <a:ext cx="463066" cy="463066"/>
            </a:xfrm>
            <a:prstGeom prst="rect">
              <a:avLst/>
            </a:prstGeom>
          </p:spPr>
        </p:pic>
      </p:grpSp>
    </p:spTree>
    <p:extLst>
      <p:ext uri="{BB962C8B-B14F-4D97-AF65-F5344CB8AC3E}">
        <p14:creationId xmlns:p14="http://schemas.microsoft.com/office/powerpoint/2010/main" val="2046907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repeatDur="0" restart="never" fill="hold" nodeType="withEffect">
                                  <p:stCondLst>
                                    <p:cond delay="0"/>
                                  </p:stCondLst>
                                  <p:childTnLst>
                                    <p:set>
                                      <p:cBhvr additive="base" accumulate="none">
                                        <p:cTn id="6" dur="1" fill="hold">
                                          <p:stCondLst>
                                            <p:cond delay="0"/>
                                          </p:stCondLst>
                                        </p:cTn>
                                        <p:tgtEl>
                                          <p:spTgt spid="3"/>
                                        </p:tgtEl>
                                        <p:attrNameLst>
                                          <p:attrName>style.visibility</p:attrName>
                                        </p:attrNameLst>
                                      </p:cBhvr>
                                      <p:to>
                                        <p:strVal val="visible"/>
                                      </p:to>
                                    </p:set>
                                    <p:anim from="0" to="0" calcmode="lin" valueType="num">
                                      <p:cBhvr additive="base" accumulate="none">
                                        <p:cTn id="7" dur="350" fill="hold"/>
                                        <p:tgtEl>
                                          <p:spTgt spid="3"/>
                                        </p:tgtEl>
                                        <p:attrNameLst>
                                          <p:attrName>ppt_w</p:attrName>
                                        </p:attrNameLst>
                                      </p:cBhvr>
                                      <p:tavLst>
                                        <p:tav tm="0">
                                          <p:val>
                                            <p:strVal val="2/3*#ppt_w"/>
                                          </p:val>
                                        </p:tav>
                                        <p:tav tm="100000">
                                          <p:val>
                                            <p:strVal val="#ppt_w"/>
                                          </p:val>
                                        </p:tav>
                                      </p:tavLst>
                                    </p:anim>
                                    <p:anim from="0" to="0" calcmode="lin" valueType="num">
                                      <p:cBhvr additive="base" accumulate="none">
                                        <p:cTn id="8" dur="350" fill="hold"/>
                                        <p:tgtEl>
                                          <p:spTgt spid="3"/>
                                        </p:tgtEl>
                                        <p:attrNameLst>
                                          <p:attrName>ppt_h</p:attrName>
                                        </p:attrNameLst>
                                      </p:cBhvr>
                                      <p:tavLst>
                                        <p:tav tm="0">
                                          <p:val>
                                            <p:strVal val="2/3*#ppt_h"/>
                                          </p:val>
                                        </p:tav>
                                        <p:tav tm="100000">
                                          <p:val>
                                            <p:strVal val="#ppt_h"/>
                                          </p:val>
                                        </p:tav>
                                      </p:tavLst>
                                    </p:anim>
                                  </p:childTnLst>
                                </p:cTn>
                              </p:par>
                              <p:par>
                                <p:cTn id="9" presetID="23" presetClass="entr" presetSubtype="16" repeatDur="0" restart="never" fill="hold" nodeType="withEffect">
                                  <p:stCondLst>
                                    <p:cond delay="0"/>
                                  </p:stCondLst>
                                  <p:childTnLst>
                                    <p:set>
                                      <p:cBhvr additive="base" accumulate="none">
                                        <p:cTn id="10" dur="1" fill="hold">
                                          <p:stCondLst>
                                            <p:cond delay="0"/>
                                          </p:stCondLst>
                                        </p:cTn>
                                        <p:tgtEl>
                                          <p:spTgt spid="7"/>
                                        </p:tgtEl>
                                        <p:attrNameLst>
                                          <p:attrName>style.visibility</p:attrName>
                                        </p:attrNameLst>
                                      </p:cBhvr>
                                      <p:to>
                                        <p:strVal val="visible"/>
                                      </p:to>
                                    </p:set>
                                    <p:anim from="0" to="0" calcmode="lin" valueType="num">
                                      <p:cBhvr additive="base" accumulate="none">
                                        <p:cTn id="11" dur="350" fill="hold"/>
                                        <p:tgtEl>
                                          <p:spTgt spid="7"/>
                                        </p:tgtEl>
                                        <p:attrNameLst>
                                          <p:attrName>ppt_w</p:attrName>
                                        </p:attrNameLst>
                                      </p:cBhvr>
                                      <p:tavLst>
                                        <p:tav tm="0">
                                          <p:val>
                                            <p:strVal val="2/3*#ppt_w"/>
                                          </p:val>
                                        </p:tav>
                                        <p:tav tm="100000">
                                          <p:val>
                                            <p:strVal val="#ppt_w"/>
                                          </p:val>
                                        </p:tav>
                                      </p:tavLst>
                                    </p:anim>
                                    <p:anim from="0" to="0" calcmode="lin" valueType="num">
                                      <p:cBhvr additive="base" accumulate="none">
                                        <p:cTn id="12" dur="350" fill="hold"/>
                                        <p:tgtEl>
                                          <p:spTgt spid="7"/>
                                        </p:tgtEl>
                                        <p:attrNameLst>
                                          <p:attrName>ppt_h</p:attrName>
                                        </p:attrNameLst>
                                      </p:cBhvr>
                                      <p:tavLst>
                                        <p:tav tm="0">
                                          <p:val>
                                            <p:strVal val="2/3*#ppt_h"/>
                                          </p:val>
                                        </p:tav>
                                        <p:tav tm="100000">
                                          <p:val>
                                            <p:strVal val="#ppt_h"/>
                                          </p:val>
                                        </p:tav>
                                      </p:tavLst>
                                    </p:anim>
                                  </p:childTnLst>
                                </p:cTn>
                              </p:par>
                              <p:par>
                                <p:cTn id="13" presetID="23" presetClass="entr" presetSubtype="16" repeatDur="0" restart="never" fill="hold" nodeType="withEffect">
                                  <p:stCondLst>
                                    <p:cond delay="0"/>
                                  </p:stCondLst>
                                  <p:childTnLst>
                                    <p:set>
                                      <p:cBhvr additive="base" accumulate="none">
                                        <p:cTn id="14" dur="1" fill="hold">
                                          <p:stCondLst>
                                            <p:cond delay="0"/>
                                          </p:stCondLst>
                                        </p:cTn>
                                        <p:tgtEl>
                                          <p:spTgt spid="4"/>
                                        </p:tgtEl>
                                        <p:attrNameLst>
                                          <p:attrName>style.visibility</p:attrName>
                                        </p:attrNameLst>
                                      </p:cBhvr>
                                      <p:to>
                                        <p:strVal val="visible"/>
                                      </p:to>
                                    </p:set>
                                    <p:anim from="0" to="0" calcmode="lin" valueType="num">
                                      <p:cBhvr additive="base" accumulate="none">
                                        <p:cTn id="15" dur="350" fill="hold"/>
                                        <p:tgtEl>
                                          <p:spTgt spid="4"/>
                                        </p:tgtEl>
                                        <p:attrNameLst>
                                          <p:attrName>ppt_w</p:attrName>
                                        </p:attrNameLst>
                                      </p:cBhvr>
                                      <p:tavLst>
                                        <p:tav tm="0">
                                          <p:val>
                                            <p:strVal val="2/3*#ppt_w"/>
                                          </p:val>
                                        </p:tav>
                                        <p:tav tm="100000">
                                          <p:val>
                                            <p:strVal val="#ppt_w"/>
                                          </p:val>
                                        </p:tav>
                                      </p:tavLst>
                                    </p:anim>
                                    <p:anim from="0" to="0" calcmode="lin" valueType="num">
                                      <p:cBhvr additive="base" accumulate="none">
                                        <p:cTn id="16" dur="350" fill="hold"/>
                                        <p:tgtEl>
                                          <p:spTgt spid="4"/>
                                        </p:tgtEl>
                                        <p:attrNameLst>
                                          <p:attrName>ppt_h</p:attrName>
                                        </p:attrNameLst>
                                      </p:cBhvr>
                                      <p:tavLst>
                                        <p:tav tm="0">
                                          <p:val>
                                            <p:strVal val="2/3*#ppt_h"/>
                                          </p:val>
                                        </p:tav>
                                        <p:tav tm="100000">
                                          <p:val>
                                            <p:strVal val="#ppt_h"/>
                                          </p:val>
                                        </p:tav>
                                      </p:tavLst>
                                    </p:anim>
                                  </p:childTnLst>
                                </p:cTn>
                              </p:par>
                            </p:childTnLst>
                          </p:cTn>
                        </p:par>
                        <p:par>
                          <p:cTn id="17" fill="hold">
                            <p:stCondLst>
                              <p:cond delay="350"/>
                            </p:stCondLst>
                            <p:childTnLst>
                              <p:par>
                                <p:cTn id="18" presetID="22" presetClass="entr" presetSubtype="2" fill="hold" nodeType="afterEffect">
                                  <p:stCondLst>
                                    <p:cond delay="0"/>
                                  </p:stCondLst>
                                  <p:childTnLst>
                                    <p:set>
                                      <p:cBhvr>
                                        <p:cTn id="19" dur="1" fill="hold">
                                          <p:stCondLst>
                                            <p:cond delay="0"/>
                                          </p:stCondLst>
                                        </p:cTn>
                                        <p:tgtEl>
                                          <p:spTgt spid="61"/>
                                        </p:tgtEl>
                                        <p:attrNameLst>
                                          <p:attrName>style.visibility</p:attrName>
                                        </p:attrNameLst>
                                      </p:cBhvr>
                                      <p:to>
                                        <p:strVal val="visible"/>
                                      </p:to>
                                    </p:set>
                                    <p:animEffect transition="in" filter="wipe(right)">
                                      <p:cBhvr>
                                        <p:cTn id="20" dur="350"/>
                                        <p:tgtEl>
                                          <p:spTgt spid="61"/>
                                        </p:tgtEl>
                                      </p:cBhvr>
                                    </p:animEffect>
                                  </p:childTnLst>
                                </p:cTn>
                              </p:par>
                              <p:par>
                                <p:cTn id="21" presetID="22" presetClass="entr" presetSubtype="8" fill="hold" nodeType="with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wipe(left)">
                                      <p:cBhvr>
                                        <p:cTn id="23" dur="350"/>
                                        <p:tgtEl>
                                          <p:spTgt spid="67"/>
                                        </p:tgtEl>
                                      </p:cBhvr>
                                    </p:animEffect>
                                  </p:childTnLst>
                                </p:cTn>
                              </p:par>
                              <p:par>
                                <p:cTn id="24" presetID="22" presetClass="entr" presetSubtype="4" fill="hold" nodeType="withEffect">
                                  <p:stCondLst>
                                    <p:cond delay="0"/>
                                  </p:stCondLst>
                                  <p:childTnLst>
                                    <p:set>
                                      <p:cBhvr>
                                        <p:cTn id="25" dur="1" fill="hold">
                                          <p:stCondLst>
                                            <p:cond delay="0"/>
                                          </p:stCondLst>
                                        </p:cTn>
                                        <p:tgtEl>
                                          <p:spTgt spid="65"/>
                                        </p:tgtEl>
                                        <p:attrNameLst>
                                          <p:attrName>style.visibility</p:attrName>
                                        </p:attrNameLst>
                                      </p:cBhvr>
                                      <p:to>
                                        <p:strVal val="visible"/>
                                      </p:to>
                                    </p:set>
                                    <p:animEffect transition="in" filter="wipe(down)">
                                      <p:cBhvr>
                                        <p:cTn id="26" dur="350"/>
                                        <p:tgtEl>
                                          <p:spTgt spid="65"/>
                                        </p:tgtEl>
                                      </p:cBhvr>
                                    </p:animEffect>
                                  </p:childTnLst>
                                </p:cTn>
                              </p:par>
                              <p:par>
                                <p:cTn id="27" presetID="22" presetClass="entr" presetSubtype="8" fill="hold" nodeType="with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wipe(left)">
                                      <p:cBhvr>
                                        <p:cTn id="29" dur="350"/>
                                        <p:tgtEl>
                                          <p:spTgt spid="55"/>
                                        </p:tgtEl>
                                      </p:cBhvr>
                                    </p:animEffect>
                                  </p:childTnLst>
                                </p:cTn>
                              </p:par>
                            </p:childTnLst>
                          </p:cTn>
                        </p:par>
                        <p:par>
                          <p:cTn id="30" fill="hold">
                            <p:stCondLst>
                              <p:cond delay="700"/>
                            </p:stCondLst>
                            <p:childTnLst>
                              <p:par>
                                <p:cTn id="31" presetID="23" presetClass="entr" presetSubtype="16" repeatDur="0" restart="never" fill="hold" nodeType="afterEffect">
                                  <p:stCondLst>
                                    <p:cond delay="0"/>
                                  </p:stCondLst>
                                  <p:childTnLst>
                                    <p:set>
                                      <p:cBhvr additive="base" accumulate="none">
                                        <p:cTn id="32" dur="1" fill="hold">
                                          <p:stCondLst>
                                            <p:cond delay="0"/>
                                          </p:stCondLst>
                                        </p:cTn>
                                        <p:tgtEl>
                                          <p:spTgt spid="30"/>
                                        </p:tgtEl>
                                        <p:attrNameLst>
                                          <p:attrName>style.visibility</p:attrName>
                                        </p:attrNameLst>
                                      </p:cBhvr>
                                      <p:to>
                                        <p:strVal val="visible"/>
                                      </p:to>
                                    </p:set>
                                    <p:anim from="0" to="0" calcmode="lin" valueType="num">
                                      <p:cBhvr additive="base" accumulate="none">
                                        <p:cTn id="33" dur="350" fill="hold"/>
                                        <p:tgtEl>
                                          <p:spTgt spid="30"/>
                                        </p:tgtEl>
                                        <p:attrNameLst>
                                          <p:attrName>ppt_w</p:attrName>
                                        </p:attrNameLst>
                                      </p:cBhvr>
                                      <p:tavLst>
                                        <p:tav tm="0">
                                          <p:val>
                                            <p:strVal val="2/3*#ppt_w"/>
                                          </p:val>
                                        </p:tav>
                                        <p:tav tm="100000">
                                          <p:val>
                                            <p:strVal val="#ppt_w"/>
                                          </p:val>
                                        </p:tav>
                                      </p:tavLst>
                                    </p:anim>
                                    <p:anim from="0" to="0" calcmode="lin" valueType="num">
                                      <p:cBhvr additive="base" accumulate="none">
                                        <p:cTn id="34" dur="350" fill="hold"/>
                                        <p:tgtEl>
                                          <p:spTgt spid="30"/>
                                        </p:tgtEl>
                                        <p:attrNameLst>
                                          <p:attrName>ppt_h</p:attrName>
                                        </p:attrNameLst>
                                      </p:cBhvr>
                                      <p:tavLst>
                                        <p:tav tm="0">
                                          <p:val>
                                            <p:strVal val="2/3*#ppt_h"/>
                                          </p:val>
                                        </p:tav>
                                        <p:tav tm="100000">
                                          <p:val>
                                            <p:strVal val="#ppt_h"/>
                                          </p:val>
                                        </p:tav>
                                      </p:tavLst>
                                    </p:anim>
                                  </p:childTnLst>
                                </p:cTn>
                              </p:par>
                              <p:par>
                                <p:cTn id="35" presetID="23" presetClass="entr" presetSubtype="16" repeatDur="0" restart="never" fill="hold" nodeType="withEffect">
                                  <p:stCondLst>
                                    <p:cond delay="0"/>
                                  </p:stCondLst>
                                  <p:childTnLst>
                                    <p:set>
                                      <p:cBhvr additive="base" accumulate="none">
                                        <p:cTn id="36" dur="1" fill="hold">
                                          <p:stCondLst>
                                            <p:cond delay="0"/>
                                          </p:stCondLst>
                                        </p:cTn>
                                        <p:tgtEl>
                                          <p:spTgt spid="42"/>
                                        </p:tgtEl>
                                        <p:attrNameLst>
                                          <p:attrName>style.visibility</p:attrName>
                                        </p:attrNameLst>
                                      </p:cBhvr>
                                      <p:to>
                                        <p:strVal val="visible"/>
                                      </p:to>
                                    </p:set>
                                    <p:anim from="0" to="0" calcmode="lin" valueType="num">
                                      <p:cBhvr additive="base" accumulate="none">
                                        <p:cTn id="37" dur="350" fill="hold"/>
                                        <p:tgtEl>
                                          <p:spTgt spid="42"/>
                                        </p:tgtEl>
                                        <p:attrNameLst>
                                          <p:attrName>ppt_w</p:attrName>
                                        </p:attrNameLst>
                                      </p:cBhvr>
                                      <p:tavLst>
                                        <p:tav tm="0">
                                          <p:val>
                                            <p:strVal val="2/3*#ppt_w"/>
                                          </p:val>
                                        </p:tav>
                                        <p:tav tm="100000">
                                          <p:val>
                                            <p:strVal val="#ppt_w"/>
                                          </p:val>
                                        </p:tav>
                                      </p:tavLst>
                                    </p:anim>
                                    <p:anim from="0" to="0" calcmode="lin" valueType="num">
                                      <p:cBhvr additive="base" accumulate="none">
                                        <p:cTn id="38" dur="350" fill="hold"/>
                                        <p:tgtEl>
                                          <p:spTgt spid="42"/>
                                        </p:tgtEl>
                                        <p:attrNameLst>
                                          <p:attrName>ppt_h</p:attrName>
                                        </p:attrNameLst>
                                      </p:cBhvr>
                                      <p:tavLst>
                                        <p:tav tm="0">
                                          <p:val>
                                            <p:strVal val="2/3*#ppt_h"/>
                                          </p:val>
                                        </p:tav>
                                        <p:tav tm="100000">
                                          <p:val>
                                            <p:strVal val="#ppt_h"/>
                                          </p:val>
                                        </p:tav>
                                      </p:tavLst>
                                    </p:anim>
                                  </p:childTnLst>
                                </p:cTn>
                              </p:par>
                              <p:par>
                                <p:cTn id="39" presetID="23" presetClass="entr" presetSubtype="16" repeatDur="0" restart="never" fill="hold" nodeType="withEffect">
                                  <p:stCondLst>
                                    <p:cond delay="0"/>
                                  </p:stCondLst>
                                  <p:childTnLst>
                                    <p:set>
                                      <p:cBhvr additive="base" accumulate="none">
                                        <p:cTn id="40" dur="1" fill="hold">
                                          <p:stCondLst>
                                            <p:cond delay="0"/>
                                          </p:stCondLst>
                                        </p:cTn>
                                        <p:tgtEl>
                                          <p:spTgt spid="31"/>
                                        </p:tgtEl>
                                        <p:attrNameLst>
                                          <p:attrName>style.visibility</p:attrName>
                                        </p:attrNameLst>
                                      </p:cBhvr>
                                      <p:to>
                                        <p:strVal val="visible"/>
                                      </p:to>
                                    </p:set>
                                    <p:anim from="0" to="0" calcmode="lin" valueType="num">
                                      <p:cBhvr additive="base" accumulate="none">
                                        <p:cTn id="41" dur="350" fill="hold"/>
                                        <p:tgtEl>
                                          <p:spTgt spid="31"/>
                                        </p:tgtEl>
                                        <p:attrNameLst>
                                          <p:attrName>ppt_w</p:attrName>
                                        </p:attrNameLst>
                                      </p:cBhvr>
                                      <p:tavLst>
                                        <p:tav tm="0">
                                          <p:val>
                                            <p:strVal val="2/3*#ppt_w"/>
                                          </p:val>
                                        </p:tav>
                                        <p:tav tm="100000">
                                          <p:val>
                                            <p:strVal val="#ppt_w"/>
                                          </p:val>
                                        </p:tav>
                                      </p:tavLst>
                                    </p:anim>
                                    <p:anim from="0" to="0" calcmode="lin" valueType="num">
                                      <p:cBhvr additive="base" accumulate="none">
                                        <p:cTn id="42" dur="350" fill="hold"/>
                                        <p:tgtEl>
                                          <p:spTgt spid="31"/>
                                        </p:tgtEl>
                                        <p:attrNameLst>
                                          <p:attrName>ppt_h</p:attrName>
                                        </p:attrNameLst>
                                      </p:cBhvr>
                                      <p:tavLst>
                                        <p:tav tm="0">
                                          <p:val>
                                            <p:strVal val="2/3*#ppt_h"/>
                                          </p:val>
                                        </p:tav>
                                        <p:tav tm="100000">
                                          <p:val>
                                            <p:strVal val="#ppt_h"/>
                                          </p:val>
                                        </p:tav>
                                      </p:tavLst>
                                    </p:anim>
                                  </p:childTnLst>
                                </p:cTn>
                              </p:par>
                            </p:childTnLst>
                          </p:cTn>
                        </p:par>
                        <p:par>
                          <p:cTn id="43" fill="hold">
                            <p:stCondLst>
                              <p:cond delay="1050"/>
                            </p:stCondLst>
                            <p:childTnLst>
                              <p:par>
                                <p:cTn id="44" presetID="22" presetClass="entr" presetSubtype="2" fill="hold" nodeType="afterEffect">
                                  <p:stCondLst>
                                    <p:cond delay="0"/>
                                  </p:stCondLst>
                                  <p:childTnLst>
                                    <p:set>
                                      <p:cBhvr>
                                        <p:cTn id="45" dur="1" fill="hold">
                                          <p:stCondLst>
                                            <p:cond delay="0"/>
                                          </p:stCondLst>
                                        </p:cTn>
                                        <p:tgtEl>
                                          <p:spTgt spid="62"/>
                                        </p:tgtEl>
                                        <p:attrNameLst>
                                          <p:attrName>style.visibility</p:attrName>
                                        </p:attrNameLst>
                                      </p:cBhvr>
                                      <p:to>
                                        <p:strVal val="visible"/>
                                      </p:to>
                                    </p:set>
                                    <p:animEffect transition="in" filter="wipe(right)">
                                      <p:cBhvr>
                                        <p:cTn id="46" dur="350"/>
                                        <p:tgtEl>
                                          <p:spTgt spid="62"/>
                                        </p:tgtEl>
                                      </p:cBhvr>
                                    </p:animEffect>
                                  </p:childTnLst>
                                </p:cTn>
                              </p:par>
                              <p:par>
                                <p:cTn id="47" presetID="22" presetClass="entr" presetSubtype="1" fill="hold" nodeType="withEffect">
                                  <p:stCondLst>
                                    <p:cond delay="0"/>
                                  </p:stCondLst>
                                  <p:childTnLst>
                                    <p:set>
                                      <p:cBhvr>
                                        <p:cTn id="48" dur="1" fill="hold">
                                          <p:stCondLst>
                                            <p:cond delay="0"/>
                                          </p:stCondLst>
                                        </p:cTn>
                                        <p:tgtEl>
                                          <p:spTgt spid="64"/>
                                        </p:tgtEl>
                                        <p:attrNameLst>
                                          <p:attrName>style.visibility</p:attrName>
                                        </p:attrNameLst>
                                      </p:cBhvr>
                                      <p:to>
                                        <p:strVal val="visible"/>
                                      </p:to>
                                    </p:set>
                                    <p:animEffect transition="in" filter="wipe(up)">
                                      <p:cBhvr>
                                        <p:cTn id="49" dur="350"/>
                                        <p:tgtEl>
                                          <p:spTgt spid="64"/>
                                        </p:tgtEl>
                                      </p:cBhvr>
                                    </p:animEffect>
                                  </p:childTnLst>
                                </p:cTn>
                              </p:par>
                              <p:par>
                                <p:cTn id="50" presetID="22" presetClass="entr" presetSubtype="1" fill="hold" nodeType="with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wipe(up)">
                                      <p:cBhvr>
                                        <p:cTn id="52" dur="350"/>
                                        <p:tgtEl>
                                          <p:spTgt spid="50"/>
                                        </p:tgtEl>
                                      </p:cBhvr>
                                    </p:animEffect>
                                  </p:childTnLst>
                                </p:cTn>
                              </p:par>
                              <p:par>
                                <p:cTn id="53" presetID="22" presetClass="entr" presetSubtype="8" fill="hold" nodeType="withEffect">
                                  <p:stCondLst>
                                    <p:cond delay="0"/>
                                  </p:stCondLst>
                                  <p:childTnLst>
                                    <p:set>
                                      <p:cBhvr>
                                        <p:cTn id="54" dur="1" fill="hold">
                                          <p:stCondLst>
                                            <p:cond delay="0"/>
                                          </p:stCondLst>
                                        </p:cTn>
                                        <p:tgtEl>
                                          <p:spTgt spid="60"/>
                                        </p:tgtEl>
                                        <p:attrNameLst>
                                          <p:attrName>style.visibility</p:attrName>
                                        </p:attrNameLst>
                                      </p:cBhvr>
                                      <p:to>
                                        <p:strVal val="visible"/>
                                      </p:to>
                                    </p:set>
                                    <p:animEffect transition="in" filter="wipe(left)">
                                      <p:cBhvr>
                                        <p:cTn id="55" dur="350"/>
                                        <p:tgtEl>
                                          <p:spTgt spid="60"/>
                                        </p:tgtEl>
                                      </p:cBhvr>
                                    </p:animEffect>
                                  </p:childTnLst>
                                </p:cTn>
                              </p:par>
                              <p:par>
                                <p:cTn id="56" presetID="22" presetClass="entr" presetSubtype="1" fill="hold" nodeType="with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wipe(up)">
                                      <p:cBhvr>
                                        <p:cTn id="58" dur="350"/>
                                        <p:tgtEl>
                                          <p:spTgt spid="63"/>
                                        </p:tgtEl>
                                      </p:cBhvr>
                                    </p:animEffect>
                                  </p:childTnLst>
                                </p:cTn>
                              </p:par>
                              <p:par>
                                <p:cTn id="59" presetID="22" presetClass="entr" presetSubtype="4" fill="hold" nodeType="withEffect">
                                  <p:stCondLst>
                                    <p:cond delay="0"/>
                                  </p:stCondLst>
                                  <p:childTnLst>
                                    <p:set>
                                      <p:cBhvr>
                                        <p:cTn id="60" dur="1" fill="hold">
                                          <p:stCondLst>
                                            <p:cond delay="0"/>
                                          </p:stCondLst>
                                        </p:cTn>
                                        <p:tgtEl>
                                          <p:spTgt spid="59"/>
                                        </p:tgtEl>
                                        <p:attrNameLst>
                                          <p:attrName>style.visibility</p:attrName>
                                        </p:attrNameLst>
                                      </p:cBhvr>
                                      <p:to>
                                        <p:strVal val="visible"/>
                                      </p:to>
                                    </p:set>
                                    <p:animEffect transition="in" filter="wipe(down)">
                                      <p:cBhvr>
                                        <p:cTn id="61" dur="350"/>
                                        <p:tgtEl>
                                          <p:spTgt spid="59"/>
                                        </p:tgtEl>
                                      </p:cBhvr>
                                    </p:animEffect>
                                  </p:childTnLst>
                                </p:cTn>
                              </p:par>
                              <p:par>
                                <p:cTn id="62" presetID="22" presetClass="entr" presetSubtype="4" fill="hold" nodeType="withEffect">
                                  <p:stCondLst>
                                    <p:cond delay="0"/>
                                  </p:stCondLst>
                                  <p:childTnLst>
                                    <p:set>
                                      <p:cBhvr>
                                        <p:cTn id="63" dur="1" fill="hold">
                                          <p:stCondLst>
                                            <p:cond delay="0"/>
                                          </p:stCondLst>
                                        </p:cTn>
                                        <p:tgtEl>
                                          <p:spTgt spid="69"/>
                                        </p:tgtEl>
                                        <p:attrNameLst>
                                          <p:attrName>style.visibility</p:attrName>
                                        </p:attrNameLst>
                                      </p:cBhvr>
                                      <p:to>
                                        <p:strVal val="visible"/>
                                      </p:to>
                                    </p:set>
                                    <p:animEffect transition="in" filter="wipe(down)">
                                      <p:cBhvr>
                                        <p:cTn id="64" dur="350"/>
                                        <p:tgtEl>
                                          <p:spTgt spid="69"/>
                                        </p:tgtEl>
                                      </p:cBhvr>
                                    </p:animEffect>
                                  </p:childTnLst>
                                </p:cTn>
                              </p:par>
                              <p:par>
                                <p:cTn id="65" presetID="22" presetClass="entr" presetSubtype="2" fill="hold"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wipe(right)">
                                      <p:cBhvr>
                                        <p:cTn id="67" dur="350"/>
                                        <p:tgtEl>
                                          <p:spTgt spid="53"/>
                                        </p:tgtEl>
                                      </p:cBhvr>
                                    </p:animEffect>
                                  </p:childTnLst>
                                </p:cTn>
                              </p:par>
                              <p:par>
                                <p:cTn id="68" presetID="22" presetClass="entr" presetSubtype="2" fill="hold" nodeType="withEffect">
                                  <p:stCondLst>
                                    <p:cond delay="0"/>
                                  </p:stCondLst>
                                  <p:childTnLst>
                                    <p:set>
                                      <p:cBhvr>
                                        <p:cTn id="69" dur="1" fill="hold">
                                          <p:stCondLst>
                                            <p:cond delay="0"/>
                                          </p:stCondLst>
                                        </p:cTn>
                                        <p:tgtEl>
                                          <p:spTgt spid="51"/>
                                        </p:tgtEl>
                                        <p:attrNameLst>
                                          <p:attrName>style.visibility</p:attrName>
                                        </p:attrNameLst>
                                      </p:cBhvr>
                                      <p:to>
                                        <p:strVal val="visible"/>
                                      </p:to>
                                    </p:set>
                                    <p:animEffect transition="in" filter="wipe(right)">
                                      <p:cBhvr>
                                        <p:cTn id="70" dur="350"/>
                                        <p:tgtEl>
                                          <p:spTgt spid="51"/>
                                        </p:tgtEl>
                                      </p:cBhvr>
                                    </p:animEffect>
                                  </p:childTnLst>
                                </p:cTn>
                              </p:par>
                            </p:childTnLst>
                          </p:cTn>
                        </p:par>
                        <p:par>
                          <p:cTn id="71" fill="hold">
                            <p:stCondLst>
                              <p:cond delay="1400"/>
                            </p:stCondLst>
                            <p:childTnLst>
                              <p:par>
                                <p:cTn id="72" presetID="23" presetClass="entr" presetSubtype="16" repeatDur="0" restart="never" fill="hold" nodeType="afterEffect">
                                  <p:stCondLst>
                                    <p:cond delay="0"/>
                                  </p:stCondLst>
                                  <p:childTnLst>
                                    <p:set>
                                      <p:cBhvr additive="base" accumulate="none">
                                        <p:cTn id="73" dur="1" fill="hold">
                                          <p:stCondLst>
                                            <p:cond delay="0"/>
                                          </p:stCondLst>
                                        </p:cTn>
                                        <p:tgtEl>
                                          <p:spTgt spid="43"/>
                                        </p:tgtEl>
                                        <p:attrNameLst>
                                          <p:attrName>style.visibility</p:attrName>
                                        </p:attrNameLst>
                                      </p:cBhvr>
                                      <p:to>
                                        <p:strVal val="visible"/>
                                      </p:to>
                                    </p:set>
                                    <p:anim from="0" to="0" calcmode="lin" valueType="num">
                                      <p:cBhvr additive="base" accumulate="none">
                                        <p:cTn id="74" dur="350" fill="hold"/>
                                        <p:tgtEl>
                                          <p:spTgt spid="43"/>
                                        </p:tgtEl>
                                        <p:attrNameLst>
                                          <p:attrName>ppt_w</p:attrName>
                                        </p:attrNameLst>
                                      </p:cBhvr>
                                      <p:tavLst>
                                        <p:tav tm="0">
                                          <p:val>
                                            <p:strVal val="2/3*#ppt_w"/>
                                          </p:val>
                                        </p:tav>
                                        <p:tav tm="100000">
                                          <p:val>
                                            <p:strVal val="#ppt_w"/>
                                          </p:val>
                                        </p:tav>
                                      </p:tavLst>
                                    </p:anim>
                                    <p:anim from="0" to="0" calcmode="lin" valueType="num">
                                      <p:cBhvr additive="base" accumulate="none">
                                        <p:cTn id="75" dur="350" fill="hold"/>
                                        <p:tgtEl>
                                          <p:spTgt spid="43"/>
                                        </p:tgtEl>
                                        <p:attrNameLst>
                                          <p:attrName>ppt_h</p:attrName>
                                        </p:attrNameLst>
                                      </p:cBhvr>
                                      <p:tavLst>
                                        <p:tav tm="0">
                                          <p:val>
                                            <p:strVal val="2/3*#ppt_h"/>
                                          </p:val>
                                        </p:tav>
                                        <p:tav tm="100000">
                                          <p:val>
                                            <p:strVal val="#ppt_h"/>
                                          </p:val>
                                        </p:tav>
                                      </p:tavLst>
                                    </p:anim>
                                  </p:childTnLst>
                                </p:cTn>
                              </p:par>
                              <p:par>
                                <p:cTn id="76" presetID="23" presetClass="entr" presetSubtype="16" repeatDur="0" restart="never" fill="hold" nodeType="withEffect">
                                  <p:stCondLst>
                                    <p:cond delay="0"/>
                                  </p:stCondLst>
                                  <p:childTnLst>
                                    <p:set>
                                      <p:cBhvr additive="base" accumulate="none">
                                        <p:cTn id="77" dur="1" fill="hold">
                                          <p:stCondLst>
                                            <p:cond delay="0"/>
                                          </p:stCondLst>
                                        </p:cTn>
                                        <p:tgtEl>
                                          <p:spTgt spid="37"/>
                                        </p:tgtEl>
                                        <p:attrNameLst>
                                          <p:attrName>style.visibility</p:attrName>
                                        </p:attrNameLst>
                                      </p:cBhvr>
                                      <p:to>
                                        <p:strVal val="visible"/>
                                      </p:to>
                                    </p:set>
                                    <p:anim from="0" to="0" calcmode="lin" valueType="num">
                                      <p:cBhvr additive="base" accumulate="none">
                                        <p:cTn id="78" dur="350" fill="hold"/>
                                        <p:tgtEl>
                                          <p:spTgt spid="37"/>
                                        </p:tgtEl>
                                        <p:attrNameLst>
                                          <p:attrName>ppt_w</p:attrName>
                                        </p:attrNameLst>
                                      </p:cBhvr>
                                      <p:tavLst>
                                        <p:tav tm="0">
                                          <p:val>
                                            <p:strVal val="2/3*#ppt_w"/>
                                          </p:val>
                                        </p:tav>
                                        <p:tav tm="100000">
                                          <p:val>
                                            <p:strVal val="#ppt_w"/>
                                          </p:val>
                                        </p:tav>
                                      </p:tavLst>
                                    </p:anim>
                                    <p:anim from="0" to="0" calcmode="lin" valueType="num">
                                      <p:cBhvr additive="base" accumulate="none">
                                        <p:cTn id="79" dur="350" fill="hold"/>
                                        <p:tgtEl>
                                          <p:spTgt spid="37"/>
                                        </p:tgtEl>
                                        <p:attrNameLst>
                                          <p:attrName>ppt_h</p:attrName>
                                        </p:attrNameLst>
                                      </p:cBhvr>
                                      <p:tavLst>
                                        <p:tav tm="0">
                                          <p:val>
                                            <p:strVal val="2/3*#ppt_h"/>
                                          </p:val>
                                        </p:tav>
                                        <p:tav tm="100000">
                                          <p:val>
                                            <p:strVal val="#ppt_h"/>
                                          </p:val>
                                        </p:tav>
                                      </p:tavLst>
                                    </p:anim>
                                  </p:childTnLst>
                                </p:cTn>
                              </p:par>
                              <p:par>
                                <p:cTn id="80" presetID="23" presetClass="entr" presetSubtype="16" repeatDur="0" restart="never" fill="hold" nodeType="withEffect">
                                  <p:stCondLst>
                                    <p:cond delay="0"/>
                                  </p:stCondLst>
                                  <p:childTnLst>
                                    <p:set>
                                      <p:cBhvr additive="base" accumulate="none">
                                        <p:cTn id="81" dur="1" fill="hold">
                                          <p:stCondLst>
                                            <p:cond delay="0"/>
                                          </p:stCondLst>
                                        </p:cTn>
                                        <p:tgtEl>
                                          <p:spTgt spid="38"/>
                                        </p:tgtEl>
                                        <p:attrNameLst>
                                          <p:attrName>style.visibility</p:attrName>
                                        </p:attrNameLst>
                                      </p:cBhvr>
                                      <p:to>
                                        <p:strVal val="visible"/>
                                      </p:to>
                                    </p:set>
                                    <p:anim from="0" to="0" calcmode="lin" valueType="num">
                                      <p:cBhvr additive="base" accumulate="none">
                                        <p:cTn id="82" dur="350" fill="hold"/>
                                        <p:tgtEl>
                                          <p:spTgt spid="38"/>
                                        </p:tgtEl>
                                        <p:attrNameLst>
                                          <p:attrName>ppt_w</p:attrName>
                                        </p:attrNameLst>
                                      </p:cBhvr>
                                      <p:tavLst>
                                        <p:tav tm="0">
                                          <p:val>
                                            <p:strVal val="2/3*#ppt_w"/>
                                          </p:val>
                                        </p:tav>
                                        <p:tav tm="100000">
                                          <p:val>
                                            <p:strVal val="#ppt_w"/>
                                          </p:val>
                                        </p:tav>
                                      </p:tavLst>
                                    </p:anim>
                                    <p:anim from="0" to="0" calcmode="lin" valueType="num">
                                      <p:cBhvr additive="base" accumulate="none">
                                        <p:cTn id="83" dur="350" fill="hold"/>
                                        <p:tgtEl>
                                          <p:spTgt spid="38"/>
                                        </p:tgtEl>
                                        <p:attrNameLst>
                                          <p:attrName>ppt_h</p:attrName>
                                        </p:attrNameLst>
                                      </p:cBhvr>
                                      <p:tavLst>
                                        <p:tav tm="0">
                                          <p:val>
                                            <p:strVal val="2/3*#ppt_h"/>
                                          </p:val>
                                        </p:tav>
                                        <p:tav tm="100000">
                                          <p:val>
                                            <p:strVal val="#ppt_h"/>
                                          </p:val>
                                        </p:tav>
                                      </p:tavLst>
                                    </p:anim>
                                  </p:childTnLst>
                                </p:cTn>
                              </p:par>
                              <p:par>
                                <p:cTn id="84" presetID="23" presetClass="entr" presetSubtype="16" repeatDur="0" restart="never" fill="hold" nodeType="withEffect">
                                  <p:stCondLst>
                                    <p:cond delay="0"/>
                                  </p:stCondLst>
                                  <p:childTnLst>
                                    <p:set>
                                      <p:cBhvr additive="base" accumulate="none">
                                        <p:cTn id="85" dur="1" fill="hold">
                                          <p:stCondLst>
                                            <p:cond delay="0"/>
                                          </p:stCondLst>
                                        </p:cTn>
                                        <p:tgtEl>
                                          <p:spTgt spid="41"/>
                                        </p:tgtEl>
                                        <p:attrNameLst>
                                          <p:attrName>style.visibility</p:attrName>
                                        </p:attrNameLst>
                                      </p:cBhvr>
                                      <p:to>
                                        <p:strVal val="visible"/>
                                      </p:to>
                                    </p:set>
                                    <p:anim from="0" to="0" calcmode="lin" valueType="num">
                                      <p:cBhvr additive="base" accumulate="none">
                                        <p:cTn id="86" dur="350" fill="hold"/>
                                        <p:tgtEl>
                                          <p:spTgt spid="41"/>
                                        </p:tgtEl>
                                        <p:attrNameLst>
                                          <p:attrName>ppt_w</p:attrName>
                                        </p:attrNameLst>
                                      </p:cBhvr>
                                      <p:tavLst>
                                        <p:tav tm="0">
                                          <p:val>
                                            <p:strVal val="2/3*#ppt_w"/>
                                          </p:val>
                                        </p:tav>
                                        <p:tav tm="100000">
                                          <p:val>
                                            <p:strVal val="#ppt_w"/>
                                          </p:val>
                                        </p:tav>
                                      </p:tavLst>
                                    </p:anim>
                                    <p:anim from="0" to="0" calcmode="lin" valueType="num">
                                      <p:cBhvr additive="base" accumulate="none">
                                        <p:cTn id="87" dur="350" fill="hold"/>
                                        <p:tgtEl>
                                          <p:spTgt spid="41"/>
                                        </p:tgtEl>
                                        <p:attrNameLst>
                                          <p:attrName>ppt_h</p:attrName>
                                        </p:attrNameLst>
                                      </p:cBhvr>
                                      <p:tavLst>
                                        <p:tav tm="0">
                                          <p:val>
                                            <p:strVal val="2/3*#ppt_h"/>
                                          </p:val>
                                        </p:tav>
                                        <p:tav tm="100000">
                                          <p:val>
                                            <p:strVal val="#ppt_h"/>
                                          </p:val>
                                        </p:tav>
                                      </p:tavLst>
                                    </p:anim>
                                  </p:childTnLst>
                                </p:cTn>
                              </p:par>
                            </p:childTnLst>
                          </p:cTn>
                        </p:par>
                        <p:par>
                          <p:cTn id="88" fill="hold">
                            <p:stCondLst>
                              <p:cond delay="1750"/>
                            </p:stCondLst>
                            <p:childTnLst>
                              <p:par>
                                <p:cTn id="89" presetID="22" presetClass="entr" presetSubtype="2" fill="hold" nodeType="afterEffect">
                                  <p:stCondLst>
                                    <p:cond delay="0"/>
                                  </p:stCondLst>
                                  <p:childTnLst>
                                    <p:set>
                                      <p:cBhvr>
                                        <p:cTn id="90" dur="1" fill="hold">
                                          <p:stCondLst>
                                            <p:cond delay="0"/>
                                          </p:stCondLst>
                                        </p:cTn>
                                        <p:tgtEl>
                                          <p:spTgt spid="245"/>
                                        </p:tgtEl>
                                        <p:attrNameLst>
                                          <p:attrName>style.visibility</p:attrName>
                                        </p:attrNameLst>
                                      </p:cBhvr>
                                      <p:to>
                                        <p:strVal val="visible"/>
                                      </p:to>
                                    </p:set>
                                    <p:animEffect transition="in" filter="wipe(right)">
                                      <p:cBhvr>
                                        <p:cTn id="91" dur="350"/>
                                        <p:tgtEl>
                                          <p:spTgt spid="245"/>
                                        </p:tgtEl>
                                      </p:cBhvr>
                                    </p:animEffect>
                                  </p:childTnLst>
                                </p:cTn>
                              </p:par>
                              <p:par>
                                <p:cTn id="92" presetID="22" presetClass="entr" presetSubtype="1" fill="hold" grpId="0" nodeType="withEffect">
                                  <p:stCondLst>
                                    <p:cond delay="0"/>
                                  </p:stCondLst>
                                  <p:childTnLst>
                                    <p:set>
                                      <p:cBhvr>
                                        <p:cTn id="93" dur="1" fill="hold">
                                          <p:stCondLst>
                                            <p:cond delay="0"/>
                                          </p:stCondLst>
                                        </p:cTn>
                                        <p:tgtEl>
                                          <p:spTgt spid="88"/>
                                        </p:tgtEl>
                                        <p:attrNameLst>
                                          <p:attrName>style.visibility</p:attrName>
                                        </p:attrNameLst>
                                      </p:cBhvr>
                                      <p:to>
                                        <p:strVal val="visible"/>
                                      </p:to>
                                    </p:set>
                                    <p:animEffect transition="in" filter="wipe(up)">
                                      <p:cBhvr>
                                        <p:cTn id="94" dur="350"/>
                                        <p:tgtEl>
                                          <p:spTgt spid="88"/>
                                        </p:tgtEl>
                                      </p:cBhvr>
                                    </p:animEffect>
                                  </p:childTnLst>
                                </p:cTn>
                              </p:par>
                              <p:par>
                                <p:cTn id="95" presetID="22" presetClass="entr" presetSubtype="4" fill="hold" nodeType="withEffect">
                                  <p:stCondLst>
                                    <p:cond delay="0"/>
                                  </p:stCondLst>
                                  <p:childTnLst>
                                    <p:set>
                                      <p:cBhvr>
                                        <p:cTn id="96" dur="1" fill="hold">
                                          <p:stCondLst>
                                            <p:cond delay="0"/>
                                          </p:stCondLst>
                                        </p:cTn>
                                        <p:tgtEl>
                                          <p:spTgt spid="111"/>
                                        </p:tgtEl>
                                        <p:attrNameLst>
                                          <p:attrName>style.visibility</p:attrName>
                                        </p:attrNameLst>
                                      </p:cBhvr>
                                      <p:to>
                                        <p:strVal val="visible"/>
                                      </p:to>
                                    </p:set>
                                    <p:animEffect transition="in" filter="wipe(down)">
                                      <p:cBhvr>
                                        <p:cTn id="97" dur="350"/>
                                        <p:tgtEl>
                                          <p:spTgt spid="111"/>
                                        </p:tgtEl>
                                      </p:cBhvr>
                                    </p:animEffect>
                                  </p:childTnLst>
                                </p:cTn>
                              </p:par>
                              <p:par>
                                <p:cTn id="98" presetID="22" presetClass="entr" presetSubtype="4" fill="hold" nodeType="withEffect">
                                  <p:stCondLst>
                                    <p:cond delay="0"/>
                                  </p:stCondLst>
                                  <p:childTnLst>
                                    <p:set>
                                      <p:cBhvr>
                                        <p:cTn id="99" dur="1" fill="hold">
                                          <p:stCondLst>
                                            <p:cond delay="0"/>
                                          </p:stCondLst>
                                        </p:cTn>
                                        <p:tgtEl>
                                          <p:spTgt spid="82"/>
                                        </p:tgtEl>
                                        <p:attrNameLst>
                                          <p:attrName>style.visibility</p:attrName>
                                        </p:attrNameLst>
                                      </p:cBhvr>
                                      <p:to>
                                        <p:strVal val="visible"/>
                                      </p:to>
                                    </p:set>
                                    <p:animEffect transition="in" filter="wipe(down)">
                                      <p:cBhvr>
                                        <p:cTn id="100" dur="350"/>
                                        <p:tgtEl>
                                          <p:spTgt spid="82"/>
                                        </p:tgtEl>
                                      </p:cBhvr>
                                    </p:animEffect>
                                  </p:childTnLst>
                                </p:cTn>
                              </p:par>
                              <p:par>
                                <p:cTn id="101" presetID="23" presetClass="entr" presetSubtype="16" repeatDur="0" restart="never" fill="hold" nodeType="withEffect">
                                  <p:stCondLst>
                                    <p:cond delay="0"/>
                                  </p:stCondLst>
                                  <p:childTnLst>
                                    <p:set>
                                      <p:cBhvr additive="base" accumulate="none">
                                        <p:cTn id="102" dur="1" fill="hold">
                                          <p:stCondLst>
                                            <p:cond delay="0"/>
                                          </p:stCondLst>
                                        </p:cTn>
                                        <p:tgtEl>
                                          <p:spTgt spid="49"/>
                                        </p:tgtEl>
                                        <p:attrNameLst>
                                          <p:attrName>style.visibility</p:attrName>
                                        </p:attrNameLst>
                                      </p:cBhvr>
                                      <p:to>
                                        <p:strVal val="visible"/>
                                      </p:to>
                                    </p:set>
                                    <p:anim from="0" to="0" calcmode="lin" valueType="num">
                                      <p:cBhvr additive="base" accumulate="none">
                                        <p:cTn id="103" dur="350" fill="hold"/>
                                        <p:tgtEl>
                                          <p:spTgt spid="49"/>
                                        </p:tgtEl>
                                        <p:attrNameLst>
                                          <p:attrName>ppt_w</p:attrName>
                                        </p:attrNameLst>
                                      </p:cBhvr>
                                      <p:tavLst>
                                        <p:tav tm="0">
                                          <p:val>
                                            <p:strVal val="2/3*#ppt_w"/>
                                          </p:val>
                                        </p:tav>
                                        <p:tav tm="100000">
                                          <p:val>
                                            <p:strVal val="#ppt_w"/>
                                          </p:val>
                                        </p:tav>
                                      </p:tavLst>
                                    </p:anim>
                                    <p:anim from="0" to="0" calcmode="lin" valueType="num">
                                      <p:cBhvr additive="base" accumulate="none">
                                        <p:cTn id="104" dur="350" fill="hold"/>
                                        <p:tgtEl>
                                          <p:spTgt spid="49"/>
                                        </p:tgtEl>
                                        <p:attrNameLst>
                                          <p:attrName>ppt_h</p:attrName>
                                        </p:attrNameLst>
                                      </p:cBhvr>
                                      <p:tavLst>
                                        <p:tav tm="0">
                                          <p:val>
                                            <p:strVal val="2/3*#ppt_h"/>
                                          </p:val>
                                        </p:tav>
                                        <p:tav tm="100000">
                                          <p:val>
                                            <p:strVal val="#ppt_h"/>
                                          </p:val>
                                        </p:tav>
                                      </p:tavLst>
                                    </p:anim>
                                  </p:childTnLst>
                                </p:cTn>
                              </p:par>
                              <p:par>
                                <p:cTn id="105" presetID="22" presetClass="entr" presetSubtype="8" fill="hold" nodeType="withEffect">
                                  <p:stCondLst>
                                    <p:cond delay="0"/>
                                  </p:stCondLst>
                                  <p:childTnLst>
                                    <p:set>
                                      <p:cBhvr>
                                        <p:cTn id="106" dur="1" fill="hold">
                                          <p:stCondLst>
                                            <p:cond delay="0"/>
                                          </p:stCondLst>
                                        </p:cTn>
                                        <p:tgtEl>
                                          <p:spTgt spid="58"/>
                                        </p:tgtEl>
                                        <p:attrNameLst>
                                          <p:attrName>style.visibility</p:attrName>
                                        </p:attrNameLst>
                                      </p:cBhvr>
                                      <p:to>
                                        <p:strVal val="visible"/>
                                      </p:to>
                                    </p:set>
                                    <p:animEffect transition="in" filter="wipe(left)">
                                      <p:cBhvr>
                                        <p:cTn id="107" dur="350"/>
                                        <p:tgtEl>
                                          <p:spTgt spid="58"/>
                                        </p:tgtEl>
                                      </p:cBhvr>
                                    </p:animEffect>
                                  </p:childTnLst>
                                </p:cTn>
                              </p:par>
                              <p:par>
                                <p:cTn id="108" presetID="23" presetClass="entr" presetSubtype="16" repeatDur="0" restart="never" fill="hold" nodeType="withEffect">
                                  <p:stCondLst>
                                    <p:cond delay="0"/>
                                  </p:stCondLst>
                                  <p:childTnLst>
                                    <p:set>
                                      <p:cBhvr additive="base" accumulate="none">
                                        <p:cTn id="109" dur="1" fill="hold">
                                          <p:stCondLst>
                                            <p:cond delay="0"/>
                                          </p:stCondLst>
                                        </p:cTn>
                                        <p:tgtEl>
                                          <p:spTgt spid="40"/>
                                        </p:tgtEl>
                                        <p:attrNameLst>
                                          <p:attrName>style.visibility</p:attrName>
                                        </p:attrNameLst>
                                      </p:cBhvr>
                                      <p:to>
                                        <p:strVal val="visible"/>
                                      </p:to>
                                    </p:set>
                                    <p:anim from="0" to="0" calcmode="lin" valueType="num">
                                      <p:cBhvr additive="base" accumulate="none">
                                        <p:cTn id="110" dur="350" fill="hold"/>
                                        <p:tgtEl>
                                          <p:spTgt spid="40"/>
                                        </p:tgtEl>
                                        <p:attrNameLst>
                                          <p:attrName>ppt_w</p:attrName>
                                        </p:attrNameLst>
                                      </p:cBhvr>
                                      <p:tavLst>
                                        <p:tav tm="0">
                                          <p:val>
                                            <p:strVal val="2/3*#ppt_w"/>
                                          </p:val>
                                        </p:tav>
                                        <p:tav tm="100000">
                                          <p:val>
                                            <p:strVal val="#ppt_w"/>
                                          </p:val>
                                        </p:tav>
                                      </p:tavLst>
                                    </p:anim>
                                    <p:anim from="0" to="0" calcmode="lin" valueType="num">
                                      <p:cBhvr additive="base" accumulate="none">
                                        <p:cTn id="111" dur="350" fill="hold"/>
                                        <p:tgtEl>
                                          <p:spTgt spid="40"/>
                                        </p:tgtEl>
                                        <p:attrNameLst>
                                          <p:attrName>ppt_h</p:attrName>
                                        </p:attrNameLst>
                                      </p:cBhvr>
                                      <p:tavLst>
                                        <p:tav tm="0">
                                          <p:val>
                                            <p:strVal val="2/3*#ppt_h"/>
                                          </p:val>
                                        </p:tav>
                                        <p:tav tm="100000">
                                          <p:val>
                                            <p:strVal val="#ppt_h"/>
                                          </p:val>
                                        </p:tav>
                                      </p:tavLst>
                                    </p:anim>
                                  </p:childTnLst>
                                </p:cTn>
                              </p:par>
                              <p:par>
                                <p:cTn id="112" presetID="22" presetClass="entr" presetSubtype="8" fill="hold" nodeType="withEffect">
                                  <p:stCondLst>
                                    <p:cond delay="0"/>
                                  </p:stCondLst>
                                  <p:childTnLst>
                                    <p:set>
                                      <p:cBhvr>
                                        <p:cTn id="113" dur="1" fill="hold">
                                          <p:stCondLst>
                                            <p:cond delay="0"/>
                                          </p:stCondLst>
                                        </p:cTn>
                                        <p:tgtEl>
                                          <p:spTgt spid="98"/>
                                        </p:tgtEl>
                                        <p:attrNameLst>
                                          <p:attrName>style.visibility</p:attrName>
                                        </p:attrNameLst>
                                      </p:cBhvr>
                                      <p:to>
                                        <p:strVal val="visible"/>
                                      </p:to>
                                    </p:set>
                                    <p:animEffect transition="in" filter="wipe(left)">
                                      <p:cBhvr>
                                        <p:cTn id="114" dur="350"/>
                                        <p:tgtEl>
                                          <p:spTgt spid="98"/>
                                        </p:tgtEl>
                                      </p:cBhvr>
                                    </p:animEffect>
                                  </p:childTnLst>
                                </p:cTn>
                              </p:par>
                              <p:par>
                                <p:cTn id="115" presetID="22" presetClass="entr" presetSubtype="4" fill="hold" nodeType="with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wipe(down)">
                                      <p:cBhvr>
                                        <p:cTn id="117" dur="350"/>
                                        <p:tgtEl>
                                          <p:spTgt spid="57"/>
                                        </p:tgtEl>
                                      </p:cBhvr>
                                    </p:animEffect>
                                  </p:childTnLst>
                                </p:cTn>
                              </p:par>
                              <p:par>
                                <p:cTn id="118" presetID="22" presetClass="entr" presetSubtype="4" fill="hold" nodeType="withEffect">
                                  <p:stCondLst>
                                    <p:cond delay="0"/>
                                  </p:stCondLst>
                                  <p:childTnLst>
                                    <p:set>
                                      <p:cBhvr>
                                        <p:cTn id="119" dur="1" fill="hold">
                                          <p:stCondLst>
                                            <p:cond delay="0"/>
                                          </p:stCondLst>
                                        </p:cTn>
                                        <p:tgtEl>
                                          <p:spTgt spid="56"/>
                                        </p:tgtEl>
                                        <p:attrNameLst>
                                          <p:attrName>style.visibility</p:attrName>
                                        </p:attrNameLst>
                                      </p:cBhvr>
                                      <p:to>
                                        <p:strVal val="visible"/>
                                      </p:to>
                                    </p:set>
                                    <p:animEffect transition="in" filter="wipe(down)">
                                      <p:cBhvr>
                                        <p:cTn id="120" dur="350"/>
                                        <p:tgtEl>
                                          <p:spTgt spid="56"/>
                                        </p:tgtEl>
                                      </p:cBhvr>
                                    </p:animEffect>
                                  </p:childTnLst>
                                </p:cTn>
                              </p:par>
                              <p:par>
                                <p:cTn id="121" presetID="23" presetClass="entr" presetSubtype="16" repeatDur="0" restart="never" fill="hold" nodeType="withEffect">
                                  <p:stCondLst>
                                    <p:cond delay="0"/>
                                  </p:stCondLst>
                                  <p:childTnLst>
                                    <p:set>
                                      <p:cBhvr additive="base" accumulate="none">
                                        <p:cTn id="122" dur="1" fill="hold">
                                          <p:stCondLst>
                                            <p:cond delay="0"/>
                                          </p:stCondLst>
                                        </p:cTn>
                                        <p:tgtEl>
                                          <p:spTgt spid="39"/>
                                        </p:tgtEl>
                                        <p:attrNameLst>
                                          <p:attrName>style.visibility</p:attrName>
                                        </p:attrNameLst>
                                      </p:cBhvr>
                                      <p:to>
                                        <p:strVal val="visible"/>
                                      </p:to>
                                    </p:set>
                                    <p:anim from="0" to="0" calcmode="lin" valueType="num">
                                      <p:cBhvr additive="base" accumulate="none">
                                        <p:cTn id="123" dur="350" fill="hold"/>
                                        <p:tgtEl>
                                          <p:spTgt spid="39"/>
                                        </p:tgtEl>
                                        <p:attrNameLst>
                                          <p:attrName>ppt_w</p:attrName>
                                        </p:attrNameLst>
                                      </p:cBhvr>
                                      <p:tavLst>
                                        <p:tav tm="0">
                                          <p:val>
                                            <p:strVal val="2/3*#ppt_w"/>
                                          </p:val>
                                        </p:tav>
                                        <p:tav tm="100000">
                                          <p:val>
                                            <p:strVal val="#ppt_w"/>
                                          </p:val>
                                        </p:tav>
                                      </p:tavLst>
                                    </p:anim>
                                    <p:anim from="0" to="0" calcmode="lin" valueType="num">
                                      <p:cBhvr additive="base" accumulate="none">
                                        <p:cTn id="124" dur="350" fill="hold"/>
                                        <p:tgtEl>
                                          <p:spTgt spid="39"/>
                                        </p:tgtEl>
                                        <p:attrNameLst>
                                          <p:attrName>ppt_h</p:attrName>
                                        </p:attrNameLst>
                                      </p:cBhvr>
                                      <p:tavLst>
                                        <p:tav tm="0">
                                          <p:val>
                                            <p:strVal val="2/3*#ppt_h"/>
                                          </p:val>
                                        </p:tav>
                                        <p:tav tm="100000">
                                          <p:val>
                                            <p:strVal val="#ppt_h"/>
                                          </p:val>
                                        </p:tav>
                                      </p:tavLst>
                                    </p:anim>
                                  </p:childTnLst>
                                </p:cTn>
                              </p:par>
                              <p:par>
                                <p:cTn id="125" presetID="22" presetClass="entr" presetSubtype="1" fill="hold" nodeType="withEffect">
                                  <p:stCondLst>
                                    <p:cond delay="0"/>
                                  </p:stCondLst>
                                  <p:childTnLst>
                                    <p:set>
                                      <p:cBhvr>
                                        <p:cTn id="126" dur="1" fill="hold">
                                          <p:stCondLst>
                                            <p:cond delay="0"/>
                                          </p:stCondLst>
                                        </p:cTn>
                                        <p:tgtEl>
                                          <p:spTgt spid="101"/>
                                        </p:tgtEl>
                                        <p:attrNameLst>
                                          <p:attrName>style.visibility</p:attrName>
                                        </p:attrNameLst>
                                      </p:cBhvr>
                                      <p:to>
                                        <p:strVal val="visible"/>
                                      </p:to>
                                    </p:set>
                                    <p:animEffect transition="in" filter="wipe(up)">
                                      <p:cBhvr>
                                        <p:cTn id="127" dur="35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DTP_TOOLSPOWERPOINTCONFIGV2" val="{&quot;ConfigName&quot;:&quot;Oliver Wyman Widescreen&quot;,&quot;BracketAndBrace&quot;:{&quot;Brace&quot;:{&quot;Line&quot;:{&quot;Visible&quot;:true,&quot;Color&quot;:[{&quot;Source&quot;:2,&quot;Data&quot;:&quot;msoThemeColorText1&quot;}],&quot;Width&quot;:0.75},&quot;Width&quot;:14.4,&quot;Height&quot;:144.0,&quot;Adjustments&quot;:[0.5],&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Fill&quot;:{&quot;FillType&quot;:0,&quot;Color&quot;:[]}},&quot;Ghost&quot;:{&quot;Font&quot;:{&quot;Color&quot;:[{&quot;Source&quot;:2,&quot;Data&quot;:&quot;msoThemeColorAccent3&quot;}],&quot;Name&quot;:&quot;+mn-lt&quot;,&quot;Style&quot;:0,&quot;Size&quot;:11}}}"/>
  <p:tag name="DTP_TOOLSPOWERPOINTCONFIG" val="{&quot;ConfigName&quot;:&quot;Oliver Wyman Widescreen&quot;,&quot;BracketAndBrace&quot;:{&quot;Brace&quot;:{&quot;Line&quot;:{&quot;Visible&quot;:true,&quot;Color&quot;:[{&quot;Source&quot;:2,&quot;Data&quot;:&quot;msoThemeColorText1&quot;}],&quot;Width&quot;:0.75},&quot;Width&quot;:14.4,&quot;Height&quot;:144.0,&quot;Adjustments&quot;:[1.0],&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Ghost&quot;:{&quot;Font&quot;:{&quot;Color&quot;:[{&quot;Source&quot;:2,&quot;Data&quot;:&quot;msoThemeColorAccent3&quot;}],&quot;Name&quot;:&quot;+mn-lt&quot;,&quot;Style&quot;:0,&quot;Size&quot;:11}}}"/>
  <p:tag name="THINKCELLPRESENTATIONDONOTDELETE" val="&lt;?xml version=&quot;1.0&quot; encoding=&quot;UTF-16&quot; standalone=&quot;yes&quot;?&gt;&lt;root reqver=&quot;28224&quot;&gt;&lt;version val=&quot;352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ORIGINALSLIDENUMBER" val="52"/>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pFfWp3ZgepCP5molgI9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O5orgaL.7rK_mTuW.es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rVgxSWPSbVq9CO03Ia2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RjJYfCJPz8AMLRsLYgb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45YQW7bJ1aR.fgnuXnD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9sneMHpv33lRzXyxeB7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CBwn4WOGo5er69HmD8i3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MU8FRu8BeghjWVKGttX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ia_kdwWEnMwZHYI2AeS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ki42oiSgOwZZoKBqVPm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DXYQVOIoTxUy808q6V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S_c9sjsz7aMXct7ZV8_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viBw_gVObr_GMqXy619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oPlS5tl5uKC9XBDstix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u2Nj4r2clJFr13hSuEi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K0B.zsbtQlDIJnArj4sq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W2wvlkWWBLWU704SxoY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A07Jpe_5.lLnAx7qZhr2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wommfQX3jm9RDiXYOe9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hSTti.rwO2mXRsPf8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UlKT6Zistxw57F9Lw0X1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9zeWqtUXBEWCkTWDRxL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6mKVzFRMmrn8yHhI91tx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SVIobMlFBnVSpWEj7cr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6TR8g1KcgfOAuEltvGc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kA.sxU4emfYhVwQizxo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_2ShtKrQAKveK7U4VQS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LSQXtlMd5NnpAVHP6tR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PoMRH3eauAhX3u978HHT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jLTM6P9RVWdiFHmja451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a4Xg6GW2SSnXY8RB9h6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A6py6ZKsANepJPBnHKQ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E5WRlrsNC8PO05nCBN1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etwgGvbijD8Akbglblu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DATOmv1fZ7nHiwoOPaIs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KONLovT_8g8RmweCdYm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TUMC3kJBRIvh6CDb2yR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DPLs8UFFuj_Yo0LDCmk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flS1hQ0n62iectNy8qZ4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ybZ8v0CWkw8211r7V_e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0ey_GPiVB8Z4hNExvje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sRkZCQwbO8pcrLl6Rt3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ntDdSkAu.fdN4NdL4fi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jQswTahd2O_M.ECpBE0r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3EIvBJ7VV2lpw.y4pko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hzcKy8SpLwc0Qm31czSO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mDwt7NTTL1PBIapy4mR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g4WGm5Tba64KX0oc4rw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2.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ppt/theme/theme3.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ppt/theme/themeOverride1.xml><?xml version="1.0" encoding="utf-8"?>
<a:themeOverride xmlns:a="http://schemas.openxmlformats.org/drawingml/2006/main">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9C02EFDAB8844BA26BE74AD1356208" ma:contentTypeVersion="5" ma:contentTypeDescription="Create a new document." ma:contentTypeScope="" ma:versionID="88d0e45c788716e72210bafc56f94832">
  <xsd:schema xmlns:xsd="http://www.w3.org/2001/XMLSchema" xmlns:xs="http://www.w3.org/2001/XMLSchema" xmlns:p="http://schemas.microsoft.com/office/2006/metadata/properties" xmlns:ns2="3bf76eb1-6f3d-467b-bccc-d103728f5a40" xmlns:ns3="30564ff1-0299-4261-8fb1-7bac9d429680" targetNamespace="http://schemas.microsoft.com/office/2006/metadata/properties" ma:root="true" ma:fieldsID="d0b0d634686252196bbc604f230ff34b" ns2:_="" ns3:_="">
    <xsd:import namespace="3bf76eb1-6f3d-467b-bccc-d103728f5a40"/>
    <xsd:import namespace="30564ff1-0299-4261-8fb1-7bac9d42968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f76eb1-6f3d-467b-bccc-d103728f5a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564ff1-0299-4261-8fb1-7bac9d42968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30564ff1-0299-4261-8fb1-7bac9d429680">
      <UserInfo>
        <DisplayName>Ciet, Marco</DisplayName>
        <AccountId>16</AccountId>
        <AccountType/>
      </UserInfo>
      <UserInfo>
        <DisplayName>DeForni, Simon</DisplayName>
        <AccountId>17</AccountId>
        <AccountType/>
      </UserInfo>
      <UserInfo>
        <DisplayName>Leandri, Anna</DisplayName>
        <AccountId>21</AccountId>
        <AccountType/>
      </UserInfo>
      <UserInfo>
        <DisplayName>Gobbe, Louis</DisplayName>
        <AccountId>22</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47A487-BD3E-485E-A77D-27B60DE6F1CB}">
  <ds:schemaRefs>
    <ds:schemaRef ds:uri="30564ff1-0299-4261-8fb1-7bac9d429680"/>
    <ds:schemaRef ds:uri="3bf76eb1-6f3d-467b-bccc-d103728f5a4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DA845DE-7A5B-430C-B228-265D235CCDC1}">
  <ds:schemaRefs>
    <ds:schemaRef ds:uri="30564ff1-0299-4261-8fb1-7bac9d429680"/>
    <ds:schemaRef ds:uri="3bf76eb1-6f3d-467b-bccc-d103728f5a4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268E839-3CC0-4F20-BC69-45EE8695BE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755</Words>
  <Application>Microsoft Office PowerPoint</Application>
  <PresentationFormat>Widescreen</PresentationFormat>
  <Paragraphs>1919</Paragraphs>
  <Slides>71</Slides>
  <Notes>68</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1</vt:i4>
      </vt:variant>
    </vt:vector>
  </HeadingPairs>
  <TitlesOfParts>
    <vt:vector size="79" baseType="lpstr">
      <vt:lpstr>Arial</vt:lpstr>
      <vt:lpstr>Wingdings</vt:lpstr>
      <vt:lpstr>Calibri</vt:lpstr>
      <vt:lpstr>MMC Display Condensed</vt:lpstr>
      <vt:lpstr>Courier New</vt:lpstr>
      <vt:lpstr>Symbol</vt:lpstr>
      <vt:lpstr>Oliver Wyman</vt:lpstr>
      <vt:lpstr>think-cell Slide</vt:lpstr>
      <vt:lpstr>PowerPoint Presentation</vt:lpstr>
      <vt:lpstr>Our team today</vt:lpstr>
      <vt:lpstr>Agenda for this workshop</vt:lpstr>
      <vt:lpstr>Collaboration Rules &amp; guidelines for this workshop</vt:lpstr>
      <vt:lpstr>Agenda for this workshop</vt:lpstr>
      <vt:lpstr>Permacrisis overview - Contents</vt:lpstr>
      <vt:lpstr>PowerPoint Presentation</vt:lpstr>
      <vt:lpstr>What risks do leaders anticipate in the next years?</vt:lpstr>
      <vt:lpstr>3 main recent crises have led to multiple other crises with feedback loops</vt:lpstr>
      <vt:lpstr>We are entering the time of constant Uncertainty </vt:lpstr>
      <vt:lpstr>5 main risks expected in the coming decades 32 disruptions identified</vt:lpstr>
      <vt:lpstr>8 major SHORT-TERM disruptions To manage Simultaneously</vt:lpstr>
      <vt:lpstr>8 major disruptions To manage Simultaneously</vt:lpstr>
      <vt:lpstr>PowerPoint Presentation</vt:lpstr>
      <vt:lpstr>Short-term outlook: GDP growth remains choppy</vt:lpstr>
      <vt:lpstr>Short-term outlook: stay wary of inflation</vt:lpstr>
      <vt:lpstr>geopolitics: firms remain committed to china. but local business risks drifting away from global</vt:lpstr>
      <vt:lpstr>geopolitics: China still offers a compelling story</vt:lpstr>
      <vt:lpstr>geopolitics: but asean is looking more attractive of late</vt:lpstr>
      <vt:lpstr>asia pacific macro risks: geopolitical and policy risks</vt:lpstr>
      <vt:lpstr>Supply chain: mncs need to prepare for a more regionalized supply chain with china as the hub</vt:lpstr>
      <vt:lpstr>Supply chain: Mexico has overtaken china as a larger exporter to the us</vt:lpstr>
      <vt:lpstr>Supply chain: Vietnam has captured the large share of production leaving china. And then, only in select sectors</vt:lpstr>
      <vt:lpstr>Supply chain: the pandemic showed as what real disruption looks like</vt:lpstr>
      <vt:lpstr>China’s economic outlook: multiple drivers of slower growth</vt:lpstr>
      <vt:lpstr>China Outlook: challenges for long-term gdp growth Labor and capital will no longer provide the same drive to GDP growth. Productivity growth is everything.</vt:lpstr>
      <vt:lpstr>PowerPoint Presentation</vt:lpstr>
      <vt:lpstr>forecasting usually fails</vt:lpstr>
      <vt:lpstr>the current uncertainty?</vt:lpstr>
      <vt:lpstr>PowerPoint Presentation</vt:lpstr>
      <vt:lpstr>Never let a crisis go to waste by developing a learning and adaptation mindset</vt:lpstr>
      <vt:lpstr>From a resilient to an adaptive firm</vt:lpstr>
      <vt:lpstr>Adaptive firms generate a resilience premium</vt:lpstr>
      <vt:lpstr>Leading in PERMACRISIS – four pillars for industrial companies</vt:lpstr>
      <vt:lpstr>Agenda for this workshop</vt:lpstr>
      <vt:lpstr>Agenda for this chapter</vt:lpstr>
      <vt:lpstr>Nexans’ D&amp;U business is particularly exposed to 11 major risks &amp; opportunities, most of which are symptoms of a world in permacrisis</vt:lpstr>
      <vt:lpstr>Nexans’ D&amp;U business is particularly exposed to 11 major risks &amp; opportunities, most of which are symptoms of a world in permacrisis</vt:lpstr>
      <vt:lpstr>PowerPoint Presentation</vt:lpstr>
      <vt:lpstr>MARKET TRENDS: DISTRIBUTION MARKET EXPECTED TO GROW, SUPPORTED BY POWER GRID DEVELOPMENT AND REPLACEMENT</vt:lpstr>
      <vt:lpstr>Risks &amp; opportunities: utilities facing a “capex cliff”, while ewquiring to improve network resilience &amp; efficiency</vt:lpstr>
      <vt:lpstr>MARKET TRENDS: Usages market is expected to grow in the mid term supported  by demographics/urbanization, buildings electrification, etc.</vt:lpstr>
      <vt:lpstr>Risks &amp; Opportunities – usages market exposed to likely economic slow down</vt:lpstr>
      <vt:lpstr>PowerPoint Presentation</vt:lpstr>
      <vt:lpstr>Agenda for this workshop</vt:lpstr>
      <vt:lpstr>Permacrisis Profit Patterns to be investigated can be mapped along 4 dimensions – we will discuss them in detail during this chapter</vt:lpstr>
      <vt:lpstr>Key questions behind each pattern (1/2)</vt:lpstr>
      <vt:lpstr>Key questions behind each pattern (2/2)</vt:lpstr>
      <vt:lpstr>We will now split into 2 groups to investigate patterns – please choose optional patterns to reach ~5 patterns per gro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Permacrisis profit patterns were designed as a response to one or several risks &amp; opportunities</vt:lpstr>
      <vt:lpstr>PowerPoint Presentation</vt:lpstr>
      <vt:lpstr>PowerPoint Presentation</vt:lpstr>
      <vt:lpstr>Nexans’ D&amp;U business is particularly exposed to 11 major risks &amp; opportunities, most of which are symptoms of a world in permacrisis</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uvillier, Nicolas</dc:creator>
  <cp:keywords>OW21.Widescreen.20221107.2</cp:keywords>
  <cp:lastModifiedBy>Tan, Eric</cp:lastModifiedBy>
  <cp:revision>1</cp:revision>
  <dcterms:created xsi:type="dcterms:W3CDTF">2023-11-13T08:15:26Z</dcterms:created>
  <dcterms:modified xsi:type="dcterms:W3CDTF">2023-12-06T00:3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1/06/01</vt:lpwstr>
  </property>
  <property fmtid="{D5CDD505-2E9C-101B-9397-08002B2CF9AE}" pid="3" name="DocumentMSOLanguageID">
    <vt:lpwstr>msoLanguageIDEnglishUK</vt:lpwstr>
  </property>
  <property fmtid="{D5CDD505-2E9C-101B-9397-08002B2CF9AE}" pid="4" name="LogoName">
    <vt:lpwstr>Oliver Wyman</vt:lpwstr>
  </property>
  <property fmtid="{D5CDD505-2E9C-101B-9397-08002B2CF9AE}" pid="5" name="ContentTypeId">
    <vt:lpwstr>0x0101003B9C02EFDAB8844BA26BE74AD1356208</vt:lpwstr>
  </property>
</Properties>
</file>